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hartEx1.xml" ContentType="application/vnd.ms-office.chartex+xml"/>
  <Override PartName="/ppt/charts/chartEx2.xml" ContentType="application/vnd.ms-office.chartex+xml"/>
  <Override PartName="/ppt/charts/chartEx3.xml" ContentType="application/vnd.ms-office.chartex+xml"/>
  <Override PartName="/ppt/charts/chartEx4.xml" ContentType="application/vnd.ms-office.chartex+xml"/>
  <Override PartName="/ppt/authors.xml" ContentType="application/vnd.ms-powerpoint.authors+xml"/>
  <Override PartName="/ppt/revisionInfo.xml" ContentType="application/vnd.ms-powerpoint.revisioninfo+xml"/>
  <Override PartName="/ppt/changesInfos/changesInfo1.xml" ContentType="application/vnd.ms-powerpoint.changesinfo+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817" r:id="rId6"/>
  </p:sldMasterIdLst>
  <p:notesMasterIdLst>
    <p:notesMasterId r:id="rId51"/>
  </p:notesMasterIdLst>
  <p:handoutMasterIdLst>
    <p:handoutMasterId r:id="rId52"/>
  </p:handoutMasterIdLst>
  <p:sldIdLst>
    <p:sldId id="257" r:id="rId7"/>
    <p:sldId id="1249" r:id="rId8"/>
    <p:sldId id="278" r:id="rId9"/>
    <p:sldId id="1337" r:id="rId10"/>
    <p:sldId id="1251" r:id="rId11"/>
    <p:sldId id="1355" r:id="rId12"/>
    <p:sldId id="439" r:id="rId13"/>
    <p:sldId id="279" r:id="rId14"/>
    <p:sldId id="1254" r:id="rId15"/>
    <p:sldId id="1369" r:id="rId16"/>
    <p:sldId id="311" r:id="rId17"/>
    <p:sldId id="1253" r:id="rId18"/>
    <p:sldId id="1347" r:id="rId19"/>
    <p:sldId id="304" r:id="rId20"/>
    <p:sldId id="1339" r:id="rId21"/>
    <p:sldId id="1268" r:id="rId22"/>
    <p:sldId id="1285" r:id="rId23"/>
    <p:sldId id="1271" r:id="rId24"/>
    <p:sldId id="1272" r:id="rId25"/>
    <p:sldId id="1345" r:id="rId26"/>
    <p:sldId id="309" r:id="rId27"/>
    <p:sldId id="1349" r:id="rId28"/>
    <p:sldId id="1351" r:id="rId29"/>
    <p:sldId id="1354" r:id="rId30"/>
    <p:sldId id="1356" r:id="rId31"/>
    <p:sldId id="1242" r:id="rId32"/>
    <p:sldId id="1348" r:id="rId33"/>
    <p:sldId id="1342" r:id="rId34"/>
    <p:sldId id="1301" r:id="rId35"/>
    <p:sldId id="1374" r:id="rId36"/>
    <p:sldId id="1299" r:id="rId37"/>
    <p:sldId id="1302" r:id="rId38"/>
    <p:sldId id="1346" r:id="rId39"/>
    <p:sldId id="1364" r:id="rId40"/>
    <p:sldId id="1359" r:id="rId41"/>
    <p:sldId id="312" r:id="rId42"/>
    <p:sldId id="1350" r:id="rId43"/>
    <p:sldId id="1357" r:id="rId44"/>
    <p:sldId id="1358" r:id="rId45"/>
    <p:sldId id="1365" r:id="rId46"/>
    <p:sldId id="1361" r:id="rId47"/>
    <p:sldId id="1283" r:id="rId48"/>
    <p:sldId id="1367" r:id="rId49"/>
    <p:sldId id="299" r:id="rId50"/>
  </p:sldIdLst>
  <p:sldSz cx="12192000" cy="6858000"/>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986811-D3AB-EDDA-3795-68DB2EA13BC7}" name="Saurav Huli (AU)" initials="SH(" userId="S::saurav.huli@pwc.com::8a9d8c2b-6c2f-416f-a4bd-e43d36724dfb" providerId="AD"/>
  <p188:author id="{BCC41221-5188-089D-4C62-D13FD05C4E1F}" name="Ben Neal (AU)" initials="B(" userId="S::ben.neal@pwc.com::985d38a2-5e70-412f-8f96-b381a14831ee" providerId="AD"/>
  <p188:author id="{2811DC60-7955-66F1-071B-9C90E201CFF9}" name="Kiara White (AU)" initials="KW(" userId="S::kiara.white@pwc.com::efb04720-398c-4c43-8922-0f6266aca8e5" providerId="AD"/>
  <p188:author id="{EBB10679-0AE0-B1D0-22B0-483BD41C0792}" name="Tista Gautam (AU)" initials="T(" userId="S::tista.gautam@pwc.com::631f7d93-52ff-4ee9-a7ab-f728dca0e8ea" providerId="AD"/>
  <p188:author id="{56B81EB8-0293-BFBD-E2BB-E643CC9139FE}" name="Jess Lees (AU)" initials="J(" userId="S::jess.lees@pwc.com::9c51b762-f69b-4391-aa99-68d4dc14c97a" providerId="AD"/>
  <p188:author id="{956984C3-84F0-3C7A-457A-F5D42C87AC70}" name="Maayan Adler (AU)" initials="MA(" userId="S::maayan.adler@pwc.com::006eced2-961a-4fc7-b0eb-16f5ada3c03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C44D"/>
    <a:srgbClr val="DDDDDD"/>
    <a:srgbClr val="93C572"/>
    <a:srgbClr val="F1CEED"/>
    <a:srgbClr val="5F2E74"/>
    <a:srgbClr val="8545A1"/>
    <a:srgbClr val="DBEBDA"/>
    <a:srgbClr val="EEEEEE"/>
    <a:srgbClr val="BA2E96"/>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55129D-42D2-DAA5-81E1-C6A35E92AA96}" v="4" dt="2022-11-16T00:20:12.435"/>
    <p1510:client id="{4516A5FF-1222-4245-8DC7-1DC2F51C7EFB}" v="4162" dt="2022-11-16T00:31:40.964"/>
    <p1510:client id="{5710E24B-2E6C-469D-B880-FE3792FE3D52}" v="83" dt="2022-11-16T04:57:29.961"/>
    <p1510:client id="{8B2DC30A-6158-777E-1886-12D5E7E52A57}" v="133" dt="2022-11-16T04:01:07.182"/>
    <p1510:client id="{8D8D0848-A72D-46C9-8AFF-53532C2B0AFF}" v="21668" dt="2022-11-16T04:45:15.491"/>
    <p1510:client id="{9D9FBD18-2CB1-44A0-8EDD-0261732F7305}" v="7325" dt="2022-11-16T04:34:06.647"/>
    <p1510:client id="{9E7E9ACE-A95A-6332-711D-1C82D2D3BFA1}" v="3" dt="2022-11-15T09:57:12.1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700" y="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ara White (AU)" userId="efb04720-398c-4c43-8922-0f6266aca8e5" providerId="ADAL" clId="{5710E24B-2E6C-469D-B880-FE3792FE3D52}"/>
    <pc:docChg chg="custSel delSld modSld">
      <pc:chgData name="Kiara White (AU)" userId="efb04720-398c-4c43-8922-0f6266aca8e5" providerId="ADAL" clId="{5710E24B-2E6C-469D-B880-FE3792FE3D52}" dt="2022-11-16T04:57:29.961" v="82" actId="1038"/>
      <pc:docMkLst>
        <pc:docMk/>
      </pc:docMkLst>
      <pc:sldChg chg="delSp modSp mod">
        <pc:chgData name="Kiara White (AU)" userId="efb04720-398c-4c43-8922-0f6266aca8e5" providerId="ADAL" clId="{5710E24B-2E6C-469D-B880-FE3792FE3D52}" dt="2022-11-16T04:57:29.961" v="82" actId="1038"/>
        <pc:sldMkLst>
          <pc:docMk/>
          <pc:sldMk cId="3598833734" sldId="257"/>
        </pc:sldMkLst>
        <pc:spChg chg="del mod">
          <ac:chgData name="Kiara White (AU)" userId="efb04720-398c-4c43-8922-0f6266aca8e5" providerId="ADAL" clId="{5710E24B-2E6C-469D-B880-FE3792FE3D52}" dt="2022-11-16T04:57:26.263" v="71" actId="478"/>
          <ac:spMkLst>
            <pc:docMk/>
            <pc:sldMk cId="3598833734" sldId="257"/>
            <ac:spMk id="3" creationId="{799EAD46-1603-2238-AE8A-45D53BF8D0C7}"/>
          </ac:spMkLst>
        </pc:spChg>
        <pc:spChg chg="mod">
          <ac:chgData name="Kiara White (AU)" userId="efb04720-398c-4c43-8922-0f6266aca8e5" providerId="ADAL" clId="{5710E24B-2E6C-469D-B880-FE3792FE3D52}" dt="2022-11-16T04:50:08.528" v="1" actId="13926"/>
          <ac:spMkLst>
            <pc:docMk/>
            <pc:sldMk cId="3598833734" sldId="257"/>
            <ac:spMk id="4" creationId="{DC24287A-223A-4018-A0FE-A80B9A33DDD6}"/>
          </ac:spMkLst>
        </pc:spChg>
        <pc:picChg chg="mod">
          <ac:chgData name="Kiara White (AU)" userId="efb04720-398c-4c43-8922-0f6266aca8e5" providerId="ADAL" clId="{5710E24B-2E6C-469D-B880-FE3792FE3D52}" dt="2022-11-16T04:57:29.961" v="82" actId="1038"/>
          <ac:picMkLst>
            <pc:docMk/>
            <pc:sldMk cId="3598833734" sldId="257"/>
            <ac:picMk id="9" creationId="{9938322B-9AF7-4F4E-A186-DC99114671AE}"/>
          </ac:picMkLst>
        </pc:picChg>
      </pc:sldChg>
      <pc:sldChg chg="delSp modSp mod delCm">
        <pc:chgData name="Kiara White (AU)" userId="efb04720-398c-4c43-8922-0f6266aca8e5" providerId="ADAL" clId="{5710E24B-2E6C-469D-B880-FE3792FE3D52}" dt="2022-11-16T04:51:37.434" v="27"/>
        <pc:sldMkLst>
          <pc:docMk/>
          <pc:sldMk cId="1527926707" sldId="439"/>
        </pc:sldMkLst>
        <pc:spChg chg="del">
          <ac:chgData name="Kiara White (AU)" userId="efb04720-398c-4c43-8922-0f6266aca8e5" providerId="ADAL" clId="{5710E24B-2E6C-469D-B880-FE3792FE3D52}" dt="2022-11-16T04:51:31.702" v="24" actId="478"/>
          <ac:spMkLst>
            <pc:docMk/>
            <pc:sldMk cId="1527926707" sldId="439"/>
            <ac:spMk id="26" creationId="{FE95813E-B6B4-438B-8E68-3CB512371078}"/>
          </ac:spMkLst>
        </pc:spChg>
        <pc:spChg chg="mod">
          <ac:chgData name="Kiara White (AU)" userId="efb04720-398c-4c43-8922-0f6266aca8e5" providerId="ADAL" clId="{5710E24B-2E6C-469D-B880-FE3792FE3D52}" dt="2022-11-16T04:51:27.526" v="23" actId="13926"/>
          <ac:spMkLst>
            <pc:docMk/>
            <pc:sldMk cId="1527926707" sldId="439"/>
            <ac:spMk id="34" creationId="{A7524D1C-3F03-4A2A-8A9B-7E2EFCEAFE43}"/>
          </ac:spMkLst>
        </pc:spChg>
      </pc:sldChg>
      <pc:sldChg chg="modSp mod">
        <pc:chgData name="Kiara White (AU)" userId="efb04720-398c-4c43-8922-0f6266aca8e5" providerId="ADAL" clId="{5710E24B-2E6C-469D-B880-FE3792FE3D52}" dt="2022-11-16T04:55:30.507" v="67" actId="13926"/>
        <pc:sldMkLst>
          <pc:docMk/>
          <pc:sldMk cId="3625827353" sldId="1242"/>
        </pc:sldMkLst>
        <pc:spChg chg="mod">
          <ac:chgData name="Kiara White (AU)" userId="efb04720-398c-4c43-8922-0f6266aca8e5" providerId="ADAL" clId="{5710E24B-2E6C-469D-B880-FE3792FE3D52}" dt="2022-11-16T04:55:30.507" v="67" actId="13926"/>
          <ac:spMkLst>
            <pc:docMk/>
            <pc:sldMk cId="3625827353" sldId="1242"/>
            <ac:spMk id="115" creationId="{32979215-28F1-4429-9920-5FF52E9C1936}"/>
          </ac:spMkLst>
        </pc:spChg>
      </pc:sldChg>
      <pc:sldChg chg="delSp modSp mod delCm">
        <pc:chgData name="Kiara White (AU)" userId="efb04720-398c-4c43-8922-0f6266aca8e5" providerId="ADAL" clId="{5710E24B-2E6C-469D-B880-FE3792FE3D52}" dt="2022-11-16T04:51:00.584" v="15" actId="478"/>
        <pc:sldMkLst>
          <pc:docMk/>
          <pc:sldMk cId="60285623" sldId="1251"/>
        </pc:sldMkLst>
        <pc:spChg chg="del">
          <ac:chgData name="Kiara White (AU)" userId="efb04720-398c-4c43-8922-0f6266aca8e5" providerId="ADAL" clId="{5710E24B-2E6C-469D-B880-FE3792FE3D52}" dt="2022-11-16T04:51:00.584" v="15" actId="478"/>
          <ac:spMkLst>
            <pc:docMk/>
            <pc:sldMk cId="60285623" sldId="1251"/>
            <ac:spMk id="43" creationId="{14D53430-EC79-47F0-ABB5-17EF2720F48C}"/>
          </ac:spMkLst>
        </pc:spChg>
        <pc:spChg chg="mod">
          <ac:chgData name="Kiara White (AU)" userId="efb04720-398c-4c43-8922-0f6266aca8e5" providerId="ADAL" clId="{5710E24B-2E6C-469D-B880-FE3792FE3D52}" dt="2022-11-16T04:50:46.446" v="11" actId="13926"/>
          <ac:spMkLst>
            <pc:docMk/>
            <pc:sldMk cId="60285623" sldId="1251"/>
            <ac:spMk id="60" creationId="{EF2ED94A-B18E-4397-9777-C79481D2FCC6}"/>
          </ac:spMkLst>
        </pc:spChg>
        <pc:spChg chg="mod">
          <ac:chgData name="Kiara White (AU)" userId="efb04720-398c-4c43-8922-0f6266aca8e5" providerId="ADAL" clId="{5710E24B-2E6C-469D-B880-FE3792FE3D52}" dt="2022-11-16T04:50:50.467" v="13" actId="13926"/>
          <ac:spMkLst>
            <pc:docMk/>
            <pc:sldMk cId="60285623" sldId="1251"/>
            <ac:spMk id="84" creationId="{81C3FB7C-F13D-48B4-A406-E31795BFDBDB}"/>
          </ac:spMkLst>
        </pc:spChg>
      </pc:sldChg>
      <pc:sldChg chg="modSp mod">
        <pc:chgData name="Kiara White (AU)" userId="efb04720-398c-4c43-8922-0f6266aca8e5" providerId="ADAL" clId="{5710E24B-2E6C-469D-B880-FE3792FE3D52}" dt="2022-11-16T04:54:10.587" v="53" actId="13926"/>
        <pc:sldMkLst>
          <pc:docMk/>
          <pc:sldMk cId="3691110832" sldId="1302"/>
        </pc:sldMkLst>
        <pc:spChg chg="mod">
          <ac:chgData name="Kiara White (AU)" userId="efb04720-398c-4c43-8922-0f6266aca8e5" providerId="ADAL" clId="{5710E24B-2E6C-469D-B880-FE3792FE3D52}" dt="2022-11-16T04:54:10.587" v="53" actId="13926"/>
          <ac:spMkLst>
            <pc:docMk/>
            <pc:sldMk cId="3691110832" sldId="1302"/>
            <ac:spMk id="17" creationId="{36A592E1-6F60-4606-A6C2-D41F2842622B}"/>
          </ac:spMkLst>
        </pc:spChg>
      </pc:sldChg>
      <pc:sldChg chg="delSp modSp mod delCm">
        <pc:chgData name="Kiara White (AU)" userId="efb04720-398c-4c43-8922-0f6266aca8e5" providerId="ADAL" clId="{5710E24B-2E6C-469D-B880-FE3792FE3D52}" dt="2022-11-16T04:50:38.654" v="10" actId="13926"/>
        <pc:sldMkLst>
          <pc:docMk/>
          <pc:sldMk cId="369647853" sldId="1337"/>
        </pc:sldMkLst>
        <pc:spChg chg="del">
          <ac:chgData name="Kiara White (AU)" userId="efb04720-398c-4c43-8922-0f6266aca8e5" providerId="ADAL" clId="{5710E24B-2E6C-469D-B880-FE3792FE3D52}" dt="2022-11-16T04:50:19.187" v="3" actId="478"/>
          <ac:spMkLst>
            <pc:docMk/>
            <pc:sldMk cId="369647853" sldId="1337"/>
            <ac:spMk id="19" creationId="{87906944-0F90-44DE-B792-CE2FBDF3EBA9}"/>
          </ac:spMkLst>
        </pc:spChg>
        <pc:spChg chg="mod">
          <ac:chgData name="Kiara White (AU)" userId="efb04720-398c-4c43-8922-0f6266aca8e5" providerId="ADAL" clId="{5710E24B-2E6C-469D-B880-FE3792FE3D52}" dt="2022-11-16T04:50:38.654" v="10" actId="13926"/>
          <ac:spMkLst>
            <pc:docMk/>
            <pc:sldMk cId="369647853" sldId="1337"/>
            <ac:spMk id="44" creationId="{6E2B59ED-76CA-4B70-9205-561E595945B1}"/>
          </ac:spMkLst>
        </pc:spChg>
        <pc:spChg chg="mod">
          <ac:chgData name="Kiara White (AU)" userId="efb04720-398c-4c43-8922-0f6266aca8e5" providerId="ADAL" clId="{5710E24B-2E6C-469D-B880-FE3792FE3D52}" dt="2022-11-16T04:50:34.662" v="9" actId="13926"/>
          <ac:spMkLst>
            <pc:docMk/>
            <pc:sldMk cId="369647853" sldId="1337"/>
            <ac:spMk id="48" creationId="{E5DCB057-3CAD-4B56-8F2D-C54586AB69F5}"/>
          </ac:spMkLst>
        </pc:spChg>
      </pc:sldChg>
      <pc:sldChg chg="modSp mod">
        <pc:chgData name="Kiara White (AU)" userId="efb04720-398c-4c43-8922-0f6266aca8e5" providerId="ADAL" clId="{5710E24B-2E6C-469D-B880-FE3792FE3D52}" dt="2022-11-16T04:54:46.072" v="58" actId="13926"/>
        <pc:sldMkLst>
          <pc:docMk/>
          <pc:sldMk cId="1869269971" sldId="1348"/>
        </pc:sldMkLst>
        <pc:spChg chg="mod">
          <ac:chgData name="Kiara White (AU)" userId="efb04720-398c-4c43-8922-0f6266aca8e5" providerId="ADAL" clId="{5710E24B-2E6C-469D-B880-FE3792FE3D52}" dt="2022-11-16T04:54:46.072" v="58" actId="13926"/>
          <ac:spMkLst>
            <pc:docMk/>
            <pc:sldMk cId="1869269971" sldId="1348"/>
            <ac:spMk id="37" creationId="{1FEBCA95-D7E9-49AE-8494-B23C9D388454}"/>
          </ac:spMkLst>
        </pc:spChg>
      </pc:sldChg>
      <pc:sldChg chg="modSp mod">
        <pc:chgData name="Kiara White (AU)" userId="efb04720-398c-4c43-8922-0f6266aca8e5" providerId="ADAL" clId="{5710E24B-2E6C-469D-B880-FE3792FE3D52}" dt="2022-11-16T04:54:35.007" v="57" actId="732"/>
        <pc:sldMkLst>
          <pc:docMk/>
          <pc:sldMk cId="2153706551" sldId="1349"/>
        </pc:sldMkLst>
        <pc:spChg chg="mod">
          <ac:chgData name="Kiara White (AU)" userId="efb04720-398c-4c43-8922-0f6266aca8e5" providerId="ADAL" clId="{5710E24B-2E6C-469D-B880-FE3792FE3D52}" dt="2022-11-16T04:54:19.185" v="54" actId="13926"/>
          <ac:spMkLst>
            <pc:docMk/>
            <pc:sldMk cId="2153706551" sldId="1349"/>
            <ac:spMk id="7" creationId="{E8FFE78F-1AE5-4CEB-98A8-093CBEE072EC}"/>
          </ac:spMkLst>
        </pc:spChg>
        <pc:spChg chg="mod">
          <ac:chgData name="Kiara White (AU)" userId="efb04720-398c-4c43-8922-0f6266aca8e5" providerId="ADAL" clId="{5710E24B-2E6C-469D-B880-FE3792FE3D52}" dt="2022-11-16T04:54:22.227" v="55" actId="13926"/>
          <ac:spMkLst>
            <pc:docMk/>
            <pc:sldMk cId="2153706551" sldId="1349"/>
            <ac:spMk id="58" creationId="{64A79EA2-2AEA-4F54-B196-C3866BB844BC}"/>
          </ac:spMkLst>
        </pc:spChg>
        <pc:picChg chg="mod modCrop">
          <ac:chgData name="Kiara White (AU)" userId="efb04720-398c-4c43-8922-0f6266aca8e5" providerId="ADAL" clId="{5710E24B-2E6C-469D-B880-FE3792FE3D52}" dt="2022-11-16T04:54:35.007" v="57" actId="732"/>
          <ac:picMkLst>
            <pc:docMk/>
            <pc:sldMk cId="2153706551" sldId="1349"/>
            <ac:picMk id="35" creationId="{66EF198C-A68D-4495-AD17-4F831286961E}"/>
          </ac:picMkLst>
        </pc:picChg>
      </pc:sldChg>
      <pc:sldChg chg="delSp modSp mod delCm">
        <pc:chgData name="Kiara White (AU)" userId="efb04720-398c-4c43-8922-0f6266aca8e5" providerId="ADAL" clId="{5710E24B-2E6C-469D-B880-FE3792FE3D52}" dt="2022-11-16T04:53:23.076" v="48" actId="478"/>
        <pc:sldMkLst>
          <pc:docMk/>
          <pc:sldMk cId="3689777604" sldId="1350"/>
        </pc:sldMkLst>
        <pc:spChg chg="del">
          <ac:chgData name="Kiara White (AU)" userId="efb04720-398c-4c43-8922-0f6266aca8e5" providerId="ADAL" clId="{5710E24B-2E6C-469D-B880-FE3792FE3D52}" dt="2022-11-16T04:53:23.076" v="48" actId="478"/>
          <ac:spMkLst>
            <pc:docMk/>
            <pc:sldMk cId="3689777604" sldId="1350"/>
            <ac:spMk id="33" creationId="{12037FD7-446A-412E-A4A4-932F35E57E0F}"/>
          </ac:spMkLst>
        </pc:spChg>
        <pc:spChg chg="mod">
          <ac:chgData name="Kiara White (AU)" userId="efb04720-398c-4c43-8922-0f6266aca8e5" providerId="ADAL" clId="{5710E24B-2E6C-469D-B880-FE3792FE3D52}" dt="2022-11-16T04:52:19.350" v="32" actId="13926"/>
          <ac:spMkLst>
            <pc:docMk/>
            <pc:sldMk cId="3689777604" sldId="1350"/>
            <ac:spMk id="56" creationId="{62329919-5B77-4D39-BC63-113061204726}"/>
          </ac:spMkLst>
        </pc:spChg>
      </pc:sldChg>
      <pc:sldChg chg="delSp modSp mod delCm">
        <pc:chgData name="Kiara White (AU)" userId="efb04720-398c-4c43-8922-0f6266aca8e5" providerId="ADAL" clId="{5710E24B-2E6C-469D-B880-FE3792FE3D52}" dt="2022-11-16T04:53:18.483" v="47" actId="478"/>
        <pc:sldMkLst>
          <pc:docMk/>
          <pc:sldMk cId="646678504" sldId="1351"/>
        </pc:sldMkLst>
        <pc:spChg chg="mod">
          <ac:chgData name="Kiara White (AU)" userId="efb04720-398c-4c43-8922-0f6266aca8e5" providerId="ADAL" clId="{5710E24B-2E6C-469D-B880-FE3792FE3D52}" dt="2022-11-16T04:52:41.373" v="37" actId="13926"/>
          <ac:spMkLst>
            <pc:docMk/>
            <pc:sldMk cId="646678504" sldId="1351"/>
            <ac:spMk id="5" creationId="{EBF83373-F65E-42B9-94D3-2FB7A82381D3}"/>
          </ac:spMkLst>
        </pc:spChg>
        <pc:spChg chg="del">
          <ac:chgData name="Kiara White (AU)" userId="efb04720-398c-4c43-8922-0f6266aca8e5" providerId="ADAL" clId="{5710E24B-2E6C-469D-B880-FE3792FE3D52}" dt="2022-11-16T04:53:18.483" v="47" actId="478"/>
          <ac:spMkLst>
            <pc:docMk/>
            <pc:sldMk cId="646678504" sldId="1351"/>
            <ac:spMk id="21" creationId="{7AF137AF-5F5F-4D06-9684-AF0CE9E348E6}"/>
          </ac:spMkLst>
        </pc:spChg>
      </pc:sldChg>
      <pc:sldChg chg="delSp modSp mod delCm modNotesTx">
        <pc:chgData name="Kiara White (AU)" userId="efb04720-398c-4c43-8922-0f6266aca8e5" providerId="ADAL" clId="{5710E24B-2E6C-469D-B880-FE3792FE3D52}" dt="2022-11-16T04:56:31.663" v="69" actId="20577"/>
        <pc:sldMkLst>
          <pc:docMk/>
          <pc:sldMk cId="897582951" sldId="1354"/>
        </pc:sldMkLst>
        <pc:spChg chg="del">
          <ac:chgData name="Kiara White (AU)" userId="efb04720-398c-4c43-8922-0f6266aca8e5" providerId="ADAL" clId="{5710E24B-2E6C-469D-B880-FE3792FE3D52}" dt="2022-11-16T04:53:14.112" v="46" actId="478"/>
          <ac:spMkLst>
            <pc:docMk/>
            <pc:sldMk cId="897582951" sldId="1354"/>
            <ac:spMk id="21" creationId="{54476CB8-11B0-410C-9223-D053888D7022}"/>
          </ac:spMkLst>
        </pc:spChg>
        <pc:spChg chg="mod">
          <ac:chgData name="Kiara White (AU)" userId="efb04720-398c-4c43-8922-0f6266aca8e5" providerId="ADAL" clId="{5710E24B-2E6C-469D-B880-FE3792FE3D52}" dt="2022-11-16T04:52:54.236" v="41" actId="13926"/>
          <ac:spMkLst>
            <pc:docMk/>
            <pc:sldMk cId="897582951" sldId="1354"/>
            <ac:spMk id="23" creationId="{6F633016-7ADA-41BF-9D72-EE47C3072CCA}"/>
          </ac:spMkLst>
        </pc:spChg>
        <pc:spChg chg="mod">
          <ac:chgData name="Kiara White (AU)" userId="efb04720-398c-4c43-8922-0f6266aca8e5" providerId="ADAL" clId="{5710E24B-2E6C-469D-B880-FE3792FE3D52}" dt="2022-11-16T04:53:04.242" v="44" actId="13926"/>
          <ac:spMkLst>
            <pc:docMk/>
            <pc:sldMk cId="897582951" sldId="1354"/>
            <ac:spMk id="62" creationId="{3001D618-49B0-43C3-9BA1-1D1388069B46}"/>
          </ac:spMkLst>
        </pc:spChg>
        <pc:spChg chg="mod">
          <ac:chgData name="Kiara White (AU)" userId="efb04720-398c-4c43-8922-0f6266aca8e5" providerId="ADAL" clId="{5710E24B-2E6C-469D-B880-FE3792FE3D52}" dt="2022-11-16T04:52:57.652" v="42" actId="13926"/>
          <ac:spMkLst>
            <pc:docMk/>
            <pc:sldMk cId="897582951" sldId="1354"/>
            <ac:spMk id="83" creationId="{46CF1463-5ED0-49D2-ACCA-854BDE3A315D}"/>
          </ac:spMkLst>
        </pc:spChg>
        <pc:spChg chg="mod">
          <ac:chgData name="Kiara White (AU)" userId="efb04720-398c-4c43-8922-0f6266aca8e5" providerId="ADAL" clId="{5710E24B-2E6C-469D-B880-FE3792FE3D52}" dt="2022-11-16T04:53:01.838" v="43" actId="13926"/>
          <ac:spMkLst>
            <pc:docMk/>
            <pc:sldMk cId="897582951" sldId="1354"/>
            <ac:spMk id="85" creationId="{A5F72098-CA69-4615-9F93-0F2E1A2D207B}"/>
          </ac:spMkLst>
        </pc:spChg>
      </pc:sldChg>
      <pc:sldChg chg="delSp modSp mod delCm modCm">
        <pc:chgData name="Kiara White (AU)" userId="efb04720-398c-4c43-8922-0f6266aca8e5" providerId="ADAL" clId="{5710E24B-2E6C-469D-B880-FE3792FE3D52}" dt="2022-11-16T04:51:18.301" v="22" actId="13926"/>
        <pc:sldMkLst>
          <pc:docMk/>
          <pc:sldMk cId="3035206501" sldId="1355"/>
        </pc:sldMkLst>
        <pc:spChg chg="mod">
          <ac:chgData name="Kiara White (AU)" userId="efb04720-398c-4c43-8922-0f6266aca8e5" providerId="ADAL" clId="{5710E24B-2E6C-469D-B880-FE3792FE3D52}" dt="2022-11-16T04:51:18.301" v="22" actId="13926"/>
          <ac:spMkLst>
            <pc:docMk/>
            <pc:sldMk cId="3035206501" sldId="1355"/>
            <ac:spMk id="7" creationId="{11896CE7-D6EA-4171-9A7A-4C4155432679}"/>
          </ac:spMkLst>
        </pc:spChg>
        <pc:spChg chg="del">
          <ac:chgData name="Kiara White (AU)" userId="efb04720-398c-4c43-8922-0f6266aca8e5" providerId="ADAL" clId="{5710E24B-2E6C-469D-B880-FE3792FE3D52}" dt="2022-11-16T04:51:06.908" v="16" actId="478"/>
          <ac:spMkLst>
            <pc:docMk/>
            <pc:sldMk cId="3035206501" sldId="1355"/>
            <ac:spMk id="124" creationId="{E129ADD0-ED55-460B-982C-1AD6C3E9DEDA}"/>
          </ac:spMkLst>
        </pc:spChg>
      </pc:sldChg>
      <pc:sldChg chg="modSp mod">
        <pc:chgData name="Kiara White (AU)" userId="efb04720-398c-4c43-8922-0f6266aca8e5" providerId="ADAL" clId="{5710E24B-2E6C-469D-B880-FE3792FE3D52}" dt="2022-11-16T04:55:23.449" v="66" actId="13926"/>
        <pc:sldMkLst>
          <pc:docMk/>
          <pc:sldMk cId="4113829319" sldId="1356"/>
        </pc:sldMkLst>
        <pc:spChg chg="mod">
          <ac:chgData name="Kiara White (AU)" userId="efb04720-398c-4c43-8922-0f6266aca8e5" providerId="ADAL" clId="{5710E24B-2E6C-469D-B880-FE3792FE3D52}" dt="2022-11-16T04:55:09.929" v="62" actId="13926"/>
          <ac:spMkLst>
            <pc:docMk/>
            <pc:sldMk cId="4113829319" sldId="1356"/>
            <ac:spMk id="27" creationId="{D5329FCD-A874-4478-814E-6AA1993FE8FA}"/>
          </ac:spMkLst>
        </pc:spChg>
        <pc:spChg chg="mod">
          <ac:chgData name="Kiara White (AU)" userId="efb04720-398c-4c43-8922-0f6266aca8e5" providerId="ADAL" clId="{5710E24B-2E6C-469D-B880-FE3792FE3D52}" dt="2022-11-16T04:55:23.449" v="66" actId="13926"/>
          <ac:spMkLst>
            <pc:docMk/>
            <pc:sldMk cId="4113829319" sldId="1356"/>
            <ac:spMk id="28" creationId="{C369EDEC-0929-4662-BFD3-5D969179934B}"/>
          </ac:spMkLst>
        </pc:spChg>
        <pc:spChg chg="mod">
          <ac:chgData name="Kiara White (AU)" userId="efb04720-398c-4c43-8922-0f6266aca8e5" providerId="ADAL" clId="{5710E24B-2E6C-469D-B880-FE3792FE3D52}" dt="2022-11-16T04:55:06.770" v="61" actId="13926"/>
          <ac:spMkLst>
            <pc:docMk/>
            <pc:sldMk cId="4113829319" sldId="1356"/>
            <ac:spMk id="37" creationId="{1FEBCA95-D7E9-49AE-8494-B23C9D388454}"/>
          </ac:spMkLst>
        </pc:spChg>
      </pc:sldChg>
      <pc:sldChg chg="modSp mod">
        <pc:chgData name="Kiara White (AU)" userId="efb04720-398c-4c43-8922-0f6266aca8e5" providerId="ADAL" clId="{5710E24B-2E6C-469D-B880-FE3792FE3D52}" dt="2022-11-16T04:53:37.792" v="49" actId="13926"/>
        <pc:sldMkLst>
          <pc:docMk/>
          <pc:sldMk cId="1430640199" sldId="1357"/>
        </pc:sldMkLst>
        <pc:spChg chg="mod">
          <ac:chgData name="Kiara White (AU)" userId="efb04720-398c-4c43-8922-0f6266aca8e5" providerId="ADAL" clId="{5710E24B-2E6C-469D-B880-FE3792FE3D52}" dt="2022-11-16T04:53:37.792" v="49" actId="13926"/>
          <ac:spMkLst>
            <pc:docMk/>
            <pc:sldMk cId="1430640199" sldId="1357"/>
            <ac:spMk id="81" creationId="{3F85174D-54B3-4F41-977D-7D76D4274971}"/>
          </ac:spMkLst>
        </pc:spChg>
      </pc:sldChg>
      <pc:sldChg chg="delCm">
        <pc:chgData name="Kiara White (AU)" userId="efb04720-398c-4c43-8922-0f6266aca8e5" providerId="ADAL" clId="{5710E24B-2E6C-469D-B880-FE3792FE3D52}" dt="2022-11-16T04:55:38.112" v="68"/>
        <pc:sldMkLst>
          <pc:docMk/>
          <pc:sldMk cId="4205164268" sldId="1366"/>
        </pc:sldMkLst>
      </pc:sldChg>
      <pc:sldChg chg="delSp modSp mod delCm">
        <pc:chgData name="Kiara White (AU)" userId="efb04720-398c-4c43-8922-0f6266aca8e5" providerId="ADAL" clId="{5710E24B-2E6C-469D-B880-FE3792FE3D52}" dt="2022-11-16T04:51:59.870" v="31" actId="478"/>
        <pc:sldMkLst>
          <pc:docMk/>
          <pc:sldMk cId="2239805060" sldId="1369"/>
        </pc:sldMkLst>
        <pc:spChg chg="mod">
          <ac:chgData name="Kiara White (AU)" userId="efb04720-398c-4c43-8922-0f6266aca8e5" providerId="ADAL" clId="{5710E24B-2E6C-469D-B880-FE3792FE3D52}" dt="2022-11-16T04:51:51.854" v="28" actId="13926"/>
          <ac:spMkLst>
            <pc:docMk/>
            <pc:sldMk cId="2239805060" sldId="1369"/>
            <ac:spMk id="5" creationId="{EBF83373-F65E-42B9-94D3-2FB7A82381D3}"/>
          </ac:spMkLst>
        </pc:spChg>
        <pc:spChg chg="del">
          <ac:chgData name="Kiara White (AU)" userId="efb04720-398c-4c43-8922-0f6266aca8e5" providerId="ADAL" clId="{5710E24B-2E6C-469D-B880-FE3792FE3D52}" dt="2022-11-16T04:51:59.870" v="31" actId="478"/>
          <ac:spMkLst>
            <pc:docMk/>
            <pc:sldMk cId="2239805060" sldId="1369"/>
            <ac:spMk id="77" creationId="{B3B3B185-8826-4CF8-8705-BC8EF0E96CDA}"/>
          </ac:spMkLst>
        </pc:spChg>
      </pc:sldChg>
      <pc:sldChg chg="del">
        <pc:chgData name="Kiara White (AU)" userId="efb04720-398c-4c43-8922-0f6266aca8e5" providerId="ADAL" clId="{5710E24B-2E6C-469D-B880-FE3792FE3D52}" dt="2022-11-16T04:49:57.687" v="0" actId="47"/>
        <pc:sldMkLst>
          <pc:docMk/>
          <pc:sldMk cId="2470637335" sldId="1373"/>
        </pc:sldMkLst>
      </pc:sldChg>
      <pc:sldChg chg="delSp modSp mod delCm">
        <pc:chgData name="Kiara White (AU)" userId="efb04720-398c-4c43-8922-0f6266aca8e5" providerId="ADAL" clId="{5710E24B-2E6C-469D-B880-FE3792FE3D52}" dt="2022-11-16T04:53:56.515" v="52"/>
        <pc:sldMkLst>
          <pc:docMk/>
          <pc:sldMk cId="1878893609" sldId="1374"/>
        </pc:sldMkLst>
        <pc:spChg chg="mod">
          <ac:chgData name="Kiara White (AU)" userId="efb04720-398c-4c43-8922-0f6266aca8e5" providerId="ADAL" clId="{5710E24B-2E6C-469D-B880-FE3792FE3D52}" dt="2022-11-16T04:53:45.220" v="50" actId="13926"/>
          <ac:spMkLst>
            <pc:docMk/>
            <pc:sldMk cId="1878893609" sldId="1374"/>
            <ac:spMk id="5" creationId="{EBF83373-F65E-42B9-94D3-2FB7A82381D3}"/>
          </ac:spMkLst>
        </pc:spChg>
        <pc:spChg chg="del">
          <ac:chgData name="Kiara White (AU)" userId="efb04720-398c-4c43-8922-0f6266aca8e5" providerId="ADAL" clId="{5710E24B-2E6C-469D-B880-FE3792FE3D52}" dt="2022-11-16T04:53:53.971" v="51" actId="478"/>
          <ac:spMkLst>
            <pc:docMk/>
            <pc:sldMk cId="1878893609" sldId="1374"/>
            <ac:spMk id="79" creationId="{0FD2DAD6-C555-410B-B9C9-AF0EA2662173}"/>
          </ac:spMkLst>
        </pc:spChg>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Book2"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Book2"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Book2"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Book2"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Sheet1!$F$1:$N$1</cx:f>
        <cx:lvl ptCount="9">
          <cx:pt idx="0">APS 3</cx:pt>
          <cx:pt idx="1">APS 4</cx:pt>
          <cx:pt idx="2">APS 5</cx:pt>
          <cx:pt idx="3">APS 6</cx:pt>
          <cx:pt idx="4">EL 1</cx:pt>
          <cx:pt idx="5">EL 2</cx:pt>
          <cx:pt idx="6">SES 1</cx:pt>
          <cx:pt idx="7">SES 2</cx:pt>
        </cx:lvl>
      </cx:strDim>
      <cx:numDim type="val">
        <cx:f dir="row">Sheet1!$F$2:$N$2</cx:f>
        <cx:lvl ptCount="9" formatCode="General">
          <cx:pt idx="0">11</cx:pt>
          <cx:pt idx="1">32</cx:pt>
          <cx:pt idx="2">84</cx:pt>
          <cx:pt idx="3">409</cx:pt>
          <cx:pt idx="4">200</cx:pt>
          <cx:pt idx="5">52</cx:pt>
          <cx:pt idx="6">10</cx:pt>
          <cx:pt idx="7">1</cx:pt>
        </cx:lvl>
      </cx:numDim>
    </cx:data>
  </cx:chartData>
  <cx:chart>
    <cx:title pos="t" align="ctr" overlay="0">
      <cx:tx>
        <cx:txData>
          <cx:v> Aged Care Quality and Safety Commission</cx:v>
        </cx:txData>
      </cx:tx>
      <cx:txPr>
        <a:bodyPr spcFirstLastPara="1" vertOverflow="ellipsis" horzOverflow="overflow" wrap="square" lIns="0" tIns="0" rIns="0" bIns="0" anchor="ctr" anchorCtr="1"/>
        <a:lstStyle/>
        <a:p>
          <a:pPr algn="ctr" rtl="0">
            <a:defRPr/>
          </a:pPr>
          <a:r>
            <a:rPr lang="en-US" sz="1200" b="0" i="0" u="none" strike="noStrike" baseline="0">
              <a:solidFill>
                <a:sysClr val="windowText" lastClr="000000">
                  <a:lumMod val="65000"/>
                  <a:lumOff val="35000"/>
                </a:sysClr>
              </a:solidFill>
              <a:latin typeface="Calibri" panose="020F0502020204030204"/>
            </a:rPr>
            <a:t> Aged Care Quality and Safety Commission</a:t>
          </a:r>
        </a:p>
      </cx:txPr>
    </cx:title>
    <cx:plotArea>
      <cx:plotAreaRegion>
        <cx:series layoutId="funnel" uniqueId="{7EC72FA3-59C5-4C2A-82BF-3A2413413930}">
          <cx:tx>
            <cx:txData>
              <cx:f>Sheet1!$A$2:$E$2</cx:f>
              <cx:v> Aged Care Quality and Safety Commission . . . .</cx:v>
            </cx:txData>
          </cx:tx>
          <cx:dataId val="0"/>
        </cx:series>
      </cx:plotAreaRegion>
      <cx:axis id="0">
        <cx:catScaling gapWidth="0.0599999987"/>
        <cx:tickLabels/>
      </cx:axis>
    </cx:plotArea>
  </cx:chart>
  <cx:spPr>
    <a:ln>
      <a:solidFill>
        <a:schemeClr val="bg2">
          <a:lumMod val="90000"/>
        </a:schemeClr>
      </a:solidFill>
    </a:ln>
  </cx:spPr>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Sheet1!$G$3:$N$3</cx:f>
        <cx:lvl ptCount="8">
          <cx:pt idx="0">APS 4</cx:pt>
          <cx:pt idx="1">APS 5</cx:pt>
          <cx:pt idx="2">APS 6</cx:pt>
          <cx:pt idx="3">EL 1</cx:pt>
          <cx:pt idx="4">EL 2</cx:pt>
          <cx:pt idx="5">SES 1</cx:pt>
          <cx:pt idx="6">SES 2</cx:pt>
        </cx:lvl>
      </cx:strDim>
      <cx:numDim type="val">
        <cx:f dir="row">Sheet1!$G$4:$N$4</cx:f>
        <cx:lvl ptCount="8" formatCode="General">
          <cx:pt idx="0">1</cx:pt>
          <cx:pt idx="1">2</cx:pt>
          <cx:pt idx="2">11</cx:pt>
          <cx:pt idx="3">37</cx:pt>
          <cx:pt idx="4">22</cx:pt>
          <cx:pt idx="5">0</cx:pt>
          <cx:pt idx="6">2</cx:pt>
        </cx:lvl>
      </cx:numDim>
    </cx:data>
  </cx:chartData>
  <cx:chart>
    <cx:title pos="t" align="ctr" overlay="0">
      <cx:tx>
        <cx:txData>
          <cx:v>Australian Commission on Safety and Quality in Health Care</cx:v>
        </cx:txData>
      </cx:tx>
      <cx:txPr>
        <a:bodyPr spcFirstLastPara="1" vertOverflow="ellipsis" horzOverflow="overflow" wrap="square" lIns="0" tIns="0" rIns="0" bIns="0" anchor="ctr" anchorCtr="1"/>
        <a:lstStyle/>
        <a:p>
          <a:pPr algn="ctr" rtl="0">
            <a:defRPr/>
          </a:pPr>
          <a:r>
            <a:rPr lang="en-US" sz="1200" b="0" i="0" u="none" strike="noStrike" baseline="0">
              <a:solidFill>
                <a:sysClr val="windowText" lastClr="000000">
                  <a:lumMod val="65000"/>
                  <a:lumOff val="35000"/>
                </a:sysClr>
              </a:solidFill>
              <a:latin typeface="Calibri" panose="020F0502020204030204"/>
            </a:rPr>
            <a:t>Australian Commission on Safety and Quality in Health Care</a:t>
          </a:r>
        </a:p>
      </cx:txPr>
    </cx:title>
    <cx:plotArea>
      <cx:plotAreaRegion>
        <cx:series layoutId="funnel" uniqueId="{7AC1D539-02B7-46BE-8F6B-BA81979B5929}">
          <cx:tx>
            <cx:txData>
              <cx:f>Sheet1!$A$4:$F$4</cx:f>
              <cx:v>Australian Commission on Safety and Quality in Health Care . . . . .</cx:v>
            </cx:txData>
          </cx:tx>
          <cx:spPr>
            <a:solidFill>
              <a:schemeClr val="bg2">
                <a:lumMod val="50000"/>
              </a:schemeClr>
            </a:solidFill>
          </cx:spPr>
          <cx:dataId val="0"/>
        </cx:series>
      </cx:plotAreaRegion>
      <cx:axis id="0">
        <cx:catScaling gapWidth="0.0599999987"/>
        <cx:tickLabels/>
      </cx:axis>
    </cx:plotArea>
  </cx:chart>
  <cx:spPr>
    <a:ln>
      <a:solidFill>
        <a:schemeClr val="bg2">
          <a:lumMod val="90000"/>
        </a:schemeClr>
      </a:solidFill>
    </a:ln>
  </cx:spPr>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Sheet1!$C$10:$N$10</cx:f>
        <cx:lvl ptCount="12">
          <cx:pt idx="0">Graduate</cx:pt>
          <cx:pt idx="1">APS 1</cx:pt>
          <cx:pt idx="2">APS 2</cx:pt>
          <cx:pt idx="3">APS 3</cx:pt>
          <cx:pt idx="4">APS 4</cx:pt>
          <cx:pt idx="5">APS 5</cx:pt>
          <cx:pt idx="6">APS 6</cx:pt>
          <cx:pt idx="7">EL 1</cx:pt>
          <cx:pt idx="8">EL 2</cx:pt>
          <cx:pt idx="9">SES 1</cx:pt>
          <cx:pt idx="10">SES 2</cx:pt>
        </cx:lvl>
      </cx:strDim>
      <cx:numDim type="val">
        <cx:f dir="row">Sheet1!$C$11:$N$11</cx:f>
        <cx:lvl ptCount="12" formatCode="General">
          <cx:pt idx="0">24</cx:pt>
          <cx:pt idx="1">0</cx:pt>
          <cx:pt idx="2">0</cx:pt>
          <cx:pt idx="3">3</cx:pt>
          <cx:pt idx="4">41</cx:pt>
          <cx:pt idx="5">197</cx:pt>
          <cx:pt idx="6">293</cx:pt>
          <cx:pt idx="7">393</cx:pt>
          <cx:pt idx="8">305</cx:pt>
          <cx:pt idx="9">44</cx:pt>
          <cx:pt idx="10">16</cx:pt>
        </cx:lvl>
      </cx:numDim>
    </cx:data>
  </cx:chartData>
  <cx:chart>
    <cx:title pos="t" align="ctr" overlay="0">
      <cx:tx>
        <cx:txData>
          <cx:v> Australian Competition and Consumer Commission</cx:v>
        </cx:txData>
      </cx:tx>
      <cx:txPr>
        <a:bodyPr spcFirstLastPara="1" vertOverflow="ellipsis" horzOverflow="overflow" wrap="square" lIns="0" tIns="0" rIns="0" bIns="0" anchor="ctr" anchorCtr="1"/>
        <a:lstStyle/>
        <a:p>
          <a:pPr algn="ctr" rtl="0">
            <a:defRPr/>
          </a:pPr>
          <a:r>
            <a:rPr lang="en-US" sz="1200" b="0" i="0" u="none" strike="noStrike" baseline="0">
              <a:solidFill>
                <a:sysClr val="windowText" lastClr="000000">
                  <a:lumMod val="65000"/>
                  <a:lumOff val="35000"/>
                </a:sysClr>
              </a:solidFill>
              <a:latin typeface="Calibri" panose="020F0502020204030204"/>
            </a:rPr>
            <a:t> Australian Competition and Consumer Commission</a:t>
          </a:r>
        </a:p>
      </cx:txPr>
    </cx:title>
    <cx:plotArea>
      <cx:plotAreaRegion>
        <cx:series layoutId="funnel" uniqueId="{DF9FD236-4BED-4EF0-81A5-68AA2A97FBB9}">
          <cx:tx>
            <cx:txData>
              <cx:f>Sheet1!$A$11:$B$11</cx:f>
              <cx:v>#NAME? .</cx:v>
            </cx:txData>
          </cx:tx>
          <cx:dataId val="0"/>
        </cx:series>
      </cx:plotAreaRegion>
      <cx:axis id="0">
        <cx:catScaling gapWidth="0.0599999987"/>
        <cx:tickLabels/>
      </cx:axis>
    </cx:plotArea>
  </cx:chart>
  <cx:spPr>
    <a:ln>
      <a:solidFill>
        <a:schemeClr val="bg2">
          <a:lumMod val="90000"/>
        </a:schemeClr>
      </a:solidFill>
    </a:ln>
  </cx:spPr>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Sheet1!$D$65:$M$65</cx:f>
        <cx:lvl ptCount="10">
          <cx:pt idx="0">APS 1</cx:pt>
          <cx:pt idx="1">APS 2</cx:pt>
          <cx:pt idx="2">APS 3</cx:pt>
          <cx:pt idx="3">APS 4</cx:pt>
          <cx:pt idx="4">APS 5</cx:pt>
          <cx:pt idx="5">APS 6</cx:pt>
          <cx:pt idx="6">EL 1</cx:pt>
          <cx:pt idx="7">EL 2</cx:pt>
          <cx:pt idx="8">SES 1</cx:pt>
          <cx:pt idx="9">SES 2</cx:pt>
        </cx:lvl>
      </cx:strDim>
      <cx:numDim type="val">
        <cx:f dir="row">Sheet1!$D$66:$M$66</cx:f>
        <cx:lvl ptCount="10" formatCode="General">
          <cx:pt idx="0">0.29999999999999999</cx:pt>
          <cx:pt idx="1">0.29999999999999999</cx:pt>
          <cx:pt idx="2">1.1000000000000001</cx:pt>
          <cx:pt idx="3">8.5</cx:pt>
          <cx:pt idx="4">21</cx:pt>
          <cx:pt idx="5">34.200000000000003</cx:pt>
          <cx:pt idx="6">22</cx:pt>
          <cx:pt idx="7">10.300000000000001</cx:pt>
          <cx:pt idx="8">1.1000000000000001</cx:pt>
          <cx:pt idx="9">0.59999999999999998</cx:pt>
        </cx:lvl>
      </cx:numDim>
    </cx:data>
  </cx:chartData>
  <cx:chart>
    <cx:title pos="t" align="ctr" overlay="0">
      <cx:tx>
        <cx:txData>
          <cx:v>NDIS Quality and Safeguards Commission</cx:v>
        </cx:txData>
      </cx:tx>
      <cx:txPr>
        <a:bodyPr spcFirstLastPara="1" vertOverflow="ellipsis" horzOverflow="overflow" wrap="square" lIns="0" tIns="0" rIns="0" bIns="0" anchor="ctr" anchorCtr="1"/>
        <a:lstStyle/>
        <a:p>
          <a:pPr algn="ctr" rtl="0">
            <a:defRPr/>
          </a:pPr>
          <a:r>
            <a:rPr lang="en-US" sz="1200" b="0" i="0" u="none" strike="noStrike" baseline="0">
              <a:solidFill>
                <a:prstClr val="black">
                  <a:lumMod val="65000"/>
                  <a:lumOff val="35000"/>
                </a:prstClr>
              </a:solidFill>
              <a:latin typeface="Calibri" panose="020F0502020204030204"/>
            </a:rPr>
            <a:t>NDIS Quality and Safeguards Commission</a:t>
          </a:r>
        </a:p>
      </cx:txPr>
    </cx:title>
    <cx:plotArea>
      <cx:plotAreaRegion>
        <cx:series layoutId="funnel" uniqueId="{3BC5D1D9-E214-423B-8A41-8AA831206E0C}">
          <cx:tx>
            <cx:txData>
              <cx:f>Sheet1!$A$66:$C$66</cx:f>
              <cx:v>NDIS Quality and Safegaurds Commission . .</cx:v>
            </cx:txData>
          </cx:tx>
          <cx:spPr>
            <a:solidFill>
              <a:srgbClr val="93C572"/>
            </a:solidFill>
          </cx:spPr>
          <cx:dataId val="0"/>
        </cx:series>
      </cx:plotAreaRegion>
      <cx:axis id="0">
        <cx:catScaling gapWidth="0.0599999987"/>
        <cx:tickLabels/>
      </cx:axis>
    </cx:plotArea>
  </cx:chart>
  <cx:spPr>
    <a:ln>
      <a:solidFill>
        <a:schemeClr val="bg2">
          <a:lumMod val="90000"/>
        </a:schemeClr>
      </a:solidFill>
    </a:ln>
  </cx:spPr>
</cx: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7">
  <a:schemeClr val="accent4"/>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pPr algn="ctr"/>
            <a:endParaRPr lang="en-AU" b="1" dirty="0">
              <a:solidFill>
                <a:srgbClr val="FF0000"/>
              </a:solidFill>
              <a:latin typeface="Arial" panose="020B0604020202020204" pitchFamily="34" charset="0"/>
            </a:endParaRPr>
          </a:p>
        </p:txBody>
      </p:sp>
      <p:sp>
        <p:nvSpPr>
          <p:cNvPr id="3" name="Date Placeholder 2"/>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fld id="{1099FA0D-40B4-4AF5-8F4D-FEB4A80D2A04}" type="datetimeFigureOut">
              <a:rPr lang="en-AU" smtClean="0"/>
              <a:t>13/02/2023</a:t>
            </a:fld>
            <a:endParaRPr lang="en-AU" dirty="0"/>
          </a:p>
        </p:txBody>
      </p:sp>
      <p:sp>
        <p:nvSpPr>
          <p:cNvPr id="4" name="Footer Placeholder 3"/>
          <p:cNvSpPr>
            <a:spLocks noGrp="1"/>
          </p:cNvSpPr>
          <p:nvPr>
            <p:ph type="ftr" sz="quarter" idx="2"/>
          </p:nvPr>
        </p:nvSpPr>
        <p:spPr>
          <a:xfrm>
            <a:off x="0" y="9377363"/>
            <a:ext cx="2946400" cy="495300"/>
          </a:xfrm>
          <a:prstGeom prst="rect">
            <a:avLst/>
          </a:prstGeom>
        </p:spPr>
        <p:txBody>
          <a:bodyPr vert="horz" lIns="91440" tIns="45720" rIns="91440" bIns="45720" rtlCol="0" anchor="b"/>
          <a:lstStyle>
            <a:lvl1pPr algn="l">
              <a:defRPr sz="1200"/>
            </a:lvl1pPr>
          </a:lstStyle>
          <a:p>
            <a:pPr algn="ctr"/>
            <a:endParaRPr lang="en-AU" b="1" dirty="0">
              <a:solidFill>
                <a:srgbClr val="FF0000"/>
              </a:solidFill>
              <a:latin typeface="Arial" panose="020B0604020202020204" pitchFamily="34" charset="0"/>
            </a:endParaRPr>
          </a:p>
        </p:txBody>
      </p:sp>
      <p:sp>
        <p:nvSpPr>
          <p:cNvPr id="5" name="Slide Number Placeholder 4"/>
          <p:cNvSpPr>
            <a:spLocks noGrp="1"/>
          </p:cNvSpPr>
          <p:nvPr>
            <p:ph type="sldNum" sz="quarter" idx="3"/>
          </p:nvPr>
        </p:nvSpPr>
        <p:spPr>
          <a:xfrm>
            <a:off x="3849688" y="9377363"/>
            <a:ext cx="2946400" cy="495300"/>
          </a:xfrm>
          <a:prstGeom prst="rect">
            <a:avLst/>
          </a:prstGeom>
        </p:spPr>
        <p:txBody>
          <a:bodyPr vert="horz" lIns="91440" tIns="45720" rIns="91440" bIns="45720" rtlCol="0" anchor="b"/>
          <a:lstStyle>
            <a:lvl1pPr algn="r">
              <a:defRPr sz="1200"/>
            </a:lvl1pPr>
          </a:lstStyle>
          <a:p>
            <a:fld id="{CFFCEA10-29FD-4E9C-93BE-1F74D8ED3A0B}" type="slidenum">
              <a:rPr lang="en-AU" smtClean="0"/>
              <a:t>‹#›</a:t>
            </a:fld>
            <a:endParaRPr lang="en-AU" dirty="0"/>
          </a:p>
        </p:txBody>
      </p:sp>
    </p:spTree>
    <p:extLst>
      <p:ext uri="{BB962C8B-B14F-4D97-AF65-F5344CB8AC3E}">
        <p14:creationId xmlns:p14="http://schemas.microsoft.com/office/powerpoint/2010/main" val="428214715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ctr">
              <a:defRPr sz="1200" b="1" i="0" u="none">
                <a:solidFill>
                  <a:srgbClr val="FF0000"/>
                </a:solidFill>
                <a:latin typeface="Arial" panose="020B0604020202020204" pitchFamily="34" charset="0"/>
              </a:defRPr>
            </a:lvl1pPr>
          </a:lstStyle>
          <a:p>
            <a:endParaRPr lang="en-AU" dirty="0"/>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3FAD0CBC-2C98-44F9-A683-05E209A767FB}" type="datetimeFigureOut">
              <a:rPr lang="en-AU" smtClean="0"/>
              <a:t>13/02/2023</a:t>
            </a:fld>
            <a:endParaRPr lang="en-AU" dirty="0"/>
          </a:p>
        </p:txBody>
      </p:sp>
      <p:sp>
        <p:nvSpPr>
          <p:cNvPr id="4" name="Slide Image Placeholder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377317"/>
            <a:ext cx="2945659" cy="495347"/>
          </a:xfrm>
          <a:prstGeom prst="rect">
            <a:avLst/>
          </a:prstGeom>
        </p:spPr>
        <p:txBody>
          <a:bodyPr vert="horz" lIns="91440" tIns="45720" rIns="91440" bIns="45720" rtlCol="0" anchor="b"/>
          <a:lstStyle>
            <a:lvl1pPr algn="ctr">
              <a:defRPr sz="1200" b="1" i="0" u="none">
                <a:solidFill>
                  <a:srgbClr val="FF0000"/>
                </a:solidFill>
                <a:latin typeface="Arial" panose="020B0604020202020204" pitchFamily="34" charset="0"/>
              </a:defRPr>
            </a:lvl1pPr>
          </a:lstStyle>
          <a:p>
            <a:endParaRPr lang="en-AU" dirty="0"/>
          </a:p>
        </p:txBody>
      </p:sp>
      <p:sp>
        <p:nvSpPr>
          <p:cNvPr id="7" name="Slide Number Placeholder 6"/>
          <p:cNvSpPr>
            <a:spLocks noGrp="1"/>
          </p:cNvSpPr>
          <p:nvPr>
            <p:ph type="sldNum" sz="quarter" idx="5"/>
          </p:nvPr>
        </p:nvSpPr>
        <p:spPr>
          <a:xfrm>
            <a:off x="3850443" y="9377317"/>
            <a:ext cx="2945659" cy="495347"/>
          </a:xfrm>
          <a:prstGeom prst="rect">
            <a:avLst/>
          </a:prstGeom>
        </p:spPr>
        <p:txBody>
          <a:bodyPr vert="horz" lIns="91440" tIns="45720" rIns="91440" bIns="45720" rtlCol="0" anchor="b"/>
          <a:lstStyle>
            <a:lvl1pPr algn="r">
              <a:defRPr sz="1200"/>
            </a:lvl1pPr>
          </a:lstStyle>
          <a:p>
            <a:fld id="{DE76C03F-22F6-4E7A-BD9C-D0DC9F5ECC79}" type="slidenum">
              <a:rPr lang="en-AU" smtClean="0"/>
              <a:t>‹#›</a:t>
            </a:fld>
            <a:endParaRPr lang="en-AU" dirty="0"/>
          </a:p>
        </p:txBody>
      </p:sp>
    </p:spTree>
    <p:extLst>
      <p:ext uri="{BB962C8B-B14F-4D97-AF65-F5344CB8AC3E}">
        <p14:creationId xmlns:p14="http://schemas.microsoft.com/office/powerpoint/2010/main" val="403767119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1</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670512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76C03F-22F6-4E7A-BD9C-D0DC9F5ECC79}" type="slidenum">
              <a:rPr lang="en-AU" smtClean="0"/>
              <a:t>10</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917565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11</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4394944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76C03F-22F6-4E7A-BD9C-D0DC9F5ECC79}" type="slidenum">
              <a:rPr lang="en-AU" smtClean="0"/>
              <a:t>12</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77581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n-US" b="0" i="0" dirty="0">
              <a:solidFill>
                <a:srgbClr val="212529"/>
              </a:solidFill>
              <a:effectLst/>
              <a:latin typeface="Montserrat Regular" panose="00000500000000000000" pitchFamily="2" charset="0"/>
            </a:endParaRPr>
          </a:p>
        </p:txBody>
      </p:sp>
      <p:sp>
        <p:nvSpPr>
          <p:cNvPr id="4" name="Slide Number Placeholder 3"/>
          <p:cNvSpPr>
            <a:spLocks noGrp="1"/>
          </p:cNvSpPr>
          <p:nvPr>
            <p:ph type="sldNum" sz="quarter" idx="5"/>
          </p:nvPr>
        </p:nvSpPr>
        <p:spPr/>
        <p:txBody>
          <a:bodyPr/>
          <a:lstStyle/>
          <a:p>
            <a:fld id="{DE76C03F-22F6-4E7A-BD9C-D0DC9F5ECC79}" type="slidenum">
              <a:rPr lang="en-AU" smtClean="0"/>
              <a:t>13</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6746164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14</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607058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573320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dirty="0">
              <a:cs typeface="Calibri 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2256199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2348198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9048123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228008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017262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sz="1200" b="0" dirty="0">
              <a:latin typeface="Calibri" panose="020F0502020204030204"/>
              <a:cs typeface="Calibri 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2794485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21</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381817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2</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339634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76C03F-22F6-4E7A-BD9C-D0DC9F5ECC79}" type="slidenum">
              <a:rPr lang="en-AU" smtClean="0"/>
              <a:t>23</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5637172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76C03F-22F6-4E7A-BD9C-D0DC9F5ECC79}" type="slidenum">
              <a:rPr lang="en-AU" smtClean="0"/>
              <a:t>24</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9465901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5</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902053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6</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6834771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7</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7608712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sz="1200" b="0" dirty="0">
              <a:latin typeface="Calibri" panose="020F0502020204030204"/>
              <a:cs typeface="Calibri 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6641173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9</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786514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3</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4290100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5931673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31</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7743300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32</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4779805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sz="1200" b="0" dirty="0">
              <a:latin typeface="Calibri" panose="020F0502020204030204"/>
              <a:cs typeface="Calibri 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8839471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34</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2637808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5</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1952949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6</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7440657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7</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9950584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8</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42031565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9</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4147780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4984253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40</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0511818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049659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8073411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43</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484964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44</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996747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491977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386056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7</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552787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8</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778877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3614724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7092000" y="2052000"/>
            <a:ext cx="4608000" cy="2736000"/>
          </a:xfrm>
        </p:spPr>
        <p:txBody>
          <a:bodyPr anchor="ctr" anchorCtr="0">
            <a:normAutofit/>
          </a:bodyPr>
          <a:lstStyle>
            <a:lvl1pPr algn="l">
              <a:lnSpc>
                <a:spcPts val="5000"/>
              </a:lnSpc>
              <a:defRPr sz="4400"/>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7344000" y="4788000"/>
            <a:ext cx="4356000" cy="6480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7343775" y="5508000"/>
            <a:ext cx="4356100" cy="648000"/>
          </a:xfrm>
        </p:spPr>
        <p:txBody>
          <a:bodyPr>
            <a:normAutofit/>
          </a:bodyPr>
          <a:lstStyle>
            <a:lvl1pPr>
              <a:lnSpc>
                <a:spcPts val="2000"/>
              </a:lnSpc>
              <a:defRPr sz="1400" b="0"/>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684000"/>
            <a:ext cx="6588000" cy="5490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Picture Placeholder 10">
            <a:extLst>
              <a:ext uri="{FF2B5EF4-FFF2-40B4-BE49-F238E27FC236}">
                <a16:creationId xmlns:a16="http://schemas.microsoft.com/office/drawing/2014/main" id="{699A772B-2CDC-4682-B1BD-180B32FCD9B5}"/>
              </a:ext>
            </a:extLst>
          </p:cNvPr>
          <p:cNvSpPr>
            <a:spLocks noGrp="1"/>
          </p:cNvSpPr>
          <p:nvPr>
            <p:ph type="pic" sz="quarter" idx="14"/>
          </p:nvPr>
        </p:nvSpPr>
        <p:spPr>
          <a:xfrm>
            <a:off x="252000" y="252000"/>
            <a:ext cx="5832000" cy="6354000"/>
          </a:xfrm>
        </p:spPr>
        <p:txBody>
          <a:bodyPr/>
          <a:lstStyle/>
          <a:p>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7092000" y="4788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43775" y="590976"/>
            <a:ext cx="3575311" cy="1109474"/>
          </a:xfrm>
          <a:prstGeom prst="rect">
            <a:avLst/>
          </a:prstGeom>
        </p:spPr>
      </p:pic>
      <p:sp>
        <p:nvSpPr>
          <p:cNvPr id="5" name="Footer Placeholder 4"/>
          <p:cNvSpPr>
            <a:spLocks noGrp="1"/>
          </p:cNvSpPr>
          <p:nvPr>
            <p:ph type="ftr" sz="quarter" idx="15"/>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1790191538"/>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F4386-B398-4D38-AEB3-A910B6846FD9}"/>
              </a:ext>
            </a:extLst>
          </p:cNvPr>
          <p:cNvSpPr>
            <a:spLocks noGrp="1"/>
          </p:cNvSpPr>
          <p:nvPr>
            <p:ph type="title"/>
          </p:nvPr>
        </p:nvSpPr>
        <p:spPr>
          <a:xfrm>
            <a:off x="982663" y="-1"/>
            <a:ext cx="10515600" cy="1368000"/>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C1EFF98A-6AAB-4DD0-81F0-DF4640742D34}"/>
              </a:ext>
            </a:extLst>
          </p:cNvPr>
          <p:cNvSpPr>
            <a:spLocks noGrp="1"/>
          </p:cNvSpPr>
          <p:nvPr>
            <p:ph type="body" idx="1"/>
          </p:nvPr>
        </p:nvSpPr>
        <p:spPr>
          <a:xfrm>
            <a:off x="982663" y="2024063"/>
            <a:ext cx="4869579" cy="481012"/>
          </a:xfrm>
        </p:spPr>
        <p:txBody>
          <a:bodyPr anchor="t" anchorCtr="0">
            <a:normAutofit/>
          </a:bodyPr>
          <a:lstStyle>
            <a:lvl1pPr marL="0" indent="0">
              <a:lnSpc>
                <a:spcPts val="3200"/>
              </a:lnSpc>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8F4E04C-55A6-42E9-9AE5-74C4ACBE4912}"/>
              </a:ext>
            </a:extLst>
          </p:cNvPr>
          <p:cNvSpPr>
            <a:spLocks noGrp="1"/>
          </p:cNvSpPr>
          <p:nvPr>
            <p:ph sz="half" idx="2"/>
          </p:nvPr>
        </p:nvSpPr>
        <p:spPr>
          <a:xfrm>
            <a:off x="982663" y="2657563"/>
            <a:ext cx="4869579" cy="3532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7120A860-99C5-425A-AAA8-A75ADCED1E47}"/>
              </a:ext>
            </a:extLst>
          </p:cNvPr>
          <p:cNvSpPr>
            <a:spLocks noGrp="1"/>
          </p:cNvSpPr>
          <p:nvPr>
            <p:ph type="body" sz="quarter" idx="3"/>
          </p:nvPr>
        </p:nvSpPr>
        <p:spPr>
          <a:xfrm>
            <a:off x="6315779" y="2024063"/>
            <a:ext cx="4893560" cy="481012"/>
          </a:xfrm>
        </p:spPr>
        <p:txBody>
          <a:bodyPr anchor="t" anchorCtr="0">
            <a:normAutofit/>
          </a:bodyPr>
          <a:lstStyle>
            <a:lvl1pPr marL="0" indent="0">
              <a:lnSpc>
                <a:spcPts val="3200"/>
              </a:lnSpc>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F34356E-2176-4D41-B9A3-BC27E80B7AF7}"/>
              </a:ext>
            </a:extLst>
          </p:cNvPr>
          <p:cNvSpPr>
            <a:spLocks noGrp="1"/>
          </p:cNvSpPr>
          <p:nvPr>
            <p:ph sz="quarter" idx="4"/>
          </p:nvPr>
        </p:nvSpPr>
        <p:spPr>
          <a:xfrm>
            <a:off x="6315779" y="2657563"/>
            <a:ext cx="4893560" cy="3532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0C2633CE-EF24-42E2-AA82-CA6B813E2152}"/>
              </a:ext>
            </a:extLst>
          </p:cNvPr>
          <p:cNvSpPr>
            <a:spLocks noGrp="1"/>
          </p:cNvSpPr>
          <p:nvPr>
            <p:ph type="dt" sz="half" idx="10"/>
          </p:nvPr>
        </p:nvSpPr>
        <p:spPr/>
        <p:txBody>
          <a:bodyPr/>
          <a:lstStyle/>
          <a:p>
            <a:fld id="{AB44DE83-4174-4B32-9C1C-E89A22CE8484}" type="datetimeFigureOut">
              <a:rPr lang="en-AU" smtClean="0"/>
              <a:t>13/02/2023</a:t>
            </a:fld>
            <a:endParaRPr lang="en-AU" dirty="0"/>
          </a:p>
        </p:txBody>
      </p:sp>
      <p:sp>
        <p:nvSpPr>
          <p:cNvPr id="8" name="Footer Placeholder 7">
            <a:extLst>
              <a:ext uri="{FF2B5EF4-FFF2-40B4-BE49-F238E27FC236}">
                <a16:creationId xmlns:a16="http://schemas.microsoft.com/office/drawing/2014/main" id="{A6F422C3-72C7-4990-B393-65D87952CA27}"/>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9" name="Slide Number Placeholder 8">
            <a:extLst>
              <a:ext uri="{FF2B5EF4-FFF2-40B4-BE49-F238E27FC236}">
                <a16:creationId xmlns:a16="http://schemas.microsoft.com/office/drawing/2014/main" id="{7CF49045-C2D3-4A8B-8D2F-DC331E5F411E}"/>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11" name="Straight Connector 10">
            <a:extLst>
              <a:ext uri="{FF2B5EF4-FFF2-40B4-BE49-F238E27FC236}">
                <a16:creationId xmlns:a16="http://schemas.microsoft.com/office/drawing/2014/main" id="{85BCAFBF-B6AB-4094-BB38-C773152FD62F}"/>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4D93DE8-D2DE-4118-8002-7455A6718840}"/>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675DA8B-7D9D-4283-9D72-F0A495F37145}"/>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DBD96FD-D1E9-43D5-B8B8-9DC35CDE04D2}"/>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56631"/>
            <a:ext cx="2754409" cy="854735"/>
          </a:xfrm>
          <a:prstGeom prst="rect">
            <a:avLst/>
          </a:prstGeom>
        </p:spPr>
      </p:pic>
    </p:spTree>
    <p:extLst>
      <p:ext uri="{BB962C8B-B14F-4D97-AF65-F5344CB8AC3E}">
        <p14:creationId xmlns:p14="http://schemas.microsoft.com/office/powerpoint/2010/main" val="709452087"/>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Header_Blank">
    <p:spTree>
      <p:nvGrpSpPr>
        <p:cNvPr id="1" name=""/>
        <p:cNvGrpSpPr/>
        <p:nvPr/>
      </p:nvGrpSpPr>
      <p:grpSpPr>
        <a:xfrm>
          <a:off x="0" y="0"/>
          <a:ext cx="0" cy="0"/>
          <a:chOff x="0" y="0"/>
          <a:chExt cx="0" cy="0"/>
        </a:xfrm>
      </p:grpSpPr>
      <p:sp>
        <p:nvSpPr>
          <p:cNvPr id="18" name="Rectangle 17"/>
          <p:cNvSpPr/>
          <p:nvPr userDrawn="1"/>
        </p:nvSpPr>
        <p:spPr>
          <a:xfrm>
            <a:off x="-34772" y="-27022"/>
            <a:ext cx="12249227" cy="8215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7364" tIns="23683" rIns="47364" bIns="23683" rtlCol="0" anchor="ctr"/>
          <a:lstStyle/>
          <a:p>
            <a:pPr algn="ctr" defTabSz="663040"/>
            <a:endParaRPr lang="en-AU" sz="1316" dirty="0">
              <a:solidFill>
                <a:prstClr val="white"/>
              </a:solidFill>
            </a:endParaRPr>
          </a:p>
        </p:txBody>
      </p:sp>
      <p:pic>
        <p:nvPicPr>
          <p:cNvPr id="20" name="Picture 2" descr="Home"/>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 b="5127"/>
          <a:stretch/>
        </p:blipFill>
        <p:spPr bwMode="auto">
          <a:xfrm>
            <a:off x="10515649" y="39505"/>
            <a:ext cx="1546728" cy="65319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34773" y="6763680"/>
            <a:ext cx="12288000" cy="9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7364" tIns="23683" rIns="47364" bIns="23683" rtlCol="0" anchor="ctr"/>
          <a:lstStyle/>
          <a:p>
            <a:pPr algn="ctr" defTabSz="663040"/>
            <a:endParaRPr lang="en-AU" sz="1316" dirty="0">
              <a:solidFill>
                <a:prstClr val="white"/>
              </a:solidFill>
            </a:endParaRPr>
          </a:p>
        </p:txBody>
      </p:sp>
      <p:pic>
        <p:nvPicPr>
          <p:cNvPr id="10" name="Picture 9"/>
          <p:cNvPicPr/>
          <p:nvPr userDrawn="1"/>
        </p:nvPicPr>
        <p:blipFill>
          <a:blip r:embed="rId3" cstate="print">
            <a:extLst>
              <a:ext uri="{28A0092B-C50C-407E-A947-70E740481C1C}">
                <a14:useLocalDpi xmlns:a14="http://schemas.microsoft.com/office/drawing/2010/main" val="0"/>
              </a:ext>
            </a:extLst>
          </a:blip>
          <a:stretch>
            <a:fillRect/>
          </a:stretch>
        </p:blipFill>
        <p:spPr>
          <a:xfrm>
            <a:off x="67261" y="6453336"/>
            <a:ext cx="1014921" cy="290250"/>
          </a:xfrm>
          <a:prstGeom prst="rect">
            <a:avLst/>
          </a:prstGeom>
        </p:spPr>
      </p:pic>
      <p:sp>
        <p:nvSpPr>
          <p:cNvPr id="6" name="Rectangle 5"/>
          <p:cNvSpPr/>
          <p:nvPr userDrawn="1"/>
        </p:nvSpPr>
        <p:spPr>
          <a:xfrm>
            <a:off x="7189983" y="6374254"/>
            <a:ext cx="3812903" cy="300082"/>
          </a:xfrm>
          <a:prstGeom prst="rect">
            <a:avLst/>
          </a:prstGeom>
        </p:spPr>
        <p:txBody>
          <a:bodyPr wrap="none">
            <a:spAutoFit/>
          </a:bodyPr>
          <a:lstStyle/>
          <a:p>
            <a:r>
              <a:rPr lang="en-AU" sz="1350" dirty="0">
                <a:solidFill>
                  <a:srgbClr val="FF0000"/>
                </a:solidFill>
                <a:latin typeface="Franklin Gothic Medium" panose="020B0603020102020204" pitchFamily="34" charset="0"/>
                <a:cs typeface="Arial" panose="020B0604020202020204" pitchFamily="34" charset="0"/>
              </a:rPr>
              <a:t>DRAFT ONLY – NOT FOR FURTHER DISTRIBUTION</a:t>
            </a:r>
          </a:p>
        </p:txBody>
      </p:sp>
      <p:sp>
        <p:nvSpPr>
          <p:cNvPr id="2" name="Footer Placeholder 1"/>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191153641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143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8" name="Rectangle 7"/>
          <p:cNvSpPr/>
          <p:nvPr userDrawn="1"/>
        </p:nvSpPr>
        <p:spPr>
          <a:xfrm>
            <a:off x="8499893" y="-1"/>
            <a:ext cx="3692107" cy="8671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6294" tIns="33148" rIns="66294" bIns="33148" rtlCol="0" anchor="ctr"/>
          <a:lstStyle/>
          <a:p>
            <a:pPr algn="ctr" defTabSz="663040"/>
            <a:endParaRPr lang="en-AU" sz="1316" dirty="0">
              <a:solidFill>
                <a:prstClr val="white"/>
              </a:solidFill>
            </a:endParaRPr>
          </a:p>
        </p:txBody>
      </p:sp>
      <p:cxnSp>
        <p:nvCxnSpPr>
          <p:cNvPr id="4" name="Straight Connector 3"/>
          <p:cNvCxnSpPr/>
          <p:nvPr userDrawn="1"/>
        </p:nvCxnSpPr>
        <p:spPr>
          <a:xfrm>
            <a:off x="678256" y="1114457"/>
            <a:ext cx="1090406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609299" y="274411"/>
            <a:ext cx="10973404" cy="840046"/>
          </a:xfrm>
          <a:prstGeom prst="rect">
            <a:avLst/>
          </a:prstGeom>
        </p:spPr>
        <p:txBody>
          <a:bodyPr lIns="68415" tIns="34208" rIns="68415" bIns="34208"/>
          <a:lstStyle>
            <a:lvl1pPr algn="l">
              <a:defRPr sz="1350" b="1" baseline="0">
                <a:solidFill>
                  <a:schemeClr val="tx1"/>
                </a:solidFill>
                <a:latin typeface="Franklin Gothic Heavy"/>
              </a:defRPr>
            </a:lvl1pPr>
          </a:lstStyle>
          <a:p>
            <a:r>
              <a:rPr lang="en-US"/>
              <a:t>Click to edit Master title style</a:t>
            </a:r>
            <a:br>
              <a:rPr lang="en-US"/>
            </a:br>
            <a:r>
              <a:rPr lang="en-US" b="0"/>
              <a:t>Subtitle style</a:t>
            </a:r>
            <a:endParaRPr lang="en-AU"/>
          </a:p>
        </p:txBody>
      </p:sp>
      <p:sp>
        <p:nvSpPr>
          <p:cNvPr id="13" name="Rectangle 12"/>
          <p:cNvSpPr/>
          <p:nvPr userDrawn="1"/>
        </p:nvSpPr>
        <p:spPr>
          <a:xfrm>
            <a:off x="-34773" y="6763680"/>
            <a:ext cx="12288000" cy="9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7364" tIns="23683" rIns="47364" bIns="23683" rtlCol="0" anchor="ctr"/>
          <a:lstStyle/>
          <a:p>
            <a:pPr algn="ctr" defTabSz="663040"/>
            <a:endParaRPr lang="en-AU" sz="1316" dirty="0">
              <a:solidFill>
                <a:prstClr val="white"/>
              </a:solidFill>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586" y="6453336"/>
            <a:ext cx="1014921" cy="290250"/>
          </a:xfrm>
          <a:prstGeom prst="rect">
            <a:avLst/>
          </a:prstGeom>
        </p:spPr>
      </p:pic>
      <p:sp>
        <p:nvSpPr>
          <p:cNvPr id="3" name="Footer Placeholder 2"/>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43932467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7092000" y="2052000"/>
            <a:ext cx="4608000" cy="2736000"/>
          </a:xfrm>
        </p:spPr>
        <p:txBody>
          <a:bodyPr anchor="ctr" anchorCtr="0">
            <a:normAutofit/>
          </a:bodyPr>
          <a:lstStyle>
            <a:lvl1pPr algn="l">
              <a:lnSpc>
                <a:spcPts val="5000"/>
              </a:lnSpc>
              <a:defRPr sz="4400"/>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7344000" y="4788000"/>
            <a:ext cx="4356000" cy="6480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7343775" y="5508000"/>
            <a:ext cx="4356100" cy="648000"/>
          </a:xfrm>
        </p:spPr>
        <p:txBody>
          <a:bodyPr>
            <a:normAutofit/>
          </a:bodyPr>
          <a:lstStyle>
            <a:lvl1pPr>
              <a:lnSpc>
                <a:spcPts val="2000"/>
              </a:lnSpc>
              <a:defRPr sz="1400" b="0"/>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684000"/>
            <a:ext cx="6588000" cy="5490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Picture Placeholder 10">
            <a:extLst>
              <a:ext uri="{FF2B5EF4-FFF2-40B4-BE49-F238E27FC236}">
                <a16:creationId xmlns:a16="http://schemas.microsoft.com/office/drawing/2014/main" id="{699A772B-2CDC-4682-B1BD-180B32FCD9B5}"/>
              </a:ext>
            </a:extLst>
          </p:cNvPr>
          <p:cNvSpPr>
            <a:spLocks noGrp="1"/>
          </p:cNvSpPr>
          <p:nvPr>
            <p:ph type="pic" sz="quarter" idx="14"/>
          </p:nvPr>
        </p:nvSpPr>
        <p:spPr>
          <a:xfrm>
            <a:off x="252000" y="252000"/>
            <a:ext cx="5832000" cy="6354000"/>
          </a:xfrm>
        </p:spPr>
        <p:txBody>
          <a:bodyPr/>
          <a:lstStyle/>
          <a:p>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7092000" y="4788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43775" y="590976"/>
            <a:ext cx="3575311" cy="1109474"/>
          </a:xfrm>
          <a:prstGeom prst="rect">
            <a:avLst/>
          </a:prstGeom>
        </p:spPr>
      </p:pic>
      <p:sp>
        <p:nvSpPr>
          <p:cNvPr id="5" name="Footer Placeholder 4"/>
          <p:cNvSpPr>
            <a:spLocks noGrp="1"/>
          </p:cNvSpPr>
          <p:nvPr>
            <p:ph type="ftr" sz="quarter" idx="15"/>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1146973470"/>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no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982663" y="2052000"/>
            <a:ext cx="8475662" cy="2736000"/>
          </a:xfrm>
        </p:spPr>
        <p:txBody>
          <a:bodyPr anchor="ctr" anchorCtr="0">
            <a:normAutofit/>
          </a:bodyPr>
          <a:lstStyle>
            <a:lvl1pPr algn="l">
              <a:lnSpc>
                <a:spcPts val="6800"/>
              </a:lnSpc>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1234663" y="4788000"/>
            <a:ext cx="8223698" cy="6480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1234437" y="5508000"/>
            <a:ext cx="8223887" cy="648000"/>
          </a:xfrm>
        </p:spPr>
        <p:txBody>
          <a:bodyPr>
            <a:normAutofit/>
          </a:bodyPr>
          <a:lstStyle>
            <a:lvl1pPr>
              <a:lnSpc>
                <a:spcPts val="2000"/>
              </a:lnSpc>
              <a:defRPr sz="1400" b="0"/>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1368000"/>
            <a:ext cx="504000" cy="4788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982663" y="4824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Rectangle 9">
            <a:extLst>
              <a:ext uri="{FF2B5EF4-FFF2-40B4-BE49-F238E27FC236}">
                <a16:creationId xmlns:a16="http://schemas.microsoft.com/office/drawing/2014/main" id="{88526050-A2DF-4DB7-B9CF-16B43098F230}"/>
              </a:ext>
            </a:extLst>
          </p:cNvPr>
          <p:cNvSpPr/>
          <p:nvPr userDrawn="1"/>
        </p:nvSpPr>
        <p:spPr>
          <a:xfrm>
            <a:off x="10140000" y="1368000"/>
            <a:ext cx="2052000" cy="4788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4663" y="582526"/>
            <a:ext cx="3575311" cy="1109474"/>
          </a:xfrm>
          <a:prstGeom prst="rect">
            <a:avLst/>
          </a:prstGeom>
        </p:spPr>
      </p:pic>
      <p:sp>
        <p:nvSpPr>
          <p:cNvPr id="4" name="Footer Placeholder 3"/>
          <p:cNvSpPr>
            <a:spLocks noGrp="1"/>
          </p:cNvSpPr>
          <p:nvPr>
            <p:ph type="ftr" sz="quarter" idx="14"/>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888674800"/>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urp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3A4C72-35F1-4FD8-97EE-9C874F6EC62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982663" y="2052000"/>
            <a:ext cx="8475662" cy="2736000"/>
          </a:xfrm>
        </p:spPr>
        <p:txBody>
          <a:bodyPr anchor="ctr" anchorCtr="0">
            <a:normAutofit/>
          </a:bodyPr>
          <a:lstStyle>
            <a:lvl1pPr algn="l">
              <a:lnSpc>
                <a:spcPts val="8000"/>
              </a:lnSpc>
              <a:defRPr sz="6000">
                <a:solidFill>
                  <a:schemeClr val="bg1"/>
                </a:solidFill>
              </a:defRPr>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1234663" y="4788000"/>
            <a:ext cx="8223698" cy="6480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1234437" y="5508000"/>
            <a:ext cx="8223887" cy="648000"/>
          </a:xfrm>
        </p:spPr>
        <p:txBody>
          <a:bodyPr>
            <a:normAutofit/>
          </a:bodyPr>
          <a:lstStyle>
            <a:lvl1pPr>
              <a:lnSpc>
                <a:spcPts val="2000"/>
              </a:lnSpc>
              <a:defRPr sz="1400" b="0">
                <a:solidFill>
                  <a:schemeClr val="bg1"/>
                </a:solidFill>
              </a:defRPr>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1368000"/>
            <a:ext cx="504000" cy="47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982663" y="4824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Rectangle 9">
            <a:extLst>
              <a:ext uri="{FF2B5EF4-FFF2-40B4-BE49-F238E27FC236}">
                <a16:creationId xmlns:a16="http://schemas.microsoft.com/office/drawing/2014/main" id="{88526050-A2DF-4DB7-B9CF-16B43098F230}"/>
              </a:ext>
            </a:extLst>
          </p:cNvPr>
          <p:cNvSpPr/>
          <p:nvPr userDrawn="1"/>
        </p:nvSpPr>
        <p:spPr>
          <a:xfrm>
            <a:off x="10140000" y="1368000"/>
            <a:ext cx="2052000" cy="47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639" y="569040"/>
            <a:ext cx="3389244" cy="1052632"/>
          </a:xfrm>
          <a:prstGeom prst="rect">
            <a:avLst/>
          </a:prstGeom>
        </p:spPr>
      </p:pic>
      <p:sp>
        <p:nvSpPr>
          <p:cNvPr id="6" name="Footer Placeholder 5"/>
          <p:cNvSpPr>
            <a:spLocks noGrp="1"/>
          </p:cNvSpPr>
          <p:nvPr>
            <p:ph type="ftr" sz="quarter" idx="14"/>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890256192"/>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30DF288-1074-4DEE-8045-1BBEA4767FD6}"/>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431D64CD-A755-4E53-9771-4981CAB5D6B2}"/>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3"/>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419842023"/>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AADB6CD-DBBB-47B0-9CB8-3BC0C4AA574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FD14E992-88C8-4528-B927-4B9DA5D16420}"/>
              </a:ext>
            </a:extLst>
          </p:cNvPr>
          <p:cNvSpPr>
            <a:spLocks noGrp="1"/>
          </p:cNvSpPr>
          <p:nvPr>
            <p:ph type="title"/>
          </p:nvPr>
        </p:nvSpPr>
        <p:spPr>
          <a:xfrm>
            <a:off x="1314450" y="2686050"/>
            <a:ext cx="9894888" cy="3514725"/>
          </a:xfrm>
        </p:spPr>
        <p:txBody>
          <a:bodyPr anchor="t" anchorCtr="0">
            <a:normAutofit/>
          </a:bodyPr>
          <a:lstStyle>
            <a:lvl1pPr>
              <a:lnSpc>
                <a:spcPts val="6000"/>
              </a:lnSpc>
              <a:defRPr sz="4400">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E6D71BE5-8B62-4C15-A2F2-078D32609507}"/>
              </a:ext>
            </a:extLst>
          </p:cNvPr>
          <p:cNvSpPr>
            <a:spLocks noGrp="1"/>
          </p:cNvSpPr>
          <p:nvPr>
            <p:ph type="ftr" sz="quarter" idx="11"/>
          </p:nvPr>
        </p:nvSpPr>
        <p:spPr>
          <a:xfrm>
            <a:off x="1314450" y="2017713"/>
            <a:ext cx="9894888" cy="487362"/>
          </a:xfrm>
        </p:spPr>
        <p:txBody>
          <a:bodyPr anchor="t" anchorCtr="0"/>
          <a:lstStyle>
            <a:lvl1pPr algn="ctr">
              <a:defRPr sz="1200" b="1" i="0" u="none">
                <a:solidFill>
                  <a:srgbClr val="FF0000"/>
                </a:solidFill>
                <a:latin typeface="Arial" panose="020B0604020202020204" pitchFamily="34" charset="0"/>
              </a:defRPr>
            </a:lvl1pPr>
          </a:lstStyle>
          <a:p>
            <a:endParaRPr lang="en-AU" dirty="0"/>
          </a:p>
        </p:txBody>
      </p:sp>
      <p:sp>
        <p:nvSpPr>
          <p:cNvPr id="6" name="Slide Number Placeholder 5">
            <a:extLst>
              <a:ext uri="{FF2B5EF4-FFF2-40B4-BE49-F238E27FC236}">
                <a16:creationId xmlns:a16="http://schemas.microsoft.com/office/drawing/2014/main" id="{F30DF288-1074-4DEE-8045-1BBEA4767FD6}"/>
              </a:ext>
            </a:extLst>
          </p:cNvPr>
          <p:cNvSpPr>
            <a:spLocks noGrp="1"/>
          </p:cNvSpPr>
          <p:nvPr>
            <p:ph type="sldNum" sz="quarter" idx="12"/>
          </p:nvPr>
        </p:nvSpPr>
        <p:spPr/>
        <p:txBody>
          <a:bodyPr/>
          <a:lstStyle>
            <a:lvl1pPr>
              <a:defRPr>
                <a:solidFill>
                  <a:schemeClr val="bg1"/>
                </a:solidFill>
              </a:defRPr>
            </a:lvl1pPr>
          </a:lstStyle>
          <a:p>
            <a:fld id="{C0F55C17-AF72-40D4-ADBD-B5505DEBF9BA}" type="slidenum">
              <a:rPr lang="en-AU" smtClean="0"/>
              <a:pPr/>
              <a:t>‹#›</a:t>
            </a:fld>
            <a:endParaRPr lang="en-AU" dirty="0"/>
          </a:p>
        </p:txBody>
      </p:sp>
      <p:sp>
        <p:nvSpPr>
          <p:cNvPr id="7" name="Rectangle 6">
            <a:extLst>
              <a:ext uri="{FF2B5EF4-FFF2-40B4-BE49-F238E27FC236}">
                <a16:creationId xmlns:a16="http://schemas.microsoft.com/office/drawing/2014/main" id="{6EA42029-BFF6-4E27-9918-4210052C76CF}"/>
              </a:ext>
            </a:extLst>
          </p:cNvPr>
          <p:cNvSpPr/>
          <p:nvPr userDrawn="1"/>
        </p:nvSpPr>
        <p:spPr>
          <a:xfrm>
            <a:off x="982662" y="1376363"/>
            <a:ext cx="72000" cy="47796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8" name="Straight Connector 7">
            <a:extLst>
              <a:ext uri="{FF2B5EF4-FFF2-40B4-BE49-F238E27FC236}">
                <a16:creationId xmlns:a16="http://schemas.microsoft.com/office/drawing/2014/main" id="{431D64CD-A755-4E53-9771-4981CAB5D6B2}"/>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28576"/>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3/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1061741241"/>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2737C6C-202D-48BF-8D3A-9F64A30DEFD8}"/>
              </a:ext>
            </a:extLst>
          </p:cNvPr>
          <p:cNvSpPr>
            <a:spLocks noGrp="1"/>
          </p:cNvSpPr>
          <p:nvPr>
            <p:ph type="pic" sz="quarter" idx="13"/>
          </p:nvPr>
        </p:nvSpPr>
        <p:spPr>
          <a:xfrm>
            <a:off x="4559300" y="1617663"/>
            <a:ext cx="6650038" cy="4583112"/>
          </a:xfrm>
        </p:spPr>
        <p:txBody>
          <a:bodyPr/>
          <a:lstStyle/>
          <a:p>
            <a:endParaRPr lang="en-AU" dirty="0"/>
          </a:p>
        </p:txBody>
      </p:sp>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a:xfrm>
            <a:off x="982663" y="2024063"/>
            <a:ext cx="3189288"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3/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318527187"/>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982663" y="2052000"/>
            <a:ext cx="8475662" cy="2736000"/>
          </a:xfrm>
        </p:spPr>
        <p:txBody>
          <a:bodyPr anchor="ctr" anchorCtr="0">
            <a:normAutofit/>
          </a:bodyPr>
          <a:lstStyle>
            <a:lvl1pPr algn="l">
              <a:lnSpc>
                <a:spcPts val="6800"/>
              </a:lnSpc>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1234663" y="4788000"/>
            <a:ext cx="8223698" cy="6480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1234437" y="5508000"/>
            <a:ext cx="8223887" cy="648000"/>
          </a:xfrm>
        </p:spPr>
        <p:txBody>
          <a:bodyPr>
            <a:normAutofit/>
          </a:bodyPr>
          <a:lstStyle>
            <a:lvl1pPr>
              <a:lnSpc>
                <a:spcPts val="2000"/>
              </a:lnSpc>
              <a:defRPr sz="1400" b="0"/>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1368000"/>
            <a:ext cx="504000" cy="4788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982663" y="4824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Rectangle 9">
            <a:extLst>
              <a:ext uri="{FF2B5EF4-FFF2-40B4-BE49-F238E27FC236}">
                <a16:creationId xmlns:a16="http://schemas.microsoft.com/office/drawing/2014/main" id="{88526050-A2DF-4DB7-B9CF-16B43098F230}"/>
              </a:ext>
            </a:extLst>
          </p:cNvPr>
          <p:cNvSpPr/>
          <p:nvPr userDrawn="1"/>
        </p:nvSpPr>
        <p:spPr>
          <a:xfrm>
            <a:off x="10140000" y="1368000"/>
            <a:ext cx="2052000" cy="4788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4663" y="582526"/>
            <a:ext cx="3575311" cy="1109474"/>
          </a:xfrm>
          <a:prstGeom prst="rect">
            <a:avLst/>
          </a:prstGeom>
        </p:spPr>
      </p:pic>
      <p:sp>
        <p:nvSpPr>
          <p:cNvPr id="4" name="Footer Placeholder 3"/>
          <p:cNvSpPr>
            <a:spLocks noGrp="1"/>
          </p:cNvSpPr>
          <p:nvPr>
            <p:ph type="ftr" sz="quarter" idx="14"/>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889974087"/>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3F25-E9D1-4F4F-842B-54DD930B482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903AC13-490E-44F6-9984-D69CEEB12020}"/>
              </a:ext>
            </a:extLst>
          </p:cNvPr>
          <p:cNvSpPr>
            <a:spLocks noGrp="1"/>
          </p:cNvSpPr>
          <p:nvPr>
            <p:ph sz="half" idx="1"/>
          </p:nvPr>
        </p:nvSpPr>
        <p:spPr>
          <a:xfrm>
            <a:off x="982663" y="2024063"/>
            <a:ext cx="4892676"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A7D8869B-350A-4D7F-9D07-F31F2CB49859}"/>
              </a:ext>
            </a:extLst>
          </p:cNvPr>
          <p:cNvSpPr>
            <a:spLocks noGrp="1"/>
          </p:cNvSpPr>
          <p:nvPr>
            <p:ph sz="half" idx="2"/>
          </p:nvPr>
        </p:nvSpPr>
        <p:spPr>
          <a:xfrm>
            <a:off x="6316663" y="2024063"/>
            <a:ext cx="4892676"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AF56827E-3083-4AEE-9C74-ECDAA22B5E73}"/>
              </a:ext>
            </a:extLst>
          </p:cNvPr>
          <p:cNvSpPr>
            <a:spLocks noGrp="1"/>
          </p:cNvSpPr>
          <p:nvPr>
            <p:ph type="dt" sz="half" idx="10"/>
          </p:nvPr>
        </p:nvSpPr>
        <p:spPr/>
        <p:txBody>
          <a:bodyPr/>
          <a:lstStyle/>
          <a:p>
            <a:fld id="{AB44DE83-4174-4B32-9C1C-E89A22CE8484}" type="datetimeFigureOut">
              <a:rPr lang="en-AU" smtClean="0"/>
              <a:t>13/02/2023</a:t>
            </a:fld>
            <a:endParaRPr lang="en-AU" dirty="0"/>
          </a:p>
        </p:txBody>
      </p:sp>
      <p:sp>
        <p:nvSpPr>
          <p:cNvPr id="6" name="Footer Placeholder 5">
            <a:extLst>
              <a:ext uri="{FF2B5EF4-FFF2-40B4-BE49-F238E27FC236}">
                <a16:creationId xmlns:a16="http://schemas.microsoft.com/office/drawing/2014/main" id="{9AB74492-BAB7-434C-A8A5-E9569B6AAEB4}"/>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endParaRPr lang="en-AU" dirty="0"/>
          </a:p>
        </p:txBody>
      </p:sp>
      <p:sp>
        <p:nvSpPr>
          <p:cNvPr id="7" name="Slide Number Placeholder 6">
            <a:extLst>
              <a:ext uri="{FF2B5EF4-FFF2-40B4-BE49-F238E27FC236}">
                <a16:creationId xmlns:a16="http://schemas.microsoft.com/office/drawing/2014/main" id="{311A6465-EDA9-4A1A-967C-1C1952C505C5}"/>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9" name="Straight Connector 8">
            <a:extLst>
              <a:ext uri="{FF2B5EF4-FFF2-40B4-BE49-F238E27FC236}">
                <a16:creationId xmlns:a16="http://schemas.microsoft.com/office/drawing/2014/main" id="{9A0E17AC-38F5-4689-828F-0708E23FD4D8}"/>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80998E5-8446-448A-A2C1-CD943A0A7DA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7B05D64-5158-4044-B5C5-0E2E28A58618}"/>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CFF0D16-A7EF-4747-B3D9-A088C5D31F2D}"/>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4" name="Pictur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312148645"/>
      </p:ext>
    </p:extLst>
  </p:cSld>
  <p:clrMapOvr>
    <a:masterClrMapping/>
  </p:clrMapOvr>
  <p:hf sldNum="0" hdr="0" ftr="0" dt="0"/>
  <p:extLst mod="1">
    <p:ext uri="{DCECCB84-F9BA-43D5-87BE-67443E8EF086}">
      <p15:sldGuideLst xmlns:p15="http://schemas.microsoft.com/office/powerpoint/2012/main">
        <p15:guide id="1" pos="3704">
          <p15:clr>
            <a:srgbClr val="FBAE40"/>
          </p15:clr>
        </p15:guide>
        <p15:guide id="2" pos="397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F4386-B398-4D38-AEB3-A910B6846FD9}"/>
              </a:ext>
            </a:extLst>
          </p:cNvPr>
          <p:cNvSpPr>
            <a:spLocks noGrp="1"/>
          </p:cNvSpPr>
          <p:nvPr>
            <p:ph type="title"/>
          </p:nvPr>
        </p:nvSpPr>
        <p:spPr>
          <a:xfrm>
            <a:off x="982663" y="-1"/>
            <a:ext cx="10515600" cy="1368000"/>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C1EFF98A-6AAB-4DD0-81F0-DF4640742D34}"/>
              </a:ext>
            </a:extLst>
          </p:cNvPr>
          <p:cNvSpPr>
            <a:spLocks noGrp="1"/>
          </p:cNvSpPr>
          <p:nvPr>
            <p:ph type="body" idx="1"/>
          </p:nvPr>
        </p:nvSpPr>
        <p:spPr>
          <a:xfrm>
            <a:off x="982663" y="2024063"/>
            <a:ext cx="4869579" cy="481012"/>
          </a:xfrm>
        </p:spPr>
        <p:txBody>
          <a:bodyPr anchor="t" anchorCtr="0">
            <a:normAutofit/>
          </a:bodyPr>
          <a:lstStyle>
            <a:lvl1pPr marL="0" indent="0">
              <a:lnSpc>
                <a:spcPts val="3200"/>
              </a:lnSpc>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8F4E04C-55A6-42E9-9AE5-74C4ACBE4912}"/>
              </a:ext>
            </a:extLst>
          </p:cNvPr>
          <p:cNvSpPr>
            <a:spLocks noGrp="1"/>
          </p:cNvSpPr>
          <p:nvPr>
            <p:ph sz="half" idx="2"/>
          </p:nvPr>
        </p:nvSpPr>
        <p:spPr>
          <a:xfrm>
            <a:off x="982663" y="2657563"/>
            <a:ext cx="4869579" cy="3532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7120A860-99C5-425A-AAA8-A75ADCED1E47}"/>
              </a:ext>
            </a:extLst>
          </p:cNvPr>
          <p:cNvSpPr>
            <a:spLocks noGrp="1"/>
          </p:cNvSpPr>
          <p:nvPr>
            <p:ph type="body" sz="quarter" idx="3"/>
          </p:nvPr>
        </p:nvSpPr>
        <p:spPr>
          <a:xfrm>
            <a:off x="6315779" y="2024063"/>
            <a:ext cx="4893560" cy="481012"/>
          </a:xfrm>
        </p:spPr>
        <p:txBody>
          <a:bodyPr anchor="t" anchorCtr="0">
            <a:normAutofit/>
          </a:bodyPr>
          <a:lstStyle>
            <a:lvl1pPr marL="0" indent="0">
              <a:lnSpc>
                <a:spcPts val="3200"/>
              </a:lnSpc>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F34356E-2176-4D41-B9A3-BC27E80B7AF7}"/>
              </a:ext>
            </a:extLst>
          </p:cNvPr>
          <p:cNvSpPr>
            <a:spLocks noGrp="1"/>
          </p:cNvSpPr>
          <p:nvPr>
            <p:ph sz="quarter" idx="4"/>
          </p:nvPr>
        </p:nvSpPr>
        <p:spPr>
          <a:xfrm>
            <a:off x="6315779" y="2657563"/>
            <a:ext cx="4893560" cy="3532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0C2633CE-EF24-42E2-AA82-CA6B813E2152}"/>
              </a:ext>
            </a:extLst>
          </p:cNvPr>
          <p:cNvSpPr>
            <a:spLocks noGrp="1"/>
          </p:cNvSpPr>
          <p:nvPr>
            <p:ph type="dt" sz="half" idx="10"/>
          </p:nvPr>
        </p:nvSpPr>
        <p:spPr/>
        <p:txBody>
          <a:bodyPr/>
          <a:lstStyle/>
          <a:p>
            <a:fld id="{AB44DE83-4174-4B32-9C1C-E89A22CE8484}" type="datetimeFigureOut">
              <a:rPr lang="en-AU" smtClean="0"/>
              <a:t>13/02/2023</a:t>
            </a:fld>
            <a:endParaRPr lang="en-AU" dirty="0"/>
          </a:p>
        </p:txBody>
      </p:sp>
      <p:sp>
        <p:nvSpPr>
          <p:cNvPr id="8" name="Footer Placeholder 7">
            <a:extLst>
              <a:ext uri="{FF2B5EF4-FFF2-40B4-BE49-F238E27FC236}">
                <a16:creationId xmlns:a16="http://schemas.microsoft.com/office/drawing/2014/main" id="{A6F422C3-72C7-4990-B393-65D87952CA27}"/>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endParaRPr lang="en-AU" dirty="0"/>
          </a:p>
        </p:txBody>
      </p:sp>
      <p:sp>
        <p:nvSpPr>
          <p:cNvPr id="9" name="Slide Number Placeholder 8">
            <a:extLst>
              <a:ext uri="{FF2B5EF4-FFF2-40B4-BE49-F238E27FC236}">
                <a16:creationId xmlns:a16="http://schemas.microsoft.com/office/drawing/2014/main" id="{7CF49045-C2D3-4A8B-8D2F-DC331E5F411E}"/>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11" name="Straight Connector 10">
            <a:extLst>
              <a:ext uri="{FF2B5EF4-FFF2-40B4-BE49-F238E27FC236}">
                <a16:creationId xmlns:a16="http://schemas.microsoft.com/office/drawing/2014/main" id="{85BCAFBF-B6AB-4094-BB38-C773152FD62F}"/>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4D93DE8-D2DE-4118-8002-7455A6718840}"/>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675DA8B-7D9D-4283-9D72-F0A495F37145}"/>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DBD96FD-D1E9-43D5-B8B8-9DC35CDE04D2}"/>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56631"/>
            <a:ext cx="2754409" cy="854735"/>
          </a:xfrm>
          <a:prstGeom prst="rect">
            <a:avLst/>
          </a:prstGeom>
        </p:spPr>
      </p:pic>
    </p:spTree>
    <p:extLst>
      <p:ext uri="{BB962C8B-B14F-4D97-AF65-F5344CB8AC3E}">
        <p14:creationId xmlns:p14="http://schemas.microsoft.com/office/powerpoint/2010/main" val="2706834092"/>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a:xfrm>
            <a:off x="359999" y="171366"/>
            <a:ext cx="9349609" cy="884435"/>
          </a:xfrm>
          <a:prstGeom prst="rect">
            <a:avLst/>
          </a:prstGeom>
        </p:spPr>
        <p:txBody>
          <a:bodyPr lIns="0" anchor="b"/>
          <a:lstStyle>
            <a:lvl1pPr>
              <a:lnSpc>
                <a:spcPct val="100000"/>
              </a:lnSpc>
              <a:defRPr/>
            </a:lvl1pPr>
          </a:lstStyle>
          <a:p>
            <a:r>
              <a:rPr lang="en-US"/>
              <a:t>Click to edit Master title style</a:t>
            </a:r>
            <a:endParaRPr lang="en-AU"/>
          </a:p>
        </p:txBody>
      </p:sp>
      <p:sp>
        <p:nvSpPr>
          <p:cNvPr id="8" name="Footer Placeholder 3">
            <a:extLst>
              <a:ext uri="{FF2B5EF4-FFF2-40B4-BE49-F238E27FC236}">
                <a16:creationId xmlns:a16="http://schemas.microsoft.com/office/drawing/2014/main" id="{984A9C9F-6930-4331-A41F-0BB8E1C12D59}"/>
              </a:ext>
            </a:extLst>
          </p:cNvPr>
          <p:cNvSpPr>
            <a:spLocks noGrp="1"/>
          </p:cNvSpPr>
          <p:nvPr>
            <p:ph type="ftr" sz="quarter" idx="3"/>
          </p:nvPr>
        </p:nvSpPr>
        <p:spPr>
          <a:xfrm>
            <a:off x="359999" y="6445921"/>
            <a:ext cx="7356000" cy="76944"/>
          </a:xfrm>
          <a:prstGeom prst="rect">
            <a:avLst/>
          </a:prstGeom>
        </p:spPr>
        <p:txBody>
          <a:bodyPr anchor="t"/>
          <a:lstStyle>
            <a:lvl1pPr algn="ctr">
              <a:defRPr sz="1200" b="1" i="0" u="none">
                <a:solidFill>
                  <a:srgbClr val="FF0000"/>
                </a:solidFill>
                <a:latin typeface="Arial" panose="020B0604020202020204" pitchFamily="34" charset="0"/>
                <a:cs typeface="Calibri Light" panose="020F0302020204030204" pitchFamily="34" charset="0"/>
              </a:defRPr>
            </a:lvl1pPr>
          </a:lstStyle>
          <a:p>
            <a:pPr>
              <a:defRPr/>
            </a:pPr>
            <a:endParaRPr lang="en-AU" dirty="0">
              <a:ea typeface="Open Sans" charset="0"/>
              <a:sym typeface="Frutiger Next Pro Light" charset="0"/>
            </a:endParaRPr>
          </a:p>
        </p:txBody>
      </p:sp>
      <p:sp>
        <p:nvSpPr>
          <p:cNvPr id="4" name="Rectangle 3">
            <a:extLst>
              <a:ext uri="{FF2B5EF4-FFF2-40B4-BE49-F238E27FC236}">
                <a16:creationId xmlns:a16="http://schemas.microsoft.com/office/drawing/2014/main" id="{61E956BB-60D7-4DFE-B7A7-AA17B509546D}"/>
              </a:ext>
            </a:extLst>
          </p:cNvPr>
          <p:cNvSpPr/>
          <p:nvPr userDrawn="1"/>
        </p:nvSpPr>
        <p:spPr>
          <a:xfrm>
            <a:off x="3820633" y="6497243"/>
            <a:ext cx="4550734" cy="22499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0000"/>
                </a:solidFill>
                <a:effectLst/>
                <a:uLnTx/>
                <a:uFillTx/>
                <a:latin typeface="Calibri Light" panose="020F0302020204030204" pitchFamily="34" charset="0"/>
                <a:ea typeface="+mn-ea"/>
                <a:cs typeface="Calibri Light" panose="020F0302020204030204" pitchFamily="34" charset="0"/>
              </a:rPr>
              <a:t>CONFIDENTIAL - DRAFT FOR DISCUSSION ONLY</a:t>
            </a:r>
          </a:p>
        </p:txBody>
      </p:sp>
    </p:spTree>
    <p:extLst>
      <p:ext uri="{BB962C8B-B14F-4D97-AF65-F5344CB8AC3E}">
        <p14:creationId xmlns:p14="http://schemas.microsoft.com/office/powerpoint/2010/main" val="635387719"/>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29"/>
        <p:cNvGrpSpPr/>
        <p:nvPr/>
      </p:nvGrpSpPr>
      <p:grpSpPr>
        <a:xfrm>
          <a:off x="0" y="0"/>
          <a:ext cx="0" cy="0"/>
          <a:chOff x="0" y="0"/>
          <a:chExt cx="0" cy="0"/>
        </a:xfrm>
      </p:grpSpPr>
      <p:sp>
        <p:nvSpPr>
          <p:cNvPr id="30" name="Google Shape;30;p33"/>
          <p:cNvSpPr txBox="1">
            <a:spLocks noGrp="1"/>
          </p:cNvSpPr>
          <p:nvPr>
            <p:ph type="sldNum" idx="12"/>
          </p:nvPr>
        </p:nvSpPr>
        <p:spPr>
          <a:xfrm>
            <a:off x="8737600" y="6356351"/>
            <a:ext cx="2844800" cy="3652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9pPr>
          </a:lstStyle>
          <a:p>
            <a:fld id="{00000000-1234-1234-1234-123412341234}" type="slidenum">
              <a:rPr lang="en-AU" smtClean="0"/>
              <a:pPr/>
              <a:t>‹#›</a:t>
            </a:fld>
            <a:endParaRPr lang="en-AU" dirty="0"/>
          </a:p>
        </p:txBody>
      </p:sp>
      <p:pic>
        <p:nvPicPr>
          <p:cNvPr id="31" name="Google Shape;31;p33"/>
          <p:cNvPicPr preferRelativeResize="0"/>
          <p:nvPr/>
        </p:nvPicPr>
        <p:blipFill rotWithShape="1">
          <a:blip r:embed="rId2">
            <a:alphaModFix/>
          </a:blip>
          <a:srcRect/>
          <a:stretch/>
        </p:blipFill>
        <p:spPr>
          <a:xfrm>
            <a:off x="1007" y="1"/>
            <a:ext cx="9143245" cy="396207"/>
          </a:xfrm>
          <a:prstGeom prst="rect">
            <a:avLst/>
          </a:prstGeom>
          <a:noFill/>
          <a:ln>
            <a:noFill/>
          </a:ln>
        </p:spPr>
      </p:pic>
      <p:sp>
        <p:nvSpPr>
          <p:cNvPr id="32" name="Google Shape;32;p33"/>
          <p:cNvSpPr/>
          <p:nvPr/>
        </p:nvSpPr>
        <p:spPr>
          <a:xfrm>
            <a:off x="0" y="-1"/>
            <a:ext cx="12192000" cy="4436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dirty="0">
              <a:solidFill>
                <a:schemeClr val="lt1"/>
              </a:solidFill>
              <a:latin typeface="Arial"/>
              <a:ea typeface="Arial"/>
              <a:cs typeface="Arial"/>
              <a:sym typeface="Arial"/>
            </a:endParaRPr>
          </a:p>
        </p:txBody>
      </p:sp>
      <p:sp>
        <p:nvSpPr>
          <p:cNvPr id="33" name="Google Shape;33;p33"/>
          <p:cNvSpPr/>
          <p:nvPr/>
        </p:nvSpPr>
        <p:spPr>
          <a:xfrm rot="10800000" flipH="1">
            <a:off x="1008" y="-109"/>
            <a:ext cx="558800" cy="443600"/>
          </a:xfrm>
          <a:prstGeom prst="triangle">
            <a:avLst>
              <a:gd name="adj" fmla="val 50000"/>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dirty="0">
              <a:solidFill>
                <a:schemeClr val="lt1"/>
              </a:solidFill>
              <a:latin typeface="Arial"/>
              <a:ea typeface="Arial"/>
              <a:cs typeface="Arial"/>
              <a:sym typeface="Arial"/>
            </a:endParaRPr>
          </a:p>
        </p:txBody>
      </p:sp>
      <p:sp>
        <p:nvSpPr>
          <p:cNvPr id="34" name="Google Shape;34;p33"/>
          <p:cNvSpPr/>
          <p:nvPr/>
        </p:nvSpPr>
        <p:spPr>
          <a:xfrm flipH="1">
            <a:off x="280619" y="1"/>
            <a:ext cx="558800" cy="443600"/>
          </a:xfrm>
          <a:prstGeom prst="triangle">
            <a:avLst>
              <a:gd name="adj" fmla="val 50000"/>
            </a:avLst>
          </a:prstGeom>
          <a:solidFill>
            <a:schemeClr val="accent3"/>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dirty="0">
              <a:solidFill>
                <a:schemeClr val="lt1"/>
              </a:solidFill>
              <a:latin typeface="Arial"/>
              <a:ea typeface="Arial"/>
              <a:cs typeface="Arial"/>
              <a:sym typeface="Arial"/>
            </a:endParaRPr>
          </a:p>
        </p:txBody>
      </p:sp>
      <p:sp>
        <p:nvSpPr>
          <p:cNvPr id="35" name="JS SlideHeader"/>
          <p:cNvSpPr txBox="1"/>
          <p:nvPr/>
        </p:nvSpPr>
        <p:spPr>
          <a:xfrm>
            <a:off x="8784299" y="6343601"/>
            <a:ext cx="2844800" cy="365200"/>
          </a:xfrm>
          <a:prstGeom prst="rect">
            <a:avLst/>
          </a:prstGeom>
          <a:no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200"/>
              <a:buFont typeface="Arial"/>
              <a:buNone/>
            </a:pPr>
            <a:fld id="{00000000-1234-1234-1234-123412341234}" type="slidenum">
              <a:rPr lang="en-AU" sz="1200" b="1" i="0" u="none" strike="noStrike" cap="none">
                <a:solidFill>
                  <a:srgbClr val="FF0000"/>
                </a:solidFill>
                <a:latin typeface="Arial" panose="020B0604020202020204" pitchFamily="34" charset="0"/>
                <a:ea typeface="Arial"/>
                <a:cs typeface="Arial"/>
                <a:sym typeface="Arial"/>
              </a:rPr>
              <a:pPr marL="0" marR="0" lvl="0" indent="0" algn="ctr" rtl="0">
                <a:lnSpc>
                  <a:spcPct val="100000"/>
                </a:lnSpc>
                <a:spcBef>
                  <a:spcPts val="0"/>
                </a:spcBef>
                <a:spcAft>
                  <a:spcPts val="0"/>
                </a:spcAft>
                <a:buClr>
                  <a:srgbClr val="000000"/>
                </a:buClr>
                <a:buSzPts val="1200"/>
                <a:buFont typeface="Arial"/>
                <a:buNone/>
              </a:pPr>
              <a:t>‹#›</a:t>
            </a:fld>
            <a:endParaRPr sz="1200" b="1" i="0" u="none" strike="noStrike" cap="none" dirty="0">
              <a:solidFill>
                <a:srgbClr val="FF0000"/>
              </a:solidFill>
              <a:latin typeface="Arial" panose="020B0604020202020204" pitchFamily="34" charset="0"/>
              <a:ea typeface="Arial"/>
              <a:cs typeface="Arial"/>
              <a:sym typeface="Arial"/>
            </a:endParaRPr>
          </a:p>
        </p:txBody>
      </p:sp>
      <p:sp>
        <p:nvSpPr>
          <p:cNvPr id="36" name="Google Shape;36;p33"/>
          <p:cNvSpPr txBox="1">
            <a:spLocks noGrp="1"/>
          </p:cNvSpPr>
          <p:nvPr>
            <p:ph type="title"/>
          </p:nvPr>
        </p:nvSpPr>
        <p:spPr>
          <a:xfrm>
            <a:off x="1583499" y="548680"/>
            <a:ext cx="9998800" cy="710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2400"/>
              <a:buFont typeface="Arial"/>
              <a:buNone/>
              <a:defRPr sz="3200" b="1">
                <a:solidFill>
                  <a:schemeClr val="accen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33"/>
          <p:cNvSpPr txBox="1">
            <a:spLocks noGrp="1"/>
          </p:cNvSpPr>
          <p:nvPr>
            <p:ph type="body" idx="1"/>
          </p:nvPr>
        </p:nvSpPr>
        <p:spPr>
          <a:xfrm>
            <a:off x="1583268" y="1484313"/>
            <a:ext cx="7297200" cy="4752800"/>
          </a:xfrm>
          <a:prstGeom prst="rect">
            <a:avLst/>
          </a:prstGeom>
          <a:noFill/>
          <a:ln>
            <a:noFill/>
          </a:ln>
        </p:spPr>
        <p:txBody>
          <a:bodyPr spcFirstLastPara="1" wrap="square" lIns="91425" tIns="45700" rIns="91425" bIns="45700" anchor="t" anchorCtr="0">
            <a:noAutofit/>
          </a:bodyPr>
          <a:lstStyle>
            <a:lvl1pPr marL="609585" lvl="0" indent="-304792" algn="l">
              <a:lnSpc>
                <a:spcPct val="100000"/>
              </a:lnSpc>
              <a:spcBef>
                <a:spcPts val="587"/>
              </a:spcBef>
              <a:spcAft>
                <a:spcPts val="0"/>
              </a:spcAft>
              <a:buClr>
                <a:schemeClr val="dk1"/>
              </a:buClr>
              <a:buSzPts val="2200"/>
              <a:buNone/>
              <a:defRPr sz="2933" b="1">
                <a:latin typeface="Arial"/>
                <a:ea typeface="Arial"/>
                <a:cs typeface="Arial"/>
                <a:sym typeface="Arial"/>
              </a:defRPr>
            </a:lvl1pPr>
            <a:lvl2pPr marL="1219170" lvl="1" indent="-304792" algn="l">
              <a:lnSpc>
                <a:spcPct val="100000"/>
              </a:lnSpc>
              <a:spcBef>
                <a:spcPts val="587"/>
              </a:spcBef>
              <a:spcAft>
                <a:spcPts val="0"/>
              </a:spcAft>
              <a:buClr>
                <a:schemeClr val="dk1"/>
              </a:buClr>
              <a:buSzPts val="2200"/>
              <a:buFont typeface="Arial"/>
              <a:buNone/>
              <a:defRPr sz="2933"/>
            </a:lvl2pPr>
            <a:lvl3pPr marL="1828754" lvl="2" indent="-491054" algn="l">
              <a:lnSpc>
                <a:spcPct val="100000"/>
              </a:lnSpc>
              <a:spcBef>
                <a:spcPts val="587"/>
              </a:spcBef>
              <a:spcAft>
                <a:spcPts val="0"/>
              </a:spcAft>
              <a:buClr>
                <a:schemeClr val="dk1"/>
              </a:buClr>
              <a:buSzPts val="2200"/>
              <a:buChar char="•"/>
              <a:defRPr sz="2933"/>
            </a:lvl3pPr>
            <a:lvl4pPr marL="2438339" lvl="3" indent="-491054" algn="l">
              <a:lnSpc>
                <a:spcPct val="100000"/>
              </a:lnSpc>
              <a:spcBef>
                <a:spcPts val="587"/>
              </a:spcBef>
              <a:spcAft>
                <a:spcPts val="0"/>
              </a:spcAft>
              <a:buClr>
                <a:schemeClr val="dk1"/>
              </a:buClr>
              <a:buSzPts val="2200"/>
              <a:buChar char="–"/>
              <a:defRPr sz="2933"/>
            </a:lvl4pPr>
            <a:lvl5pPr marL="3047924" lvl="4" indent="-474121" algn="l">
              <a:lnSpc>
                <a:spcPct val="100000"/>
              </a:lnSpc>
              <a:spcBef>
                <a:spcPts val="533"/>
              </a:spcBef>
              <a:spcAft>
                <a:spcPts val="0"/>
              </a:spcAft>
              <a:buClr>
                <a:schemeClr val="dk1"/>
              </a:buClr>
              <a:buSzPts val="2000"/>
              <a:buChar char="»"/>
              <a:defRPr/>
            </a:lvl5pPr>
            <a:lvl6pPr marL="3657509" lvl="5" indent="-304792" algn="l">
              <a:lnSpc>
                <a:spcPct val="100000"/>
              </a:lnSpc>
              <a:spcBef>
                <a:spcPts val="480"/>
              </a:spcBef>
              <a:spcAft>
                <a:spcPts val="0"/>
              </a:spcAft>
              <a:buClr>
                <a:schemeClr val="dk1"/>
              </a:buClr>
              <a:buSzPts val="1800"/>
              <a:buNone/>
              <a:defRPr sz="2400"/>
            </a:lvl6pPr>
            <a:lvl7pPr marL="4267093" lvl="6" indent="-457189" algn="l">
              <a:lnSpc>
                <a:spcPct val="100000"/>
              </a:lnSpc>
              <a:spcBef>
                <a:spcPts val="480"/>
              </a:spcBef>
              <a:spcAft>
                <a:spcPts val="0"/>
              </a:spcAft>
              <a:buClr>
                <a:schemeClr val="dk1"/>
              </a:buClr>
              <a:buSzPts val="1800"/>
              <a:buChar char="•"/>
              <a:defRPr sz="2400"/>
            </a:lvl7pPr>
            <a:lvl8pPr marL="4876678" lvl="7" indent="-304792" algn="l">
              <a:lnSpc>
                <a:spcPct val="100000"/>
              </a:lnSpc>
              <a:spcBef>
                <a:spcPts val="480"/>
              </a:spcBef>
              <a:spcAft>
                <a:spcPts val="0"/>
              </a:spcAft>
              <a:buClr>
                <a:schemeClr val="dk1"/>
              </a:buClr>
              <a:buSzPts val="1800"/>
              <a:buNone/>
              <a:defRPr sz="2400"/>
            </a:lvl8pPr>
            <a:lvl9pPr marL="5486263" lvl="8" indent="-304792" algn="l">
              <a:lnSpc>
                <a:spcPct val="100000"/>
              </a:lnSpc>
              <a:spcBef>
                <a:spcPts val="427"/>
              </a:spcBef>
              <a:spcAft>
                <a:spcPts val="0"/>
              </a:spcAft>
              <a:buClr>
                <a:schemeClr val="dk1"/>
              </a:buClr>
              <a:buSzPts val="1600"/>
              <a:buNone/>
              <a:defRPr sz="2133"/>
            </a:lvl9pPr>
          </a:lstStyle>
          <a:p>
            <a:endParaRPr/>
          </a:p>
        </p:txBody>
      </p:sp>
      <p:sp>
        <p:nvSpPr>
          <p:cNvPr id="38" name="Google Shape;38;p33"/>
          <p:cNvSpPr txBox="1">
            <a:spLocks noGrp="1"/>
          </p:cNvSpPr>
          <p:nvPr>
            <p:ph type="body" idx="2"/>
          </p:nvPr>
        </p:nvSpPr>
        <p:spPr>
          <a:xfrm>
            <a:off x="9752424" y="3321967"/>
            <a:ext cx="1867600" cy="2915200"/>
          </a:xfrm>
          <a:prstGeom prst="rect">
            <a:avLst/>
          </a:prstGeom>
          <a:noFill/>
          <a:ln>
            <a:noFill/>
          </a:ln>
        </p:spPr>
        <p:txBody>
          <a:bodyPr spcFirstLastPara="1" wrap="square" lIns="91425" tIns="45700" rIns="91425" bIns="45700" anchor="t" anchorCtr="0">
            <a:noAutofit/>
          </a:bodyPr>
          <a:lstStyle>
            <a:lvl1pPr marL="609585" lvl="0" indent="-304792" algn="l">
              <a:lnSpc>
                <a:spcPct val="97000"/>
              </a:lnSpc>
              <a:spcBef>
                <a:spcPts val="240"/>
              </a:spcBef>
              <a:spcAft>
                <a:spcPts val="0"/>
              </a:spcAft>
              <a:buClr>
                <a:schemeClr val="dk2"/>
              </a:buClr>
              <a:buSzPts val="900"/>
              <a:buNone/>
              <a:defRPr sz="1200">
                <a:solidFill>
                  <a:schemeClr val="dk2"/>
                </a:solidFill>
                <a:latin typeface="Arial"/>
                <a:ea typeface="Arial"/>
                <a:cs typeface="Arial"/>
                <a:sym typeface="Arial"/>
              </a:defRPr>
            </a:lvl1pPr>
            <a:lvl2pPr marL="1219170" lvl="1" indent="-380990" algn="l">
              <a:lnSpc>
                <a:spcPct val="97000"/>
              </a:lnSpc>
              <a:spcBef>
                <a:spcPts val="400"/>
              </a:spcBef>
              <a:spcAft>
                <a:spcPts val="0"/>
              </a:spcAft>
              <a:buClr>
                <a:schemeClr val="dk2"/>
              </a:buClr>
              <a:buSzPts val="900"/>
              <a:buChar char="–"/>
              <a:defRPr sz="1200">
                <a:solidFill>
                  <a:schemeClr val="dk2"/>
                </a:solidFill>
              </a:defRPr>
            </a:lvl2pPr>
            <a:lvl3pPr marL="1828754" lvl="2" indent="-304792" algn="l">
              <a:lnSpc>
                <a:spcPct val="97000"/>
              </a:lnSpc>
              <a:spcBef>
                <a:spcPts val="400"/>
              </a:spcBef>
              <a:spcAft>
                <a:spcPts val="0"/>
              </a:spcAft>
              <a:buClr>
                <a:schemeClr val="dk2"/>
              </a:buClr>
              <a:buSzPts val="900"/>
              <a:buNone/>
              <a:defRPr sz="1200">
                <a:solidFill>
                  <a:schemeClr val="dk2"/>
                </a:solidFill>
              </a:defRPr>
            </a:lvl3pPr>
            <a:lvl4pPr marL="2438339" lvl="3" indent="-304792" algn="l">
              <a:lnSpc>
                <a:spcPct val="97000"/>
              </a:lnSpc>
              <a:spcBef>
                <a:spcPts val="400"/>
              </a:spcBef>
              <a:spcAft>
                <a:spcPts val="0"/>
              </a:spcAft>
              <a:buClr>
                <a:schemeClr val="dk2"/>
              </a:buClr>
              <a:buSzPts val="900"/>
              <a:buNone/>
              <a:defRPr sz="1200">
                <a:solidFill>
                  <a:schemeClr val="dk2"/>
                </a:solidFill>
                <a:latin typeface="Arial"/>
                <a:ea typeface="Arial"/>
                <a:cs typeface="Arial"/>
                <a:sym typeface="Arial"/>
              </a:defRPr>
            </a:lvl4pPr>
            <a:lvl5pPr marL="3047924" lvl="4" indent="-304792" algn="l">
              <a:lnSpc>
                <a:spcPct val="97000"/>
              </a:lnSpc>
              <a:spcBef>
                <a:spcPts val="400"/>
              </a:spcBef>
              <a:spcAft>
                <a:spcPts val="0"/>
              </a:spcAft>
              <a:buClr>
                <a:schemeClr val="dk2"/>
              </a:buClr>
              <a:buSzPts val="900"/>
              <a:buNone/>
              <a:defRPr sz="1200">
                <a:solidFill>
                  <a:schemeClr val="dk2"/>
                </a:solidFill>
              </a:defRPr>
            </a:lvl5pPr>
            <a:lvl6pPr marL="3657509" lvl="5" indent="-380990" algn="l">
              <a:lnSpc>
                <a:spcPct val="97000"/>
              </a:lnSpc>
              <a:spcBef>
                <a:spcPts val="400"/>
              </a:spcBef>
              <a:spcAft>
                <a:spcPts val="0"/>
              </a:spcAft>
              <a:buClr>
                <a:schemeClr val="dk2"/>
              </a:buClr>
              <a:buSzPts val="900"/>
              <a:buChar char="•"/>
              <a:defRPr sz="1200">
                <a:solidFill>
                  <a:schemeClr val="dk2"/>
                </a:solidFill>
                <a:latin typeface="Arial"/>
                <a:ea typeface="Arial"/>
                <a:cs typeface="Arial"/>
                <a:sym typeface="Arial"/>
              </a:defRPr>
            </a:lvl6pPr>
            <a:lvl7pPr marL="4267093" lvl="6" indent="-380990" algn="l">
              <a:lnSpc>
                <a:spcPct val="97000"/>
              </a:lnSpc>
              <a:spcBef>
                <a:spcPts val="400"/>
              </a:spcBef>
              <a:spcAft>
                <a:spcPts val="0"/>
              </a:spcAft>
              <a:buClr>
                <a:schemeClr val="dk2"/>
              </a:buClr>
              <a:buSzPts val="900"/>
              <a:buChar char="•"/>
              <a:defRPr sz="1200">
                <a:solidFill>
                  <a:schemeClr val="dk2"/>
                </a:solidFill>
              </a:defRPr>
            </a:lvl7pPr>
            <a:lvl8pPr marL="4876678" lvl="7" indent="-304792" algn="l">
              <a:lnSpc>
                <a:spcPct val="97000"/>
              </a:lnSpc>
              <a:spcBef>
                <a:spcPts val="400"/>
              </a:spcBef>
              <a:spcAft>
                <a:spcPts val="0"/>
              </a:spcAft>
              <a:buClr>
                <a:schemeClr val="dk2"/>
              </a:buClr>
              <a:buSzPts val="900"/>
              <a:buNone/>
              <a:defRPr sz="1200">
                <a:solidFill>
                  <a:schemeClr val="dk2"/>
                </a:solidFill>
              </a:defRPr>
            </a:lvl8pPr>
            <a:lvl9pPr marL="5486263" lvl="8" indent="-380990" algn="l">
              <a:lnSpc>
                <a:spcPct val="97000"/>
              </a:lnSpc>
              <a:spcBef>
                <a:spcPts val="400"/>
              </a:spcBef>
              <a:spcAft>
                <a:spcPts val="400"/>
              </a:spcAft>
              <a:buClr>
                <a:schemeClr val="dk2"/>
              </a:buClr>
              <a:buSzPts val="900"/>
              <a:buChar char="•"/>
              <a:defRPr sz="1200">
                <a:solidFill>
                  <a:schemeClr val="dk2"/>
                </a:solidFill>
              </a:defRPr>
            </a:lvl9pPr>
          </a:lstStyle>
          <a:p>
            <a:endParaRPr/>
          </a:p>
        </p:txBody>
      </p:sp>
    </p:spTree>
    <p:extLst>
      <p:ext uri="{BB962C8B-B14F-4D97-AF65-F5344CB8AC3E}">
        <p14:creationId xmlns:p14="http://schemas.microsoft.com/office/powerpoint/2010/main" val="2715283750"/>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urp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3A4C72-35F1-4FD8-97EE-9C874F6EC62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982663" y="2052000"/>
            <a:ext cx="8475662" cy="2736000"/>
          </a:xfrm>
        </p:spPr>
        <p:txBody>
          <a:bodyPr anchor="ctr" anchorCtr="0">
            <a:normAutofit/>
          </a:bodyPr>
          <a:lstStyle>
            <a:lvl1pPr algn="l">
              <a:lnSpc>
                <a:spcPts val="8000"/>
              </a:lnSpc>
              <a:defRPr sz="6000">
                <a:solidFill>
                  <a:schemeClr val="bg1"/>
                </a:solidFill>
              </a:defRPr>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1234663" y="4788000"/>
            <a:ext cx="8223698" cy="6480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1234437" y="5508000"/>
            <a:ext cx="8223887" cy="648000"/>
          </a:xfrm>
        </p:spPr>
        <p:txBody>
          <a:bodyPr>
            <a:normAutofit/>
          </a:bodyPr>
          <a:lstStyle>
            <a:lvl1pPr>
              <a:lnSpc>
                <a:spcPts val="2000"/>
              </a:lnSpc>
              <a:defRPr sz="1400" b="0">
                <a:solidFill>
                  <a:schemeClr val="bg1"/>
                </a:solidFill>
              </a:defRPr>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1368000"/>
            <a:ext cx="504000" cy="47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982663" y="4824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Rectangle 9">
            <a:extLst>
              <a:ext uri="{FF2B5EF4-FFF2-40B4-BE49-F238E27FC236}">
                <a16:creationId xmlns:a16="http://schemas.microsoft.com/office/drawing/2014/main" id="{88526050-A2DF-4DB7-B9CF-16B43098F230}"/>
              </a:ext>
            </a:extLst>
          </p:cNvPr>
          <p:cNvSpPr/>
          <p:nvPr userDrawn="1"/>
        </p:nvSpPr>
        <p:spPr>
          <a:xfrm>
            <a:off x="10140000" y="1368000"/>
            <a:ext cx="2052000" cy="47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639" y="569040"/>
            <a:ext cx="3389244" cy="1052632"/>
          </a:xfrm>
          <a:prstGeom prst="rect">
            <a:avLst/>
          </a:prstGeom>
        </p:spPr>
      </p:pic>
      <p:sp>
        <p:nvSpPr>
          <p:cNvPr id="6" name="Footer Placeholder 5"/>
          <p:cNvSpPr>
            <a:spLocks noGrp="1"/>
          </p:cNvSpPr>
          <p:nvPr>
            <p:ph type="ftr" sz="quarter" idx="14"/>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58488915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E992-88C8-4528-B927-4B9DA5D16420}"/>
              </a:ext>
            </a:extLst>
          </p:cNvPr>
          <p:cNvSpPr>
            <a:spLocks noGrp="1"/>
          </p:cNvSpPr>
          <p:nvPr>
            <p:ph type="title"/>
          </p:nvPr>
        </p:nvSpPr>
        <p:spPr>
          <a:xfrm>
            <a:off x="1314450" y="2686050"/>
            <a:ext cx="9894888" cy="3514725"/>
          </a:xfrm>
        </p:spPr>
        <p:txBody>
          <a:bodyPr anchor="t" anchorCtr="0">
            <a:normAutofit/>
          </a:bodyPr>
          <a:lstStyle>
            <a:lvl1pPr>
              <a:lnSpc>
                <a:spcPts val="6000"/>
              </a:lnSpc>
              <a:defRPr sz="4400"/>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E6D71BE5-8B62-4C15-A2F2-078D32609507}"/>
              </a:ext>
            </a:extLst>
          </p:cNvPr>
          <p:cNvSpPr>
            <a:spLocks noGrp="1"/>
          </p:cNvSpPr>
          <p:nvPr>
            <p:ph type="ftr" sz="quarter" idx="11"/>
          </p:nvPr>
        </p:nvSpPr>
        <p:spPr>
          <a:xfrm>
            <a:off x="1314450" y="2017713"/>
            <a:ext cx="9894888" cy="487362"/>
          </a:xfrm>
        </p:spPr>
        <p:txBody>
          <a:bodyPr anchor="t" anchorCtr="0"/>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F30DF288-1074-4DEE-8045-1BBEA4767FD6}"/>
              </a:ext>
            </a:extLst>
          </p:cNvPr>
          <p:cNvSpPr>
            <a:spLocks noGrp="1"/>
          </p:cNvSpPr>
          <p:nvPr>
            <p:ph type="sldNum" sz="quarter" idx="12"/>
          </p:nvPr>
        </p:nvSpPr>
        <p:spPr/>
        <p:txBody>
          <a:bodyPr/>
          <a:lstStyle/>
          <a:p>
            <a:fld id="{C0F55C17-AF72-40D4-ADBD-B5505DEBF9BA}" type="slidenum">
              <a:rPr lang="en-AU" smtClean="0"/>
              <a:t>‹#›</a:t>
            </a:fld>
            <a:endParaRPr lang="en-AU" dirty="0"/>
          </a:p>
        </p:txBody>
      </p:sp>
      <p:sp>
        <p:nvSpPr>
          <p:cNvPr id="7" name="Rectangle 6">
            <a:extLst>
              <a:ext uri="{FF2B5EF4-FFF2-40B4-BE49-F238E27FC236}">
                <a16:creationId xmlns:a16="http://schemas.microsoft.com/office/drawing/2014/main" id="{6EA42029-BFF6-4E27-9918-4210052C76CF}"/>
              </a:ext>
            </a:extLst>
          </p:cNvPr>
          <p:cNvSpPr/>
          <p:nvPr userDrawn="1"/>
        </p:nvSpPr>
        <p:spPr>
          <a:xfrm>
            <a:off x="982662" y="1376363"/>
            <a:ext cx="72000" cy="47796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8" name="Straight Connector 7">
            <a:extLst>
              <a:ext uri="{FF2B5EF4-FFF2-40B4-BE49-F238E27FC236}">
                <a16:creationId xmlns:a16="http://schemas.microsoft.com/office/drawing/2014/main" id="{431D64CD-A755-4E53-9771-4981CAB5D6B2}"/>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060648"/>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AADB6CD-DBBB-47B0-9CB8-3BC0C4AA574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FD14E992-88C8-4528-B927-4B9DA5D16420}"/>
              </a:ext>
            </a:extLst>
          </p:cNvPr>
          <p:cNvSpPr>
            <a:spLocks noGrp="1"/>
          </p:cNvSpPr>
          <p:nvPr>
            <p:ph type="title"/>
          </p:nvPr>
        </p:nvSpPr>
        <p:spPr>
          <a:xfrm>
            <a:off x="1314450" y="2686050"/>
            <a:ext cx="9894888" cy="3514725"/>
          </a:xfrm>
        </p:spPr>
        <p:txBody>
          <a:bodyPr anchor="t" anchorCtr="0">
            <a:normAutofit/>
          </a:bodyPr>
          <a:lstStyle>
            <a:lvl1pPr>
              <a:lnSpc>
                <a:spcPts val="6000"/>
              </a:lnSpc>
              <a:defRPr sz="4400">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E6D71BE5-8B62-4C15-A2F2-078D32609507}"/>
              </a:ext>
            </a:extLst>
          </p:cNvPr>
          <p:cNvSpPr>
            <a:spLocks noGrp="1"/>
          </p:cNvSpPr>
          <p:nvPr>
            <p:ph type="ftr" sz="quarter" idx="11"/>
          </p:nvPr>
        </p:nvSpPr>
        <p:spPr>
          <a:xfrm>
            <a:off x="1314450" y="2017713"/>
            <a:ext cx="9894888" cy="487362"/>
          </a:xfrm>
        </p:spPr>
        <p:txBody>
          <a:bodyPr anchor="t" anchorCtr="0"/>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F30DF288-1074-4DEE-8045-1BBEA4767FD6}"/>
              </a:ext>
            </a:extLst>
          </p:cNvPr>
          <p:cNvSpPr>
            <a:spLocks noGrp="1"/>
          </p:cNvSpPr>
          <p:nvPr>
            <p:ph type="sldNum" sz="quarter" idx="12"/>
          </p:nvPr>
        </p:nvSpPr>
        <p:spPr/>
        <p:txBody>
          <a:bodyPr/>
          <a:lstStyle>
            <a:lvl1pPr>
              <a:defRPr>
                <a:solidFill>
                  <a:schemeClr val="bg1"/>
                </a:solidFill>
              </a:defRPr>
            </a:lvl1pPr>
          </a:lstStyle>
          <a:p>
            <a:fld id="{C0F55C17-AF72-40D4-ADBD-B5505DEBF9BA}" type="slidenum">
              <a:rPr lang="en-AU" smtClean="0"/>
              <a:pPr/>
              <a:t>‹#›</a:t>
            </a:fld>
            <a:endParaRPr lang="en-AU" dirty="0"/>
          </a:p>
        </p:txBody>
      </p:sp>
      <p:sp>
        <p:nvSpPr>
          <p:cNvPr id="7" name="Rectangle 6">
            <a:extLst>
              <a:ext uri="{FF2B5EF4-FFF2-40B4-BE49-F238E27FC236}">
                <a16:creationId xmlns:a16="http://schemas.microsoft.com/office/drawing/2014/main" id="{6EA42029-BFF6-4E27-9918-4210052C76CF}"/>
              </a:ext>
            </a:extLst>
          </p:cNvPr>
          <p:cNvSpPr/>
          <p:nvPr userDrawn="1"/>
        </p:nvSpPr>
        <p:spPr>
          <a:xfrm>
            <a:off x="982662" y="1376363"/>
            <a:ext cx="72000" cy="47796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8" name="Straight Connector 7">
            <a:extLst>
              <a:ext uri="{FF2B5EF4-FFF2-40B4-BE49-F238E27FC236}">
                <a16:creationId xmlns:a16="http://schemas.microsoft.com/office/drawing/2014/main" id="{431D64CD-A755-4E53-9771-4981CAB5D6B2}"/>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836249"/>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3/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551297131"/>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3/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769531057"/>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2737C6C-202D-48BF-8D3A-9F64A30DEFD8}"/>
              </a:ext>
            </a:extLst>
          </p:cNvPr>
          <p:cNvSpPr>
            <a:spLocks noGrp="1"/>
          </p:cNvSpPr>
          <p:nvPr>
            <p:ph type="pic" sz="quarter" idx="13"/>
          </p:nvPr>
        </p:nvSpPr>
        <p:spPr>
          <a:xfrm>
            <a:off x="4559300" y="1617663"/>
            <a:ext cx="6650038" cy="4583112"/>
          </a:xfrm>
        </p:spPr>
        <p:txBody>
          <a:bodyPr/>
          <a:lstStyle/>
          <a:p>
            <a:endParaRPr lang="en-AU" dirty="0"/>
          </a:p>
        </p:txBody>
      </p:sp>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a:xfrm>
            <a:off x="982663" y="2024063"/>
            <a:ext cx="3189288"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3/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1721282227"/>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3F25-E9D1-4F4F-842B-54DD930B482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903AC13-490E-44F6-9984-D69CEEB12020}"/>
              </a:ext>
            </a:extLst>
          </p:cNvPr>
          <p:cNvSpPr>
            <a:spLocks noGrp="1"/>
          </p:cNvSpPr>
          <p:nvPr>
            <p:ph sz="half" idx="1"/>
          </p:nvPr>
        </p:nvSpPr>
        <p:spPr>
          <a:xfrm>
            <a:off x="982663" y="2024063"/>
            <a:ext cx="4892676"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A7D8869B-350A-4D7F-9D07-F31F2CB49859}"/>
              </a:ext>
            </a:extLst>
          </p:cNvPr>
          <p:cNvSpPr>
            <a:spLocks noGrp="1"/>
          </p:cNvSpPr>
          <p:nvPr>
            <p:ph sz="half" idx="2"/>
          </p:nvPr>
        </p:nvSpPr>
        <p:spPr>
          <a:xfrm>
            <a:off x="6316663" y="2024063"/>
            <a:ext cx="4892676"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AF56827E-3083-4AEE-9C74-ECDAA22B5E73}"/>
              </a:ext>
            </a:extLst>
          </p:cNvPr>
          <p:cNvSpPr>
            <a:spLocks noGrp="1"/>
          </p:cNvSpPr>
          <p:nvPr>
            <p:ph type="dt" sz="half" idx="10"/>
          </p:nvPr>
        </p:nvSpPr>
        <p:spPr/>
        <p:txBody>
          <a:bodyPr/>
          <a:lstStyle/>
          <a:p>
            <a:fld id="{AB44DE83-4174-4B32-9C1C-E89A22CE8484}" type="datetimeFigureOut">
              <a:rPr lang="en-AU" smtClean="0"/>
              <a:t>13/02/2023</a:t>
            </a:fld>
            <a:endParaRPr lang="en-AU" dirty="0"/>
          </a:p>
        </p:txBody>
      </p:sp>
      <p:sp>
        <p:nvSpPr>
          <p:cNvPr id="6" name="Footer Placeholder 5">
            <a:extLst>
              <a:ext uri="{FF2B5EF4-FFF2-40B4-BE49-F238E27FC236}">
                <a16:creationId xmlns:a16="http://schemas.microsoft.com/office/drawing/2014/main" id="{9AB74492-BAB7-434C-A8A5-E9569B6AAEB4}"/>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7" name="Slide Number Placeholder 6">
            <a:extLst>
              <a:ext uri="{FF2B5EF4-FFF2-40B4-BE49-F238E27FC236}">
                <a16:creationId xmlns:a16="http://schemas.microsoft.com/office/drawing/2014/main" id="{311A6465-EDA9-4A1A-967C-1C1952C505C5}"/>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9" name="Straight Connector 8">
            <a:extLst>
              <a:ext uri="{FF2B5EF4-FFF2-40B4-BE49-F238E27FC236}">
                <a16:creationId xmlns:a16="http://schemas.microsoft.com/office/drawing/2014/main" id="{9A0E17AC-38F5-4689-828F-0708E23FD4D8}"/>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80998E5-8446-448A-A2C1-CD943A0A7DA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7B05D64-5158-4044-B5C5-0E2E28A58618}"/>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CFF0D16-A7EF-4747-B3D9-A088C5D31F2D}"/>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4" name="Pictur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3491886388"/>
      </p:ext>
    </p:extLst>
  </p:cSld>
  <p:clrMapOvr>
    <a:masterClrMapping/>
  </p:clrMapOvr>
  <p:hf hdr="0" dt="0"/>
  <p:extLst mod="1">
    <p:ext uri="{DCECCB84-F9BA-43D5-87BE-67443E8EF086}">
      <p15:sldGuideLst xmlns:p15="http://schemas.microsoft.com/office/powerpoint/2012/main">
        <p15:guide id="1" pos="3704" userDrawn="1">
          <p15:clr>
            <a:srgbClr val="FBAE40"/>
          </p15:clr>
        </p15:guide>
        <p15:guide id="2" pos="397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BE618-4F67-4378-933C-8A3F37F44544}"/>
              </a:ext>
            </a:extLst>
          </p:cNvPr>
          <p:cNvSpPr>
            <a:spLocks noGrp="1"/>
          </p:cNvSpPr>
          <p:nvPr>
            <p:ph type="title"/>
          </p:nvPr>
        </p:nvSpPr>
        <p:spPr>
          <a:xfrm>
            <a:off x="982663" y="-1"/>
            <a:ext cx="7153337" cy="1376364"/>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C097A9BF-EEA3-46D0-858D-66005C4F7973}"/>
              </a:ext>
            </a:extLst>
          </p:cNvPr>
          <p:cNvSpPr>
            <a:spLocks noGrp="1"/>
          </p:cNvSpPr>
          <p:nvPr>
            <p:ph type="body" idx="1"/>
          </p:nvPr>
        </p:nvSpPr>
        <p:spPr>
          <a:xfrm>
            <a:off x="982662" y="2024063"/>
            <a:ext cx="10226676" cy="4176712"/>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3F959CFD-E6B0-4003-83E5-5E79061181D0}"/>
              </a:ext>
            </a:extLst>
          </p:cNvPr>
          <p:cNvSpPr>
            <a:spLocks noGrp="1"/>
          </p:cNvSpPr>
          <p:nvPr>
            <p:ph type="dt" sz="half" idx="2"/>
          </p:nvPr>
        </p:nvSpPr>
        <p:spPr>
          <a:xfrm>
            <a:off x="8316000" y="6356350"/>
            <a:ext cx="904875" cy="180000"/>
          </a:xfrm>
          <a:prstGeom prst="rect">
            <a:avLst/>
          </a:prstGeom>
        </p:spPr>
        <p:txBody>
          <a:bodyPr vert="horz" lIns="0" tIns="0" rIns="0" bIns="0" rtlCol="0" anchor="ctr"/>
          <a:lstStyle>
            <a:lvl1pPr algn="l">
              <a:defRPr sz="1000">
                <a:solidFill>
                  <a:schemeClr val="tx1"/>
                </a:solidFill>
              </a:defRPr>
            </a:lvl1pPr>
          </a:lstStyle>
          <a:p>
            <a:fld id="{AB44DE83-4174-4B32-9C1C-E89A22CE8484}" type="datetimeFigureOut">
              <a:rPr lang="en-AU" smtClean="0"/>
              <a:pPr/>
              <a:t>13/02/2023</a:t>
            </a:fld>
            <a:endParaRPr lang="en-AU" dirty="0"/>
          </a:p>
        </p:txBody>
      </p:sp>
      <p:sp>
        <p:nvSpPr>
          <p:cNvPr id="5" name="Footer Placeholder 4">
            <a:extLst>
              <a:ext uri="{FF2B5EF4-FFF2-40B4-BE49-F238E27FC236}">
                <a16:creationId xmlns:a16="http://schemas.microsoft.com/office/drawing/2014/main" id="{50291554-9FDD-40FE-A16C-2B91B00B6A96}"/>
              </a:ext>
            </a:extLst>
          </p:cNvPr>
          <p:cNvSpPr>
            <a:spLocks noGrp="1"/>
          </p:cNvSpPr>
          <p:nvPr>
            <p:ph type="ftr" sz="quarter" idx="3"/>
          </p:nvPr>
        </p:nvSpPr>
        <p:spPr>
          <a:xfrm>
            <a:off x="1172187" y="6356350"/>
            <a:ext cx="6783813" cy="180000"/>
          </a:xfrm>
          <a:prstGeom prst="rect">
            <a:avLst/>
          </a:prstGeom>
        </p:spPr>
        <p:txBody>
          <a:bodyPr vert="horz" lIns="0" tIns="0" rIns="0" bIns="0" rtlCol="0" anchor="ctr"/>
          <a:lstStyle>
            <a:lvl1pPr algn="ctr">
              <a:defRPr sz="1200" b="1" i="0" u="none">
                <a:solidFill>
                  <a:srgbClr val="FF0000"/>
                </a:solidFill>
                <a:latin typeface="Arial" panose="020B0604020202020204" pitchFamily="34" charset="0"/>
              </a:defRPr>
            </a:lvl1pPr>
          </a:lstStyle>
          <a:p>
            <a:r>
              <a:rPr lang="en-AU" smtClean="0"/>
              <a:t>NDIS Commission Workforce Strategy 2022-2027</a:t>
            </a:r>
            <a:endParaRPr lang="en-AU" dirty="0"/>
          </a:p>
        </p:txBody>
      </p:sp>
      <p:sp>
        <p:nvSpPr>
          <p:cNvPr id="6" name="Slide Number Placeholder 5">
            <a:extLst>
              <a:ext uri="{FF2B5EF4-FFF2-40B4-BE49-F238E27FC236}">
                <a16:creationId xmlns:a16="http://schemas.microsoft.com/office/drawing/2014/main" id="{37E6DB64-1248-4130-A133-73B517F9F482}"/>
              </a:ext>
            </a:extLst>
          </p:cNvPr>
          <p:cNvSpPr>
            <a:spLocks noGrp="1"/>
          </p:cNvSpPr>
          <p:nvPr>
            <p:ph type="sldNum" sz="quarter" idx="4"/>
          </p:nvPr>
        </p:nvSpPr>
        <p:spPr>
          <a:xfrm>
            <a:off x="11069001" y="6356350"/>
            <a:ext cx="362274" cy="180000"/>
          </a:xfrm>
          <a:prstGeom prst="rect">
            <a:avLst/>
          </a:prstGeom>
        </p:spPr>
        <p:txBody>
          <a:bodyPr vert="horz" lIns="0" tIns="0" rIns="0" bIns="0" rtlCol="0" anchor="ctr"/>
          <a:lstStyle>
            <a:lvl1pPr algn="l">
              <a:defRPr sz="1000">
                <a:solidFill>
                  <a:schemeClr val="tx1"/>
                </a:solidFill>
              </a:defRPr>
            </a:lvl1pPr>
          </a:lstStyle>
          <a:p>
            <a:fld id="{C0F55C17-AF72-40D4-ADBD-B5505DEBF9BA}" type="slidenum">
              <a:rPr lang="en-AU" smtClean="0"/>
              <a:pPr/>
              <a:t>‹#›</a:t>
            </a:fld>
            <a:endParaRPr lang="en-AU" dirty="0"/>
          </a:p>
        </p:txBody>
      </p:sp>
      <p:sp>
        <p:nvSpPr>
          <p:cNvPr id="7" name="JS SlideHeader"/>
          <p:cNvSpPr txBox="1"/>
          <p:nvPr userDrawn="1"/>
        </p:nvSpPr>
        <p:spPr>
          <a:xfrm>
            <a:off x="1219200" y="63500"/>
            <a:ext cx="9753600" cy="276999"/>
          </a:xfrm>
          <a:prstGeom prst="rect">
            <a:avLst/>
          </a:prstGeom>
          <a:noFill/>
        </p:spPr>
        <p:txBody>
          <a:bodyPr vert="horz" rtlCol="0">
            <a:spAutoFit/>
          </a:bodyPr>
          <a:lstStyle/>
          <a:p>
            <a:pPr algn="ctr"/>
            <a:endParaRPr lang="en-AU" sz="1200" b="1" i="0" u="none" dirty="0">
              <a:solidFill>
                <a:srgbClr val="FF0000"/>
              </a:solidFill>
              <a:latin typeface="Arial" panose="020B0604020202020204" pitchFamily="34" charset="0"/>
            </a:endParaRPr>
          </a:p>
        </p:txBody>
      </p:sp>
    </p:spTree>
    <p:extLst>
      <p:ext uri="{BB962C8B-B14F-4D97-AF65-F5344CB8AC3E}">
        <p14:creationId xmlns:p14="http://schemas.microsoft.com/office/powerpoint/2010/main" val="264054866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1" r:id="rId4"/>
    <p:sldLayoutId id="2147483662" r:id="rId5"/>
    <p:sldLayoutId id="2147483668" r:id="rId6"/>
    <p:sldLayoutId id="2147483650" r:id="rId7"/>
    <p:sldLayoutId id="2147483663" r:id="rId8"/>
    <p:sldLayoutId id="2147483652" r:id="rId9"/>
    <p:sldLayoutId id="2147483653" r:id="rId10"/>
  </p:sldLayoutIdLst>
  <p:hf hdr="0" dt="0"/>
  <p:txStyles>
    <p:title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619" userDrawn="1">
          <p15:clr>
            <a:srgbClr val="F26B43"/>
          </p15:clr>
        </p15:guide>
        <p15:guide id="2" pos="7061" userDrawn="1">
          <p15:clr>
            <a:srgbClr val="F26B43"/>
          </p15:clr>
        </p15:guide>
        <p15:guide id="3" orient="horz" pos="3906" userDrawn="1">
          <p15:clr>
            <a:srgbClr val="F26B43"/>
          </p15:clr>
        </p15:guide>
        <p15:guide id="4" orient="horz" pos="1275" userDrawn="1">
          <p15:clr>
            <a:srgbClr val="F26B43"/>
          </p15:clr>
        </p15:guide>
        <p15:guide id="5" orient="horz" pos="86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12311"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957" y="1592"/>
                        <a:ext cx="1953" cy="1587"/>
                      </a:xfrm>
                      <a:prstGeom prst="rect">
                        <a:avLst/>
                      </a:prstGeom>
                    </p:spPr>
                  </p:pic>
                </p:oleObj>
              </mc:Fallback>
            </mc:AlternateContent>
          </a:graphicData>
        </a:graphic>
      </p:graphicFrame>
      <p:sp>
        <p:nvSpPr>
          <p:cNvPr id="3" name="Text Placeholder 2"/>
          <p:cNvSpPr>
            <a:spLocks noGrp="1"/>
          </p:cNvSpPr>
          <p:nvPr>
            <p:ph type="body" idx="1"/>
          </p:nvPr>
        </p:nvSpPr>
        <p:spPr>
          <a:xfrm>
            <a:off x="609299" y="1599974"/>
            <a:ext cx="10973404" cy="4526643"/>
          </a:xfrm>
          <a:prstGeom prst="rect">
            <a:avLst/>
          </a:prstGeom>
        </p:spPr>
        <p:txBody>
          <a:bodyPr vert="horz" lIns="68415" tIns="34208" rIns="68415" bIns="342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p:cNvSpPr txBox="1"/>
          <p:nvPr userDrawn="1"/>
        </p:nvSpPr>
        <p:spPr>
          <a:xfrm>
            <a:off x="1219200" y="63500"/>
            <a:ext cx="9753600" cy="276999"/>
          </a:xfrm>
          <a:prstGeom prst="rect">
            <a:avLst/>
          </a:prstGeom>
          <a:noFill/>
        </p:spPr>
        <p:txBody>
          <a:bodyPr vert="horz" wrap="square" rtlCol="0">
            <a:spAutoFit/>
          </a:bodyPr>
          <a:lstStyle/>
          <a:p>
            <a:pPr algn="ctr"/>
            <a:endParaRPr lang="en-AU" sz="1200" b="1" i="0" u="none" dirty="0" smtClean="0">
              <a:solidFill>
                <a:srgbClr val="FF0000"/>
              </a:solidFill>
              <a:latin typeface="Arial" panose="020B0604020202020204" pitchFamily="34" charset="0"/>
            </a:endParaRPr>
          </a:p>
        </p:txBody>
      </p:sp>
    </p:spTree>
    <p:extLst>
      <p:ext uri="{BB962C8B-B14F-4D97-AF65-F5344CB8AC3E}">
        <p14:creationId xmlns:p14="http://schemas.microsoft.com/office/powerpoint/2010/main" val="2116930039"/>
      </p:ext>
    </p:extLst>
  </p:cSld>
  <p:clrMap bg1="lt1" tx1="dk1" bg2="lt2" tx2="dk2" accent1="accent1" accent2="accent2" accent3="accent3" accent4="accent4" accent5="accent5" accent6="accent6" hlink="hlink" folHlink="folHlink"/>
  <p:sldLayoutIdLst>
    <p:sldLayoutId id="2147483666" r:id="rId1"/>
    <p:sldLayoutId id="2147483667" r:id="rId2"/>
  </p:sldLayoutIdLst>
  <p:hf hdr="0" ftr="0" dt="0"/>
  <p:txStyles>
    <p:titleStyle>
      <a:lvl1pPr algn="ctr" defTabSz="473657" rtl="0" eaLnBrk="1" latinLnBrk="0" hangingPunct="1">
        <a:spcBef>
          <a:spcPct val="0"/>
        </a:spcBef>
        <a:buNone/>
        <a:defRPr sz="2285" kern="1200">
          <a:solidFill>
            <a:schemeClr val="tx1"/>
          </a:solidFill>
          <a:latin typeface="+mj-lt"/>
          <a:ea typeface="+mj-ea"/>
          <a:cs typeface="+mj-cs"/>
        </a:defRPr>
      </a:lvl1pPr>
    </p:titleStyle>
    <p:bodyStyle>
      <a:lvl1pPr marL="177622" indent="-177622"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84846" indent="-148018"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92072" indent="-118415"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828900" indent="-118415"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65728" indent="-118415"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302557" indent="-118415" algn="l" defTabSz="473657" rtl="0" eaLnBrk="1" latinLnBrk="0" hangingPunct="1">
        <a:spcBef>
          <a:spcPct val="20000"/>
        </a:spcBef>
        <a:buFont typeface="Arial" panose="020B0604020202020204" pitchFamily="34" charset="0"/>
        <a:buChar char="•"/>
        <a:defRPr sz="1039" kern="1200">
          <a:solidFill>
            <a:schemeClr val="tx1"/>
          </a:solidFill>
          <a:latin typeface="+mn-lt"/>
          <a:ea typeface="+mn-ea"/>
          <a:cs typeface="+mn-cs"/>
        </a:defRPr>
      </a:lvl6pPr>
      <a:lvl7pPr marL="1539386" indent="-118415" algn="l" defTabSz="473657" rtl="0" eaLnBrk="1" latinLnBrk="0" hangingPunct="1">
        <a:spcBef>
          <a:spcPct val="20000"/>
        </a:spcBef>
        <a:buFont typeface="Arial" panose="020B0604020202020204" pitchFamily="34" charset="0"/>
        <a:buChar char="•"/>
        <a:defRPr sz="1039" kern="1200">
          <a:solidFill>
            <a:schemeClr val="tx1"/>
          </a:solidFill>
          <a:latin typeface="+mn-lt"/>
          <a:ea typeface="+mn-ea"/>
          <a:cs typeface="+mn-cs"/>
        </a:defRPr>
      </a:lvl7pPr>
      <a:lvl8pPr marL="1776214" indent="-118415" algn="l" defTabSz="473657" rtl="0" eaLnBrk="1" latinLnBrk="0" hangingPunct="1">
        <a:spcBef>
          <a:spcPct val="20000"/>
        </a:spcBef>
        <a:buFont typeface="Arial" panose="020B0604020202020204" pitchFamily="34" charset="0"/>
        <a:buChar char="•"/>
        <a:defRPr sz="1039" kern="1200">
          <a:solidFill>
            <a:schemeClr val="tx1"/>
          </a:solidFill>
          <a:latin typeface="+mn-lt"/>
          <a:ea typeface="+mn-ea"/>
          <a:cs typeface="+mn-cs"/>
        </a:defRPr>
      </a:lvl8pPr>
      <a:lvl9pPr marL="2013042" indent="-118415" algn="l" defTabSz="473657" rtl="0" eaLnBrk="1" latinLnBrk="0" hangingPunct="1">
        <a:spcBef>
          <a:spcPct val="20000"/>
        </a:spcBef>
        <a:buFont typeface="Arial" panose="020B0604020202020204" pitchFamily="34" charset="0"/>
        <a:buChar char="•"/>
        <a:defRPr sz="1039" kern="1200">
          <a:solidFill>
            <a:schemeClr val="tx1"/>
          </a:solidFill>
          <a:latin typeface="+mn-lt"/>
          <a:ea typeface="+mn-ea"/>
          <a:cs typeface="+mn-cs"/>
        </a:defRPr>
      </a:lvl9pPr>
    </p:bodyStyle>
    <p:otherStyle>
      <a:defPPr>
        <a:defRPr lang="en-US"/>
      </a:defPPr>
      <a:lvl1pPr marL="0" algn="l" defTabSz="473657" rtl="0" eaLnBrk="1" latinLnBrk="0" hangingPunct="1">
        <a:defRPr sz="900" kern="1200">
          <a:solidFill>
            <a:schemeClr val="tx1"/>
          </a:solidFill>
          <a:latin typeface="+mn-lt"/>
          <a:ea typeface="+mn-ea"/>
          <a:cs typeface="+mn-cs"/>
        </a:defRPr>
      </a:lvl1pPr>
      <a:lvl2pPr marL="236828" algn="l" defTabSz="473657" rtl="0" eaLnBrk="1" latinLnBrk="0" hangingPunct="1">
        <a:defRPr sz="900" kern="1200">
          <a:solidFill>
            <a:schemeClr val="tx1"/>
          </a:solidFill>
          <a:latin typeface="+mn-lt"/>
          <a:ea typeface="+mn-ea"/>
          <a:cs typeface="+mn-cs"/>
        </a:defRPr>
      </a:lvl2pPr>
      <a:lvl3pPr marL="473657" algn="l" defTabSz="473657" rtl="0" eaLnBrk="1" latinLnBrk="0" hangingPunct="1">
        <a:defRPr sz="900" kern="1200">
          <a:solidFill>
            <a:schemeClr val="tx1"/>
          </a:solidFill>
          <a:latin typeface="+mn-lt"/>
          <a:ea typeface="+mn-ea"/>
          <a:cs typeface="+mn-cs"/>
        </a:defRPr>
      </a:lvl3pPr>
      <a:lvl4pPr marL="710486" algn="l" defTabSz="473657" rtl="0" eaLnBrk="1" latinLnBrk="0" hangingPunct="1">
        <a:defRPr sz="900" kern="1200">
          <a:solidFill>
            <a:schemeClr val="tx1"/>
          </a:solidFill>
          <a:latin typeface="+mn-lt"/>
          <a:ea typeface="+mn-ea"/>
          <a:cs typeface="+mn-cs"/>
        </a:defRPr>
      </a:lvl4pPr>
      <a:lvl5pPr marL="947314" algn="l" defTabSz="473657" rtl="0" eaLnBrk="1" latinLnBrk="0" hangingPunct="1">
        <a:defRPr sz="900" kern="1200">
          <a:solidFill>
            <a:schemeClr val="tx1"/>
          </a:solidFill>
          <a:latin typeface="+mn-lt"/>
          <a:ea typeface="+mn-ea"/>
          <a:cs typeface="+mn-cs"/>
        </a:defRPr>
      </a:lvl5pPr>
      <a:lvl6pPr marL="1184142" algn="l" defTabSz="473657" rtl="0" eaLnBrk="1" latinLnBrk="0" hangingPunct="1">
        <a:defRPr sz="900" kern="1200">
          <a:solidFill>
            <a:schemeClr val="tx1"/>
          </a:solidFill>
          <a:latin typeface="+mn-lt"/>
          <a:ea typeface="+mn-ea"/>
          <a:cs typeface="+mn-cs"/>
        </a:defRPr>
      </a:lvl6pPr>
      <a:lvl7pPr marL="1420971" algn="l" defTabSz="473657" rtl="0" eaLnBrk="1" latinLnBrk="0" hangingPunct="1">
        <a:defRPr sz="900" kern="1200">
          <a:solidFill>
            <a:schemeClr val="tx1"/>
          </a:solidFill>
          <a:latin typeface="+mn-lt"/>
          <a:ea typeface="+mn-ea"/>
          <a:cs typeface="+mn-cs"/>
        </a:defRPr>
      </a:lvl7pPr>
      <a:lvl8pPr marL="1657799" algn="l" defTabSz="473657" rtl="0" eaLnBrk="1" latinLnBrk="0" hangingPunct="1">
        <a:defRPr sz="900" kern="1200">
          <a:solidFill>
            <a:schemeClr val="tx1"/>
          </a:solidFill>
          <a:latin typeface="+mn-lt"/>
          <a:ea typeface="+mn-ea"/>
          <a:cs typeface="+mn-cs"/>
        </a:defRPr>
      </a:lvl8pPr>
      <a:lvl9pPr marL="1894628" algn="l" defTabSz="473657" rtl="0" eaLnBrk="1" latinLnBrk="0" hangingPunct="1">
        <a:defRPr sz="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BE618-4F67-4378-933C-8A3F37F44544}"/>
              </a:ext>
            </a:extLst>
          </p:cNvPr>
          <p:cNvSpPr>
            <a:spLocks noGrp="1"/>
          </p:cNvSpPr>
          <p:nvPr>
            <p:ph type="title"/>
          </p:nvPr>
        </p:nvSpPr>
        <p:spPr>
          <a:xfrm>
            <a:off x="982663" y="-1"/>
            <a:ext cx="7153337" cy="1376364"/>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C097A9BF-EEA3-46D0-858D-66005C4F7973}"/>
              </a:ext>
            </a:extLst>
          </p:cNvPr>
          <p:cNvSpPr>
            <a:spLocks noGrp="1"/>
          </p:cNvSpPr>
          <p:nvPr>
            <p:ph type="body" idx="1"/>
          </p:nvPr>
        </p:nvSpPr>
        <p:spPr>
          <a:xfrm>
            <a:off x="982662" y="2024063"/>
            <a:ext cx="10226676" cy="4176712"/>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3F959CFD-E6B0-4003-83E5-5E79061181D0}"/>
              </a:ext>
            </a:extLst>
          </p:cNvPr>
          <p:cNvSpPr>
            <a:spLocks noGrp="1"/>
          </p:cNvSpPr>
          <p:nvPr>
            <p:ph type="dt" sz="half" idx="2"/>
          </p:nvPr>
        </p:nvSpPr>
        <p:spPr>
          <a:xfrm>
            <a:off x="8316000" y="6356350"/>
            <a:ext cx="904875" cy="180000"/>
          </a:xfrm>
          <a:prstGeom prst="rect">
            <a:avLst/>
          </a:prstGeom>
        </p:spPr>
        <p:txBody>
          <a:bodyPr vert="horz" lIns="0" tIns="0" rIns="0" bIns="0" rtlCol="0" anchor="ctr"/>
          <a:lstStyle>
            <a:lvl1pPr algn="l">
              <a:defRPr sz="1000">
                <a:solidFill>
                  <a:schemeClr val="tx1"/>
                </a:solidFill>
              </a:defRPr>
            </a:lvl1pPr>
          </a:lstStyle>
          <a:p>
            <a:fld id="{AB44DE83-4174-4B32-9C1C-E89A22CE8484}" type="datetimeFigureOut">
              <a:rPr lang="en-AU" smtClean="0"/>
              <a:pPr/>
              <a:t>13/02/2023</a:t>
            </a:fld>
            <a:endParaRPr lang="en-AU" dirty="0"/>
          </a:p>
        </p:txBody>
      </p:sp>
      <p:sp>
        <p:nvSpPr>
          <p:cNvPr id="5" name="Footer Placeholder 4">
            <a:extLst>
              <a:ext uri="{FF2B5EF4-FFF2-40B4-BE49-F238E27FC236}">
                <a16:creationId xmlns:a16="http://schemas.microsoft.com/office/drawing/2014/main" id="{50291554-9FDD-40FE-A16C-2B91B00B6A96}"/>
              </a:ext>
            </a:extLst>
          </p:cNvPr>
          <p:cNvSpPr>
            <a:spLocks noGrp="1"/>
          </p:cNvSpPr>
          <p:nvPr>
            <p:ph type="ftr" sz="quarter" idx="3"/>
          </p:nvPr>
        </p:nvSpPr>
        <p:spPr>
          <a:xfrm>
            <a:off x="1172187" y="6356350"/>
            <a:ext cx="6783813" cy="180000"/>
          </a:xfrm>
          <a:prstGeom prst="rect">
            <a:avLst/>
          </a:prstGeom>
        </p:spPr>
        <p:txBody>
          <a:bodyPr vert="horz" lIns="0" tIns="0" rIns="0" bIns="0" rtlCol="0" anchor="ctr"/>
          <a:lstStyle>
            <a:lvl1pPr algn="ctr">
              <a:defRPr sz="1200" b="1" i="0" u="none">
                <a:solidFill>
                  <a:srgbClr val="FF0000"/>
                </a:solidFill>
                <a:latin typeface="Arial" panose="020B0604020202020204" pitchFamily="34" charset="0"/>
              </a:defRPr>
            </a:lvl1pPr>
          </a:lstStyle>
          <a:p>
            <a:endParaRPr lang="en-AU" dirty="0"/>
          </a:p>
        </p:txBody>
      </p:sp>
      <p:sp>
        <p:nvSpPr>
          <p:cNvPr id="6" name="Slide Number Placeholder 5">
            <a:extLst>
              <a:ext uri="{FF2B5EF4-FFF2-40B4-BE49-F238E27FC236}">
                <a16:creationId xmlns:a16="http://schemas.microsoft.com/office/drawing/2014/main" id="{37E6DB64-1248-4130-A133-73B517F9F482}"/>
              </a:ext>
            </a:extLst>
          </p:cNvPr>
          <p:cNvSpPr>
            <a:spLocks noGrp="1"/>
          </p:cNvSpPr>
          <p:nvPr>
            <p:ph type="sldNum" sz="quarter" idx="4"/>
          </p:nvPr>
        </p:nvSpPr>
        <p:spPr>
          <a:xfrm>
            <a:off x="11069001" y="6356350"/>
            <a:ext cx="362274" cy="180000"/>
          </a:xfrm>
          <a:prstGeom prst="rect">
            <a:avLst/>
          </a:prstGeom>
        </p:spPr>
        <p:txBody>
          <a:bodyPr vert="horz" lIns="0" tIns="0" rIns="0" bIns="0" rtlCol="0" anchor="ctr"/>
          <a:lstStyle>
            <a:lvl1pPr algn="l">
              <a:defRPr sz="1000">
                <a:solidFill>
                  <a:schemeClr val="tx1"/>
                </a:solidFill>
              </a:defRPr>
            </a:lvl1pPr>
          </a:lstStyle>
          <a:p>
            <a:fld id="{C0F55C17-AF72-40D4-ADBD-B5505DEBF9BA}" type="slidenum">
              <a:rPr lang="en-AU" smtClean="0"/>
              <a:pPr/>
              <a:t>‹#›</a:t>
            </a:fld>
            <a:endParaRPr lang="en-AU" dirty="0"/>
          </a:p>
        </p:txBody>
      </p:sp>
      <p:sp>
        <p:nvSpPr>
          <p:cNvPr id="7" name="JS SlideHeader"/>
          <p:cNvSpPr txBox="1"/>
          <p:nvPr userDrawn="1"/>
        </p:nvSpPr>
        <p:spPr>
          <a:xfrm>
            <a:off x="1219200" y="63500"/>
            <a:ext cx="9753600" cy="276999"/>
          </a:xfrm>
          <a:prstGeom prst="rect">
            <a:avLst/>
          </a:prstGeom>
          <a:noFill/>
        </p:spPr>
        <p:txBody>
          <a:bodyPr vert="horz" rtlCol="0">
            <a:spAutoFit/>
          </a:bodyPr>
          <a:lstStyle/>
          <a:p>
            <a:pPr algn="ctr"/>
            <a:endParaRPr lang="en-AU" sz="1200" b="1" i="0" u="none" dirty="0">
              <a:solidFill>
                <a:srgbClr val="FF0000"/>
              </a:solidFill>
              <a:latin typeface="Arial" panose="020B0604020202020204" pitchFamily="34" charset="0"/>
            </a:endParaRPr>
          </a:p>
        </p:txBody>
      </p:sp>
    </p:spTree>
    <p:extLst>
      <p:ext uri="{BB962C8B-B14F-4D97-AF65-F5344CB8AC3E}">
        <p14:creationId xmlns:p14="http://schemas.microsoft.com/office/powerpoint/2010/main" val="2819558323"/>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hf sldNum="0" hdr="0" ftr="0" dt="0"/>
  <p:txStyles>
    <p:title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619">
          <p15:clr>
            <a:srgbClr val="F26B43"/>
          </p15:clr>
        </p15:guide>
        <p15:guide id="2" pos="7061">
          <p15:clr>
            <a:srgbClr val="F26B43"/>
          </p15:clr>
        </p15:guide>
        <p15:guide id="3" orient="horz" pos="3906">
          <p15:clr>
            <a:srgbClr val="F26B43"/>
          </p15:clr>
        </p15:guide>
        <p15:guide id="4" orient="horz" pos="1275">
          <p15:clr>
            <a:srgbClr val="F26B43"/>
          </p15:clr>
        </p15:guide>
        <p15:guide id="5" orient="horz" pos="86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2.svg"/><Relationship Id="rId5" Type="http://schemas.openxmlformats.org/officeDocument/2006/relationships/image" Target="../media/image22.png"/><Relationship Id="rId4" Type="http://schemas.openxmlformats.org/officeDocument/2006/relationships/image" Target="../media/image30.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hyperlink" Target="https://www.pwc.com.au/health/reimagining-australias-care-workforce.html"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53.svg"/><Relationship Id="rId3" Type="http://schemas.openxmlformats.org/officeDocument/2006/relationships/image" Target="../media/image30.png"/><Relationship Id="rId7" Type="http://schemas.openxmlformats.org/officeDocument/2006/relationships/image" Target="../media/image47.svg"/><Relationship Id="rId12"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51.svg"/><Relationship Id="rId5" Type="http://schemas.openxmlformats.org/officeDocument/2006/relationships/image" Target="../media/image45.svg"/><Relationship Id="rId15" Type="http://schemas.openxmlformats.org/officeDocument/2006/relationships/image" Target="../media/image55.svg"/><Relationship Id="rId10" Type="http://schemas.openxmlformats.org/officeDocument/2006/relationships/image" Target="../media/image34.png"/><Relationship Id="rId4" Type="http://schemas.openxmlformats.org/officeDocument/2006/relationships/image" Target="../media/image31.png"/><Relationship Id="rId9" Type="http://schemas.openxmlformats.org/officeDocument/2006/relationships/image" Target="../media/image49.svg"/><Relationship Id="rId14"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image" Target="../media/image83.svg"/><Relationship Id="rId13" Type="http://schemas.openxmlformats.org/officeDocument/2006/relationships/image" Target="../media/image88.svg"/><Relationship Id="rId3" Type="http://schemas.openxmlformats.org/officeDocument/2006/relationships/image" Target="../media/image37.png"/><Relationship Id="rId7" Type="http://schemas.openxmlformats.org/officeDocument/2006/relationships/image" Target="../media/image39.png"/><Relationship Id="rId12"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81.svg"/><Relationship Id="rId11" Type="http://schemas.openxmlformats.org/officeDocument/2006/relationships/image" Target="../media/image41.png"/><Relationship Id="rId5" Type="http://schemas.openxmlformats.org/officeDocument/2006/relationships/image" Target="../media/image38.png"/><Relationship Id="rId15" Type="http://schemas.openxmlformats.org/officeDocument/2006/relationships/image" Target="../media/image90.svg"/><Relationship Id="rId10" Type="http://schemas.openxmlformats.org/officeDocument/2006/relationships/image" Target="../media/image85.svg"/><Relationship Id="rId4" Type="http://schemas.openxmlformats.org/officeDocument/2006/relationships/image" Target="../media/image79.svg"/><Relationship Id="rId9" Type="http://schemas.openxmlformats.org/officeDocument/2006/relationships/image" Target="../media/image40.png"/><Relationship Id="rId14" Type="http://schemas.openxmlformats.org/officeDocument/2006/relationships/image" Target="../media/image43.png"/></Relationships>
</file>

<file path=ppt/slides/_rels/slide18.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101.svg"/><Relationship Id="rId3" Type="http://schemas.openxmlformats.org/officeDocument/2006/relationships/image" Target="../media/image44.png"/><Relationship Id="rId7" Type="http://schemas.openxmlformats.org/officeDocument/2006/relationships/image" Target="../media/image46.png"/><Relationship Id="rId12"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94.svg"/><Relationship Id="rId11" Type="http://schemas.openxmlformats.org/officeDocument/2006/relationships/image" Target="../media/image99.svg"/><Relationship Id="rId5" Type="http://schemas.openxmlformats.org/officeDocument/2006/relationships/image" Target="../media/image45.png"/><Relationship Id="rId15" Type="http://schemas.openxmlformats.org/officeDocument/2006/relationships/image" Target="../media/image103.svg"/><Relationship Id="rId10" Type="http://schemas.openxmlformats.org/officeDocument/2006/relationships/image" Target="../media/image48.png"/><Relationship Id="rId4" Type="http://schemas.openxmlformats.org/officeDocument/2006/relationships/image" Target="../media/image92.svg"/><Relationship Id="rId9" Type="http://schemas.openxmlformats.org/officeDocument/2006/relationships/image" Target="../media/image47.png"/><Relationship Id="rId14" Type="http://schemas.openxmlformats.org/officeDocument/2006/relationships/image" Target="../media/image50.png"/></Relationships>
</file>

<file path=ppt/slides/_rels/slide19.xml.rels><?xml version="1.0" encoding="UTF-8" standalone="yes"?>
<Relationships xmlns="http://schemas.openxmlformats.org/package/2006/relationships"><Relationship Id="rId8" Type="http://schemas.openxmlformats.org/officeDocument/2006/relationships/image" Target="../media/image109.svg"/><Relationship Id="rId13" Type="http://schemas.openxmlformats.org/officeDocument/2006/relationships/image" Target="../media/image26.svg"/><Relationship Id="rId3" Type="http://schemas.openxmlformats.org/officeDocument/2006/relationships/image" Target="../media/image51.png"/><Relationship Id="rId7" Type="http://schemas.openxmlformats.org/officeDocument/2006/relationships/image" Target="../media/image53.png"/><Relationship Id="rId12"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07.svg"/><Relationship Id="rId11" Type="http://schemas.openxmlformats.org/officeDocument/2006/relationships/image" Target="../media/image88.svg"/><Relationship Id="rId5" Type="http://schemas.openxmlformats.org/officeDocument/2006/relationships/image" Target="../media/image52.png"/><Relationship Id="rId15" Type="http://schemas.openxmlformats.org/officeDocument/2006/relationships/image" Target="../media/image112.svg"/><Relationship Id="rId10" Type="http://schemas.openxmlformats.org/officeDocument/2006/relationships/image" Target="../media/image42.png"/><Relationship Id="rId4" Type="http://schemas.openxmlformats.org/officeDocument/2006/relationships/image" Target="../media/image105.svg"/><Relationship Id="rId9" Type="http://schemas.openxmlformats.org/officeDocument/2006/relationships/image" Target="../media/image54.png"/><Relationship Id="rId14"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19.svg"/><Relationship Id="rId3" Type="http://schemas.openxmlformats.org/officeDocument/2006/relationships/image" Target="../media/image56.png"/><Relationship Id="rId7" Type="http://schemas.openxmlformats.org/officeDocument/2006/relationships/image" Target="../media/image58.png"/><Relationship Id="rId12"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114.svg"/><Relationship Id="rId11" Type="http://schemas.openxmlformats.org/officeDocument/2006/relationships/image" Target="../media/image20.svg"/><Relationship Id="rId5" Type="http://schemas.openxmlformats.org/officeDocument/2006/relationships/image" Target="../media/image57.png"/><Relationship Id="rId15" Type="http://schemas.openxmlformats.org/officeDocument/2006/relationships/image" Target="../media/image59.svg"/><Relationship Id="rId10" Type="http://schemas.openxmlformats.org/officeDocument/2006/relationships/image" Target="../media/image16.png"/><Relationship Id="rId4" Type="http://schemas.openxmlformats.org/officeDocument/2006/relationships/image" Target="../media/image57.svg"/><Relationship Id="rId9" Type="http://schemas.openxmlformats.org/officeDocument/2006/relationships/image" Target="../media/image59.png"/><Relationship Id="rId14" Type="http://schemas.openxmlformats.org/officeDocument/2006/relationships/image" Target="../media/image6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hyperlink" Target="https://www.apsc.gov.au/initiatives-and-programs/aps-workforce-strategy-2025/workforce-planning-resources/aps-job-family-framework#:~:text=The%20APS%20Job%20Family%20Framework,occupational%20grouping%20for%20the%20APS."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hyperlink" Target="https://www.apsacademy.gov.au/aps-craft/leadership-management#programs-scholarships-and-secondments" TargetMode="External"/><Relationship Id="rId4" Type="http://schemas.openxmlformats.org/officeDocument/2006/relationships/hyperlink" Target="https://www.apsacademy.gov.au/sites/default/files/2022-01/APS_Academy_2022_course_calendar.pdf"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accessandinclusionindex.com.au/"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64.png"/><Relationship Id="rId3" Type="http://schemas.microsoft.com/office/2014/relationships/chartEx" Target="../charts/chartEx1.xml"/><Relationship Id="rId7" Type="http://schemas.microsoft.com/office/2014/relationships/chartEx" Target="../charts/chartEx3.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63.png"/><Relationship Id="rId5" Type="http://schemas.microsoft.com/office/2014/relationships/chartEx" Target="../charts/chartEx2.xml"/><Relationship Id="rId10" Type="http://schemas.openxmlformats.org/officeDocument/2006/relationships/image" Target="../media/image65.png"/><Relationship Id="rId4" Type="http://schemas.openxmlformats.org/officeDocument/2006/relationships/image" Target="../media/image62.png"/><Relationship Id="rId9" Type="http://schemas.microsoft.com/office/2014/relationships/chartEx" Target="../charts/chartEx4.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59.svg"/><Relationship Id="rId5" Type="http://schemas.openxmlformats.org/officeDocument/2006/relationships/image" Target="../media/image61.png"/><Relationship Id="rId4" Type="http://schemas.openxmlformats.org/officeDocument/2006/relationships/image" Target="../media/image57.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18" Type="http://schemas.openxmlformats.org/officeDocument/2006/relationships/image" Target="../media/image84.png"/><Relationship Id="rId3" Type="http://schemas.openxmlformats.org/officeDocument/2006/relationships/image" Target="../media/image70.png"/><Relationship Id="rId21" Type="http://schemas.openxmlformats.org/officeDocument/2006/relationships/image" Target="../media/image87.png"/><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 Type="http://schemas.openxmlformats.org/officeDocument/2006/relationships/notesSlide" Target="../notesSlides/notesSlide40.xml"/><Relationship Id="rId16" Type="http://schemas.openxmlformats.org/officeDocument/2006/relationships/image" Target="../media/image82.png"/><Relationship Id="rId20" Type="http://schemas.openxmlformats.org/officeDocument/2006/relationships/image" Target="../media/image86.png"/><Relationship Id="rId1" Type="http://schemas.openxmlformats.org/officeDocument/2006/relationships/slideLayout" Target="../slideLayouts/slideLayout7.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png"/><Relationship Id="rId10" Type="http://schemas.openxmlformats.org/officeDocument/2006/relationships/image" Target="../media/image76.png"/><Relationship Id="rId19" Type="http://schemas.openxmlformats.org/officeDocument/2006/relationships/image" Target="../media/image85.png"/><Relationship Id="rId4" Type="http://schemas.openxmlformats.org/officeDocument/2006/relationships/hyperlink" Target="https://www.flexcareers.com.au/" TargetMode="External"/><Relationship Id="rId9" Type="http://schemas.openxmlformats.org/officeDocument/2006/relationships/image" Target="../media/image75.png"/><Relationship Id="rId14" Type="http://schemas.openxmlformats.org/officeDocument/2006/relationships/image" Target="../media/image80.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image" Target="../media/image17.png"/><Relationship Id="rId12" Type="http://schemas.openxmlformats.org/officeDocument/2006/relationships/image" Target="../media/image26.sv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0.svg"/><Relationship Id="rId11" Type="http://schemas.openxmlformats.org/officeDocument/2006/relationships/image" Target="../media/image20.png"/><Relationship Id="rId5" Type="http://schemas.openxmlformats.org/officeDocument/2006/relationships/image" Target="../media/image16.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38322B-9AF7-4F4E-A186-DC99114671AE}"/>
              </a:ext>
            </a:extLst>
          </p:cNvPr>
          <p:cNvPicPr>
            <a:picLocks noChangeAspect="1"/>
          </p:cNvPicPr>
          <p:nvPr/>
        </p:nvPicPr>
        <p:blipFill rotWithShape="1">
          <a:blip r:embed="rId3">
            <a:extLst>
              <a:ext uri="{28A0092B-C50C-407E-A947-70E740481C1C}">
                <a14:useLocalDpi xmlns:a14="http://schemas.microsoft.com/office/drawing/2010/main" val="0"/>
              </a:ext>
            </a:extLst>
          </a:blip>
          <a:srcRect l="48317" r="-1"/>
          <a:stretch/>
        </p:blipFill>
        <p:spPr>
          <a:xfrm>
            <a:off x="5918415" y="0"/>
            <a:ext cx="6301338" cy="6858000"/>
          </a:xfrm>
          <a:prstGeom prst="rect">
            <a:avLst/>
          </a:prstGeom>
        </p:spPr>
      </p:pic>
      <p:sp>
        <p:nvSpPr>
          <p:cNvPr id="2" name="Title 1">
            <a:extLst>
              <a:ext uri="{FF2B5EF4-FFF2-40B4-BE49-F238E27FC236}">
                <a16:creationId xmlns:a16="http://schemas.microsoft.com/office/drawing/2014/main" id="{BFF5C568-7C13-49F7-A1E6-2486B6401C37}"/>
              </a:ext>
            </a:extLst>
          </p:cNvPr>
          <p:cNvSpPr>
            <a:spLocks noGrp="1"/>
          </p:cNvSpPr>
          <p:nvPr>
            <p:ph type="ctrTitle"/>
          </p:nvPr>
        </p:nvSpPr>
        <p:spPr>
          <a:xfrm>
            <a:off x="982663" y="2052000"/>
            <a:ext cx="6611670" cy="2736000"/>
          </a:xfrm>
        </p:spPr>
        <p:txBody>
          <a:bodyPr>
            <a:normAutofit/>
          </a:bodyPr>
          <a:lstStyle/>
          <a:p>
            <a:pPr>
              <a:lnSpc>
                <a:spcPct val="100000"/>
              </a:lnSpc>
            </a:pPr>
            <a:r>
              <a:rPr lang="en-US" sz="4000" dirty="0"/>
              <a:t>Workforce </a:t>
            </a:r>
            <a:r>
              <a:rPr lang="en-US" sz="4000" dirty="0" smtClean="0"/>
              <a:t>Plan 2023-2028</a:t>
            </a:r>
            <a:endParaRPr lang="en-AU" sz="4400" b="0" dirty="0"/>
          </a:p>
        </p:txBody>
      </p:sp>
      <p:sp>
        <p:nvSpPr>
          <p:cNvPr id="4" name="Text Placeholder 3">
            <a:extLst>
              <a:ext uri="{FF2B5EF4-FFF2-40B4-BE49-F238E27FC236}">
                <a16:creationId xmlns:a16="http://schemas.microsoft.com/office/drawing/2014/main" id="{DC24287A-223A-4018-A0FE-A80B9A33DDD6}"/>
              </a:ext>
            </a:extLst>
          </p:cNvPr>
          <p:cNvSpPr>
            <a:spLocks noGrp="1"/>
          </p:cNvSpPr>
          <p:nvPr>
            <p:ph type="body" sz="quarter" idx="13"/>
          </p:nvPr>
        </p:nvSpPr>
        <p:spPr/>
        <p:txBody>
          <a:bodyPr vert="horz" lIns="0" tIns="0" rIns="0" bIns="0" rtlCol="0" anchor="t">
            <a:normAutofit/>
          </a:bodyPr>
          <a:lstStyle/>
          <a:p>
            <a:r>
              <a:rPr lang="en-US" sz="1600" b="1" dirty="0" smtClean="0"/>
              <a:t>Final </a:t>
            </a:r>
            <a:r>
              <a:rPr lang="en-US" sz="1600" b="1" dirty="0"/>
              <a:t>report</a:t>
            </a:r>
          </a:p>
          <a:p>
            <a:r>
              <a:rPr lang="en-US" sz="1600" dirty="0" smtClean="0"/>
              <a:t>February 2023</a:t>
            </a:r>
            <a:endParaRPr lang="en-AU" sz="1600" dirty="0"/>
          </a:p>
        </p:txBody>
      </p:sp>
      <p:sp>
        <p:nvSpPr>
          <p:cNvPr id="7" name="TextBox 6">
            <a:extLst>
              <a:ext uri="{FF2B5EF4-FFF2-40B4-BE49-F238E27FC236}">
                <a16:creationId xmlns:a16="http://schemas.microsoft.com/office/drawing/2014/main" id="{855BB788-942C-4465-B124-B131F4DCA7B4}"/>
              </a:ext>
            </a:extLst>
          </p:cNvPr>
          <p:cNvSpPr txBox="1"/>
          <p:nvPr/>
        </p:nvSpPr>
        <p:spPr>
          <a:xfrm>
            <a:off x="4207644" y="5159654"/>
            <a:ext cx="1372253" cy="630942"/>
          </a:xfrm>
          <a:prstGeom prst="rect">
            <a:avLst/>
          </a:prstGeom>
          <a:noFill/>
        </p:spPr>
        <p:txBody>
          <a:bodyPr wrap="square">
            <a:spAutoFit/>
          </a:bodyPr>
          <a:lstStyle/>
          <a:p>
            <a:r>
              <a:rPr lang="en-AU" sz="1400" b="1" dirty="0">
                <a:solidFill>
                  <a:schemeClr val="bg1"/>
                </a:solidFill>
                <a:latin typeface="Calibri" panose="020F0502020204030204" pitchFamily="34" charset="0"/>
              </a:rPr>
              <a:t>Senior Leaders</a:t>
            </a:r>
          </a:p>
          <a:p>
            <a:r>
              <a:rPr lang="en-AU" sz="1050" b="0" i="0" dirty="0">
                <a:solidFill>
                  <a:schemeClr val="bg1"/>
                </a:solidFill>
                <a:effectLst/>
                <a:latin typeface="Calibri" panose="020F0502020204030204" pitchFamily="34" charset="0"/>
              </a:rPr>
              <a:t>XXXXX</a:t>
            </a:r>
          </a:p>
          <a:p>
            <a:r>
              <a:rPr lang="en-AU" sz="1050" dirty="0">
                <a:solidFill>
                  <a:schemeClr val="bg1"/>
                </a:solidFill>
                <a:latin typeface="Calibri" panose="020F0502020204030204" pitchFamily="34" charset="0"/>
              </a:rPr>
              <a:t>XXXXX</a:t>
            </a:r>
            <a:endParaRPr lang="en-US" sz="1050" b="0" i="0" dirty="0">
              <a:solidFill>
                <a:schemeClr val="bg1"/>
              </a:solidFill>
              <a:effectLst/>
              <a:latin typeface="Calibri" panose="020F0502020204030204" pitchFamily="34" charset="0"/>
            </a:endParaRPr>
          </a:p>
        </p:txBody>
      </p:sp>
      <p:sp>
        <p:nvSpPr>
          <p:cNvPr id="8" name="Google Shape;821;g12f1bb89dac_0_297">
            <a:extLst>
              <a:ext uri="{FF2B5EF4-FFF2-40B4-BE49-F238E27FC236}">
                <a16:creationId xmlns:a16="http://schemas.microsoft.com/office/drawing/2014/main" id="{D9840D46-4EF2-4639-9031-3DC44BB55FD5}"/>
              </a:ext>
            </a:extLst>
          </p:cNvPr>
          <p:cNvSpPr txBox="1"/>
          <p:nvPr/>
        </p:nvSpPr>
        <p:spPr>
          <a:xfrm>
            <a:off x="6552003" y="4340343"/>
            <a:ext cx="360581" cy="430857"/>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700"/>
              <a:buFont typeface="Arial"/>
              <a:buNone/>
            </a:pPr>
            <a:r>
              <a:rPr lang="en-AU" sz="1600" b="0" i="0" u="none" strike="noStrike" cap="none" dirty="0">
                <a:solidFill>
                  <a:schemeClr val="lt1"/>
                </a:solidFill>
                <a:ea typeface="Public Sans"/>
                <a:cs typeface="Public Sans"/>
                <a:sym typeface="Public Sans"/>
              </a:rPr>
              <a:t>7</a:t>
            </a:r>
            <a:endParaRPr sz="1600" b="0" i="0" u="none" strike="noStrike" cap="none" dirty="0">
              <a:solidFill>
                <a:schemeClr val="lt1"/>
              </a:solidFill>
              <a:ea typeface="Public Sans"/>
              <a:cs typeface="Public Sans"/>
              <a:sym typeface="Public Sans"/>
            </a:endParaRPr>
          </a:p>
        </p:txBody>
      </p:sp>
      <p:sp>
        <p:nvSpPr>
          <p:cNvPr id="26" name="Subtitle 2">
            <a:extLst>
              <a:ext uri="{FF2B5EF4-FFF2-40B4-BE49-F238E27FC236}">
                <a16:creationId xmlns:a16="http://schemas.microsoft.com/office/drawing/2014/main" id="{7769C908-E31C-4777-B766-5F8201B1A48A}"/>
              </a:ext>
            </a:extLst>
          </p:cNvPr>
          <p:cNvSpPr>
            <a:spLocks noGrp="1"/>
          </p:cNvSpPr>
          <p:nvPr>
            <p:ph type="subTitle" idx="1"/>
          </p:nvPr>
        </p:nvSpPr>
        <p:spPr>
          <a:xfrm>
            <a:off x="982663" y="3820400"/>
            <a:ext cx="6323012" cy="648000"/>
          </a:xfrm>
        </p:spPr>
        <p:txBody>
          <a:bodyPr>
            <a:noAutofit/>
          </a:bodyPr>
          <a:lstStyle/>
          <a:p>
            <a:pPr>
              <a:lnSpc>
                <a:spcPct val="100000"/>
              </a:lnSpc>
            </a:pPr>
            <a:r>
              <a:rPr lang="en-AU" sz="1600" b="0" dirty="0"/>
              <a:t>Our Workforce Vision: A highly capable and diverse workforce with a clear understanding of our organisation's purpose and the confidence to meaningfully engage with participants and providers. </a:t>
            </a:r>
          </a:p>
        </p:txBody>
      </p:sp>
    </p:spTree>
    <p:extLst>
      <p:ext uri="{BB962C8B-B14F-4D97-AF65-F5344CB8AC3E}">
        <p14:creationId xmlns:p14="http://schemas.microsoft.com/office/powerpoint/2010/main" val="35988337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Connector: Elbow 92">
            <a:extLst>
              <a:ext uri="{FF2B5EF4-FFF2-40B4-BE49-F238E27FC236}">
                <a16:creationId xmlns:a16="http://schemas.microsoft.com/office/drawing/2014/main" id="{AEC8584D-811A-46AF-B3BF-9EDE6F2186B1}"/>
              </a:ext>
            </a:extLst>
          </p:cNvPr>
          <p:cNvCxnSpPr>
            <a:cxnSpLocks/>
            <a:stCxn id="92" idx="1"/>
          </p:cNvCxnSpPr>
          <p:nvPr/>
        </p:nvCxnSpPr>
        <p:spPr>
          <a:xfrm rot="10800000" flipV="1">
            <a:off x="2665182" y="4630395"/>
            <a:ext cx="1600201" cy="853160"/>
          </a:xfrm>
          <a:prstGeom prst="bentConnector3">
            <a:avLst>
              <a:gd name="adj1" fmla="val 50000"/>
            </a:avLst>
          </a:prstGeom>
          <a:ln w="28575" cap="sq">
            <a:solidFill>
              <a:schemeClr val="accent6"/>
            </a:solidFill>
          </a:ln>
        </p:spPr>
        <p:style>
          <a:lnRef idx="1">
            <a:schemeClr val="accent1"/>
          </a:lnRef>
          <a:fillRef idx="0">
            <a:schemeClr val="accent1"/>
          </a:fillRef>
          <a:effectRef idx="0">
            <a:schemeClr val="dk1"/>
          </a:effectRef>
          <a:fontRef idx="minor">
            <a:schemeClr val="lt1"/>
          </a:fontRef>
        </p:style>
      </p:cxnSp>
      <p:cxnSp>
        <p:nvCxnSpPr>
          <p:cNvPr id="94" name="Connector: Elbow 93">
            <a:extLst>
              <a:ext uri="{FF2B5EF4-FFF2-40B4-BE49-F238E27FC236}">
                <a16:creationId xmlns:a16="http://schemas.microsoft.com/office/drawing/2014/main" id="{F6CABF20-3257-4349-ADA9-467EEBEDA3B7}"/>
              </a:ext>
            </a:extLst>
          </p:cNvPr>
          <p:cNvCxnSpPr>
            <a:cxnSpLocks/>
            <a:stCxn id="92" idx="3"/>
          </p:cNvCxnSpPr>
          <p:nvPr/>
        </p:nvCxnSpPr>
        <p:spPr>
          <a:xfrm>
            <a:off x="7762644" y="4630395"/>
            <a:ext cx="1878677" cy="874151"/>
          </a:xfrm>
          <a:prstGeom prst="bentConnector3">
            <a:avLst>
              <a:gd name="adj1" fmla="val 50000"/>
            </a:avLst>
          </a:prstGeom>
          <a:ln w="28575" cap="sq">
            <a:solidFill>
              <a:schemeClr val="accent6"/>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EAFA138F-BA91-40B7-8A7F-45CB4879AF0B}"/>
              </a:ext>
            </a:extLst>
          </p:cNvPr>
          <p:cNvSpPr/>
          <p:nvPr/>
        </p:nvSpPr>
        <p:spPr>
          <a:xfrm>
            <a:off x="4174837" y="4204198"/>
            <a:ext cx="3760928" cy="665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1" name="Google Shape;493;p44">
            <a:extLst>
              <a:ext uri="{FF2B5EF4-FFF2-40B4-BE49-F238E27FC236}">
                <a16:creationId xmlns:a16="http://schemas.microsoft.com/office/drawing/2014/main" id="{09F83F71-2CA6-48FA-8614-7309BCF28396}"/>
              </a:ext>
            </a:extLst>
          </p:cNvPr>
          <p:cNvSpPr txBox="1"/>
          <p:nvPr/>
        </p:nvSpPr>
        <p:spPr>
          <a:xfrm>
            <a:off x="503686" y="2295518"/>
            <a:ext cx="3671151" cy="1270011"/>
          </a:xfrm>
          <a:prstGeom prst="rect">
            <a:avLst/>
          </a:prstGeom>
          <a:solidFill>
            <a:schemeClr val="bg2"/>
          </a:solidFill>
          <a:ln>
            <a:noFill/>
          </a:ln>
        </p:spPr>
        <p:txBody>
          <a:bodyPr spcFirstLastPara="1" wrap="square" lIns="72000" tIns="72000" rIns="72000" bIns="72000" anchor="t" anchorCtr="0">
            <a:noAutofit/>
          </a:bodyPr>
          <a:lstStyle/>
          <a:p>
            <a:pPr>
              <a:spcBef>
                <a:spcPts val="200"/>
              </a:spcBef>
              <a:spcAft>
                <a:spcPts val="600"/>
              </a:spcAft>
              <a:buClr>
                <a:schemeClr val="dk1"/>
              </a:buClr>
              <a:buSzPts val="1100"/>
            </a:pPr>
            <a:r>
              <a:rPr lang="en-US" sz="1000" dirty="0"/>
              <a:t>Our workforce individually and collectively </a:t>
            </a:r>
            <a:r>
              <a:rPr lang="en-US" sz="1000" dirty="0" smtClean="0"/>
              <a:t>has </a:t>
            </a:r>
            <a:r>
              <a:rPr lang="en-US" sz="1000" dirty="0"/>
              <a:t>a strong belief in the Commission’s purpose and vision. The workforce is deeply committed and passionate about enabling people with disability to achieve their aspirations by keeping people with disability at the heart of what we do and every decision we make. Day to day, this means that we regularly go above and beyond in trying to meet the needs of participants and working with service providers. </a:t>
            </a:r>
          </a:p>
          <a:p>
            <a:pPr>
              <a:spcBef>
                <a:spcPts val="200"/>
              </a:spcBef>
              <a:spcAft>
                <a:spcPts val="600"/>
              </a:spcAft>
              <a:buClr>
                <a:schemeClr val="dk1"/>
              </a:buClr>
              <a:buSzPts val="1100"/>
            </a:pPr>
            <a:r>
              <a:rPr lang="en-US" sz="1000" dirty="0"/>
              <a:t> </a:t>
            </a:r>
            <a:endParaRPr lang="en-AU" sz="1000" dirty="0"/>
          </a:p>
        </p:txBody>
      </p:sp>
      <p:sp>
        <p:nvSpPr>
          <p:cNvPr id="133" name="TextBox 132">
            <a:extLst>
              <a:ext uri="{FF2B5EF4-FFF2-40B4-BE49-F238E27FC236}">
                <a16:creationId xmlns:a16="http://schemas.microsoft.com/office/drawing/2014/main" id="{D9807B97-35C1-4EFD-9D56-01ACF64103B7}"/>
              </a:ext>
            </a:extLst>
          </p:cNvPr>
          <p:cNvSpPr txBox="1"/>
          <p:nvPr/>
        </p:nvSpPr>
        <p:spPr>
          <a:xfrm rot="5400000">
            <a:off x="5106477" y="-396897"/>
            <a:ext cx="2088194" cy="11193009"/>
          </a:xfrm>
          <a:prstGeom prst="rect">
            <a:avLst/>
          </a:prstGeom>
          <a:noFill/>
          <a:ln>
            <a:solidFill>
              <a:schemeClr val="bg2">
                <a:lumMod val="90000"/>
              </a:schemeClr>
            </a:solidFill>
          </a:ln>
        </p:spPr>
        <p:txBody>
          <a:bodyPr wrap="square" tIns="90000" bIns="90000" anchor="t">
            <a:noAutofit/>
          </a:bodyPr>
          <a:lstStyle>
            <a:defPPr>
              <a:defRPr lang="en-US"/>
            </a:defPPr>
            <a:lvl1pPr algn="ctr">
              <a:spcAft>
                <a:spcPts val="600"/>
              </a:spcAft>
              <a:defRPr sz="1400" b="1">
                <a:solidFill>
                  <a:schemeClr val="bg1"/>
                </a:solidFill>
              </a:defRPr>
            </a:lvl1pPr>
          </a:lstStyle>
          <a:p>
            <a:pPr algn="l"/>
            <a:endParaRPr lang="en-AU" sz="1050" dirty="0">
              <a:solidFill>
                <a:schemeClr val="tx1"/>
              </a:solidFill>
            </a:endParaRPr>
          </a:p>
        </p:txBody>
      </p:sp>
      <p:sp>
        <p:nvSpPr>
          <p:cNvPr id="16" name="Rectangle 15">
            <a:extLst>
              <a:ext uri="{FF2B5EF4-FFF2-40B4-BE49-F238E27FC236}">
                <a16:creationId xmlns:a16="http://schemas.microsoft.com/office/drawing/2014/main" id="{7008C5DE-3CDF-468F-938D-A6E26F5D5E60}"/>
              </a:ext>
            </a:extLst>
          </p:cNvPr>
          <p:cNvSpPr/>
          <p:nvPr/>
        </p:nvSpPr>
        <p:spPr>
          <a:xfrm>
            <a:off x="4493773" y="4301231"/>
            <a:ext cx="3330874" cy="58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95" name="Straight Connector 94">
            <a:extLst>
              <a:ext uri="{FF2B5EF4-FFF2-40B4-BE49-F238E27FC236}">
                <a16:creationId xmlns:a16="http://schemas.microsoft.com/office/drawing/2014/main" id="{9183C37F-FD00-4D4D-B6F0-CEBE270BFC35}"/>
              </a:ext>
            </a:extLst>
          </p:cNvPr>
          <p:cNvCxnSpPr>
            <a:cxnSpLocks/>
          </p:cNvCxnSpPr>
          <p:nvPr/>
        </p:nvCxnSpPr>
        <p:spPr>
          <a:xfrm>
            <a:off x="6095040" y="4863323"/>
            <a:ext cx="1" cy="181052"/>
          </a:xfrm>
          <a:prstGeom prst="line">
            <a:avLst/>
          </a:prstGeom>
          <a:ln w="28575" cap="sq">
            <a:solidFill>
              <a:schemeClr val="accent6"/>
            </a:solidFill>
          </a:ln>
        </p:spPr>
        <p:style>
          <a:lnRef idx="1">
            <a:schemeClr val="accent1"/>
          </a:lnRef>
          <a:fillRef idx="0">
            <a:schemeClr val="accent1"/>
          </a:fillRef>
          <a:effectRef idx="0">
            <a:schemeClr val="dk1"/>
          </a:effectRef>
          <a:fontRef idx="minor">
            <a:schemeClr val="lt1"/>
          </a:fontRef>
        </p:style>
      </p:cxn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120544" cy="992778"/>
          </a:xfrm>
        </p:spPr>
        <p:txBody>
          <a:bodyPr>
            <a:normAutofit/>
          </a:bodyPr>
          <a:lstStyle/>
          <a:p>
            <a:pPr>
              <a:lnSpc>
                <a:spcPct val="100000"/>
              </a:lnSpc>
            </a:pPr>
            <a:r>
              <a:rPr lang="en-US" sz="2400" dirty="0">
                <a:solidFill>
                  <a:schemeClr val="tx2"/>
                </a:solidFill>
              </a:rPr>
              <a:t>This </a:t>
            </a:r>
            <a:r>
              <a:rPr lang="en-US" sz="2400" dirty="0" smtClean="0">
                <a:solidFill>
                  <a:schemeClr val="tx2"/>
                </a:solidFill>
              </a:rPr>
              <a:t>Plan </a:t>
            </a:r>
            <a:r>
              <a:rPr lang="en-US" sz="2400" dirty="0">
                <a:solidFill>
                  <a:schemeClr val="tx2"/>
                </a:solidFill>
              </a:rPr>
              <a:t>builds on the existing strengths of our workforce and the work already underway across the Commission </a:t>
            </a:r>
            <a:endParaRPr lang="en-AU" sz="2400" dirty="0">
              <a:solidFill>
                <a:schemeClr val="tx2"/>
              </a:solidFill>
            </a:endParaRPr>
          </a:p>
        </p:txBody>
      </p:sp>
      <p:sp>
        <p:nvSpPr>
          <p:cNvPr id="72" name="Google Shape;1079;gc03bc37692_1_32">
            <a:extLst>
              <a:ext uri="{FF2B5EF4-FFF2-40B4-BE49-F238E27FC236}">
                <a16:creationId xmlns:a16="http://schemas.microsoft.com/office/drawing/2014/main" id="{6BE6A21A-824F-463C-8AF3-3D2BAAD72004}"/>
              </a:ext>
            </a:extLst>
          </p:cNvPr>
          <p:cNvSpPr/>
          <p:nvPr/>
        </p:nvSpPr>
        <p:spPr>
          <a:xfrm>
            <a:off x="504452" y="1549295"/>
            <a:ext cx="3670388" cy="785169"/>
          </a:xfrm>
          <a:prstGeom prst="rect">
            <a:avLst/>
          </a:prstGeom>
          <a:solidFill>
            <a:schemeClr val="accent1"/>
          </a:solidFill>
          <a:ln>
            <a:noFill/>
          </a:ln>
        </p:spPr>
        <p:txBody>
          <a:bodyPr spcFirstLastPara="1" wrap="square" lIns="36567" tIns="60933" rIns="121900" bIns="60933" anchor="ctr" anchorCtr="0">
            <a:noAutofit/>
          </a:bodyPr>
          <a:lstStyle/>
          <a:p>
            <a:pPr marL="628650">
              <a:buClr>
                <a:srgbClr val="000000"/>
              </a:buClr>
              <a:buSzPts val="1000"/>
            </a:pPr>
            <a:r>
              <a:rPr lang="en-AU" sz="1200" b="1" dirty="0">
                <a:solidFill>
                  <a:schemeClr val="lt1"/>
                </a:solidFill>
                <a:latin typeface="+mj-lt"/>
                <a:ea typeface="Arial"/>
                <a:cs typeface="Arial"/>
                <a:sym typeface="Arial"/>
              </a:rPr>
              <a:t>We are passionate and committed with a strong belief in our purpose</a:t>
            </a:r>
          </a:p>
        </p:txBody>
      </p:sp>
      <p:sp>
        <p:nvSpPr>
          <p:cNvPr id="8" name="Slide Number Placeholder 7">
            <a:extLst>
              <a:ext uri="{FF2B5EF4-FFF2-40B4-BE49-F238E27FC236}">
                <a16:creationId xmlns:a16="http://schemas.microsoft.com/office/drawing/2014/main" id="{AEB3DB4E-C6DD-E8D9-A1E6-D8EA4A134B39}"/>
              </a:ext>
            </a:extLst>
          </p:cNvPr>
          <p:cNvSpPr>
            <a:spLocks noGrp="1"/>
          </p:cNvSpPr>
          <p:nvPr>
            <p:ph type="sldNum" sz="quarter" idx="12"/>
          </p:nvPr>
        </p:nvSpPr>
        <p:spPr>
          <a:xfrm>
            <a:off x="10967668" y="6355784"/>
            <a:ext cx="362274" cy="180000"/>
          </a:xfrm>
        </p:spPr>
        <p:txBody>
          <a:bodyPr/>
          <a:lstStyle/>
          <a:p>
            <a:fld id="{C0F55C17-AF72-40D4-ADBD-B5505DEBF9BA}" type="slidenum">
              <a:rPr lang="en-AU" smtClean="0"/>
              <a:t>10</a:t>
            </a:fld>
            <a:endParaRPr lang="en-US" dirty="0"/>
          </a:p>
        </p:txBody>
      </p:sp>
      <p:sp>
        <p:nvSpPr>
          <p:cNvPr id="2" name="Footer Placeholder 1">
            <a:extLst>
              <a:ext uri="{FF2B5EF4-FFF2-40B4-BE49-F238E27FC236}">
                <a16:creationId xmlns:a16="http://schemas.microsoft.com/office/drawing/2014/main" id="{682EB032-3362-30F6-C0B0-B4C10FE25755}"/>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68" name="Google Shape;1079;gc03bc37692_1_32">
            <a:extLst>
              <a:ext uri="{FF2B5EF4-FFF2-40B4-BE49-F238E27FC236}">
                <a16:creationId xmlns:a16="http://schemas.microsoft.com/office/drawing/2014/main" id="{3635FCBE-F318-4DD4-B583-18868CF0A752}"/>
              </a:ext>
            </a:extLst>
          </p:cNvPr>
          <p:cNvSpPr/>
          <p:nvPr/>
        </p:nvSpPr>
        <p:spPr>
          <a:xfrm>
            <a:off x="7966044" y="5008050"/>
            <a:ext cx="3390732" cy="1005037"/>
          </a:xfrm>
          <a:prstGeom prst="rect">
            <a:avLst/>
          </a:prstGeom>
          <a:solidFill>
            <a:schemeClr val="tx2"/>
          </a:solidFill>
          <a:ln>
            <a:noFill/>
          </a:ln>
        </p:spPr>
        <p:txBody>
          <a:bodyPr spcFirstLastPara="1" wrap="square" lIns="36567" tIns="60933" rIns="121900" bIns="60933" anchor="ctr" anchorCtr="0">
            <a:noAutofit/>
          </a:bodyPr>
          <a:lstStyle/>
          <a:p>
            <a:pPr marL="898525">
              <a:buClr>
                <a:srgbClr val="000000"/>
              </a:buClr>
              <a:buSzPts val="1000"/>
            </a:pPr>
            <a:r>
              <a:rPr lang="en-AU" sz="900" dirty="0">
                <a:solidFill>
                  <a:schemeClr val="lt1"/>
                </a:solidFill>
                <a:latin typeface="+mj-lt"/>
                <a:cs typeface="Arial"/>
                <a:sym typeface="Arial"/>
              </a:rPr>
              <a:t>Strategic Initiatives Oversight (SIO) Group </a:t>
            </a:r>
            <a:r>
              <a:rPr lang="en-AU" sz="900" dirty="0">
                <a:solidFill>
                  <a:schemeClr val="lt1"/>
                </a:solidFill>
                <a:latin typeface="+mj-lt"/>
                <a:cs typeface="Arial"/>
              </a:rPr>
              <a:t>to drive cross-functional clarity across three strategic engagements* that will operationalise the strategic ambition of the Commission</a:t>
            </a:r>
            <a:endParaRPr lang="en-AU" sz="900" dirty="0">
              <a:solidFill>
                <a:schemeClr val="lt1"/>
              </a:solidFill>
              <a:latin typeface="+mj-lt"/>
              <a:cs typeface="Arial"/>
              <a:sym typeface="Arial"/>
            </a:endParaRPr>
          </a:p>
        </p:txBody>
      </p:sp>
      <p:sp>
        <p:nvSpPr>
          <p:cNvPr id="70" name="Google Shape;1079;gc03bc37692_1_32">
            <a:extLst>
              <a:ext uri="{FF2B5EF4-FFF2-40B4-BE49-F238E27FC236}">
                <a16:creationId xmlns:a16="http://schemas.microsoft.com/office/drawing/2014/main" id="{85A66BAB-6F03-4053-83AA-2862373AF92D}"/>
              </a:ext>
            </a:extLst>
          </p:cNvPr>
          <p:cNvSpPr/>
          <p:nvPr/>
        </p:nvSpPr>
        <p:spPr>
          <a:xfrm>
            <a:off x="4477962" y="5008052"/>
            <a:ext cx="3390732" cy="1005037"/>
          </a:xfrm>
          <a:prstGeom prst="rect">
            <a:avLst/>
          </a:prstGeom>
          <a:solidFill>
            <a:schemeClr val="tx2"/>
          </a:solidFill>
          <a:ln>
            <a:noFill/>
          </a:ln>
        </p:spPr>
        <p:txBody>
          <a:bodyPr spcFirstLastPara="1" wrap="square" lIns="36567" tIns="60933" rIns="121900" bIns="60933" anchor="ctr" anchorCtr="0">
            <a:noAutofit/>
          </a:bodyPr>
          <a:lstStyle/>
          <a:p>
            <a:pPr marL="895350" indent="3175">
              <a:buClr>
                <a:srgbClr val="000000"/>
              </a:buClr>
              <a:buSzPts val="1000"/>
            </a:pPr>
            <a:r>
              <a:rPr lang="en-AU" sz="900" dirty="0">
                <a:solidFill>
                  <a:schemeClr val="lt1"/>
                </a:solidFill>
                <a:latin typeface="+mj-lt"/>
                <a:ea typeface="Arial"/>
                <a:cs typeface="Arial"/>
                <a:sym typeface="Arial"/>
              </a:rPr>
              <a:t>Employee Census Working Group to  drive activity and future actions arising out of the recent APS Census </a:t>
            </a:r>
          </a:p>
        </p:txBody>
      </p:sp>
      <p:sp>
        <p:nvSpPr>
          <p:cNvPr id="73" name="Google Shape;1079;gc03bc37692_1_32">
            <a:extLst>
              <a:ext uri="{FF2B5EF4-FFF2-40B4-BE49-F238E27FC236}">
                <a16:creationId xmlns:a16="http://schemas.microsoft.com/office/drawing/2014/main" id="{4ED7EF59-C316-4D65-B5B2-9814FE5B7500}"/>
              </a:ext>
            </a:extLst>
          </p:cNvPr>
          <p:cNvSpPr/>
          <p:nvPr/>
        </p:nvSpPr>
        <p:spPr>
          <a:xfrm>
            <a:off x="989880" y="5008049"/>
            <a:ext cx="3390732" cy="1005037"/>
          </a:xfrm>
          <a:prstGeom prst="rect">
            <a:avLst/>
          </a:prstGeom>
          <a:solidFill>
            <a:schemeClr val="tx2"/>
          </a:solidFill>
          <a:ln>
            <a:noFill/>
          </a:ln>
        </p:spPr>
        <p:txBody>
          <a:bodyPr spcFirstLastPara="1" wrap="square" lIns="36567" tIns="60933" rIns="121900" bIns="60933" anchor="ctr" anchorCtr="0">
            <a:noAutofit/>
          </a:bodyPr>
          <a:lstStyle/>
          <a:p>
            <a:pPr marL="898525">
              <a:buClr>
                <a:srgbClr val="000000"/>
              </a:buClr>
              <a:buSzPts val="1000"/>
            </a:pPr>
            <a:r>
              <a:rPr lang="en-AU" sz="900" dirty="0">
                <a:solidFill>
                  <a:schemeClr val="lt1"/>
                </a:solidFill>
                <a:latin typeface="+mj-lt"/>
                <a:cs typeface="Arial"/>
                <a:sym typeface="Arial"/>
              </a:rPr>
              <a:t>Existing workforce initiatives contained within the Strategic Plan 2022-2027, Corporate Plan 2022-2027 and Staff feedback to the Commissioner such as a Rewards and Recognition Awards Program and Induction Program.  </a:t>
            </a:r>
            <a:endParaRPr lang="en-AU" sz="900" dirty="0">
              <a:solidFill>
                <a:schemeClr val="lt1"/>
              </a:solidFill>
              <a:latin typeface="+mj-lt"/>
              <a:cs typeface="Arial"/>
            </a:endParaRPr>
          </a:p>
        </p:txBody>
      </p:sp>
      <p:sp>
        <p:nvSpPr>
          <p:cNvPr id="66" name="Google Shape;492;p44">
            <a:extLst>
              <a:ext uri="{FF2B5EF4-FFF2-40B4-BE49-F238E27FC236}">
                <a16:creationId xmlns:a16="http://schemas.microsoft.com/office/drawing/2014/main" id="{B97826B5-97F2-42EB-BAB3-6EC0392F7668}"/>
              </a:ext>
            </a:extLst>
          </p:cNvPr>
          <p:cNvSpPr txBox="1"/>
          <p:nvPr/>
        </p:nvSpPr>
        <p:spPr>
          <a:xfrm>
            <a:off x="8031161" y="2295518"/>
            <a:ext cx="3665535" cy="1270011"/>
          </a:xfrm>
          <a:prstGeom prst="rect">
            <a:avLst/>
          </a:prstGeom>
          <a:solidFill>
            <a:schemeClr val="bg2"/>
          </a:solidFill>
          <a:ln>
            <a:noFill/>
          </a:ln>
        </p:spPr>
        <p:txBody>
          <a:bodyPr spcFirstLastPara="1" wrap="square" lIns="72000" tIns="72000" rIns="72000" bIns="72000" anchor="t" anchorCtr="0">
            <a:noAutofit/>
          </a:bodyPr>
          <a:lstStyle/>
          <a:p>
            <a:pPr>
              <a:spcBef>
                <a:spcPts val="200"/>
              </a:spcBef>
              <a:spcAft>
                <a:spcPts val="200"/>
              </a:spcAft>
              <a:buClr>
                <a:schemeClr val="dk1"/>
              </a:buClr>
              <a:buSzPts val="1100"/>
            </a:pPr>
            <a:r>
              <a:rPr lang="en-AU" sz="1000" dirty="0"/>
              <a:t>Showing empathy and care is in our DNA.</a:t>
            </a:r>
            <a:r>
              <a:rPr lang="en-AU" sz="1000" b="1" dirty="0">
                <a:latin typeface="+mj-lt"/>
                <a:ea typeface="Arial"/>
                <a:cs typeface="Arial"/>
                <a:sym typeface="Arial"/>
              </a:rPr>
              <a:t> </a:t>
            </a:r>
            <a:r>
              <a:rPr lang="en-AU" sz="1000" dirty="0">
                <a:latin typeface="+mj-lt"/>
                <a:ea typeface="Arial"/>
                <a:cs typeface="Arial"/>
                <a:sym typeface="Arial"/>
              </a:rPr>
              <a:t>We celebrate and draw upon our lived experiences, knowledge and passion to deliver quality consumer experiences everyday. We aim to always deliver positive experiences to participants, providers and colleagues across all roles and functions whether it be customer service, complaints, registrations or investigations.</a:t>
            </a:r>
            <a:endParaRPr lang="en-AU" sz="1000" dirty="0"/>
          </a:p>
        </p:txBody>
      </p:sp>
      <p:sp>
        <p:nvSpPr>
          <p:cNvPr id="75" name="Google Shape;495;p44">
            <a:extLst>
              <a:ext uri="{FF2B5EF4-FFF2-40B4-BE49-F238E27FC236}">
                <a16:creationId xmlns:a16="http://schemas.microsoft.com/office/drawing/2014/main" id="{27693808-6DF9-4890-AA3D-ECC69BF8EEAC}"/>
              </a:ext>
            </a:extLst>
          </p:cNvPr>
          <p:cNvSpPr txBox="1"/>
          <p:nvPr/>
        </p:nvSpPr>
        <p:spPr>
          <a:xfrm>
            <a:off x="4270230" y="2295520"/>
            <a:ext cx="3665535" cy="1270208"/>
          </a:xfrm>
          <a:prstGeom prst="rect">
            <a:avLst/>
          </a:prstGeom>
          <a:solidFill>
            <a:schemeClr val="bg2"/>
          </a:solidFill>
          <a:ln>
            <a:noFill/>
          </a:ln>
        </p:spPr>
        <p:txBody>
          <a:bodyPr spcFirstLastPara="1" wrap="square" lIns="72000" tIns="72000" rIns="72000" bIns="72000" anchor="t" anchorCtr="0">
            <a:noAutofit/>
          </a:bodyPr>
          <a:lstStyle/>
          <a:p>
            <a:pPr>
              <a:spcBef>
                <a:spcPts val="200"/>
              </a:spcBef>
              <a:spcAft>
                <a:spcPts val="200"/>
              </a:spcAft>
            </a:pPr>
            <a:r>
              <a:rPr lang="en-AU" sz="1000" dirty="0"/>
              <a:t>Our workforce joined the Commission to be a part of our important </a:t>
            </a:r>
            <a:r>
              <a:rPr lang="en-AU" sz="1000" dirty="0" smtClean="0"/>
              <a:t>work, </a:t>
            </a:r>
            <a:r>
              <a:rPr lang="en-AU" sz="1000" dirty="0"/>
              <a:t>bringing diverse experience and knowledge across the disability and related sectors. </a:t>
            </a:r>
            <a:r>
              <a:rPr lang="en-AU" sz="1000" dirty="0" smtClean="0"/>
              <a:t>The Commission </a:t>
            </a:r>
            <a:r>
              <a:rPr lang="en-AU" sz="1000" dirty="0"/>
              <a:t>has the ability to tap into and access the collective workforce knowledge, skills and experience across the sector ecosystem. We must continue to foster, harness and diversify this experience within the regulatory context.</a:t>
            </a:r>
          </a:p>
          <a:p>
            <a:pPr>
              <a:spcBef>
                <a:spcPts val="200"/>
              </a:spcBef>
              <a:spcAft>
                <a:spcPts val="200"/>
              </a:spcAft>
            </a:pPr>
            <a:endParaRPr lang="en-AU" sz="1000" dirty="0"/>
          </a:p>
        </p:txBody>
      </p:sp>
      <p:sp>
        <p:nvSpPr>
          <p:cNvPr id="92" name="TextBox 91">
            <a:extLst>
              <a:ext uri="{FF2B5EF4-FFF2-40B4-BE49-F238E27FC236}">
                <a16:creationId xmlns:a16="http://schemas.microsoft.com/office/drawing/2014/main" id="{233CCC11-1D8C-4350-ABA9-DD00A977036F}"/>
              </a:ext>
            </a:extLst>
          </p:cNvPr>
          <p:cNvSpPr txBox="1"/>
          <p:nvPr/>
        </p:nvSpPr>
        <p:spPr>
          <a:xfrm>
            <a:off x="4265382" y="4204891"/>
            <a:ext cx="3497262" cy="619913"/>
          </a:xfrm>
          <a:prstGeom prst="rect">
            <a:avLst/>
          </a:prstGeom>
          <a:noFill/>
        </p:spPr>
        <p:txBody>
          <a:bodyPr wrap="square" lIns="0" tIns="0" rIns="0" bIns="0" rtlCol="0">
            <a:noAutofit/>
          </a:bodyPr>
          <a:lstStyle/>
          <a:p>
            <a:pPr algn="ctr">
              <a:spcAft>
                <a:spcPts val="600"/>
              </a:spcAft>
              <a:buSzPct val="100000"/>
            </a:pPr>
            <a:r>
              <a:rPr lang="en-US" sz="1000" dirty="0">
                <a:latin typeface="+mj-lt"/>
              </a:rPr>
              <a:t>We already have work underway in areas such as employee recognition, induction and onboarding, leadership development, organisational capability analysis and wellbeing through existing initiatives and working groups.</a:t>
            </a:r>
          </a:p>
          <a:p>
            <a:pPr algn="ctr">
              <a:spcAft>
                <a:spcPts val="600"/>
              </a:spcAft>
              <a:buSzPct val="100000"/>
            </a:pPr>
            <a:endParaRPr lang="en-AU" sz="1050" b="1" dirty="0">
              <a:solidFill>
                <a:schemeClr val="tx2"/>
              </a:solidFill>
              <a:latin typeface="+mj-lt"/>
            </a:endParaRPr>
          </a:p>
        </p:txBody>
      </p:sp>
      <p:sp>
        <p:nvSpPr>
          <p:cNvPr id="113" name="Google Shape;1079;gc03bc37692_1_32">
            <a:extLst>
              <a:ext uri="{FF2B5EF4-FFF2-40B4-BE49-F238E27FC236}">
                <a16:creationId xmlns:a16="http://schemas.microsoft.com/office/drawing/2014/main" id="{FFB0A398-DC47-402B-B446-39BA37381A8E}"/>
              </a:ext>
            </a:extLst>
          </p:cNvPr>
          <p:cNvSpPr/>
          <p:nvPr/>
        </p:nvSpPr>
        <p:spPr>
          <a:xfrm>
            <a:off x="8026311" y="1547131"/>
            <a:ext cx="3670388" cy="787333"/>
          </a:xfrm>
          <a:prstGeom prst="rect">
            <a:avLst/>
          </a:prstGeom>
          <a:solidFill>
            <a:schemeClr val="accent1"/>
          </a:solidFill>
          <a:ln>
            <a:noFill/>
          </a:ln>
        </p:spPr>
        <p:txBody>
          <a:bodyPr spcFirstLastPara="1" wrap="square" lIns="36567" tIns="60933" rIns="121900" bIns="60933" anchor="ctr" anchorCtr="0">
            <a:noAutofit/>
          </a:bodyPr>
          <a:lstStyle/>
          <a:p>
            <a:pPr marL="625475" indent="3175">
              <a:buClr>
                <a:srgbClr val="000000"/>
              </a:buClr>
              <a:buSzPts val="1000"/>
            </a:pPr>
            <a:r>
              <a:rPr lang="en-AU" sz="1200" b="1" dirty="0">
                <a:solidFill>
                  <a:schemeClr val="lt1"/>
                </a:solidFill>
                <a:latin typeface="+mj-lt"/>
                <a:ea typeface="Arial"/>
                <a:cs typeface="Arial"/>
                <a:sym typeface="Arial"/>
              </a:rPr>
              <a:t>We show empathy and care in working with participants, providers and the disability sector</a:t>
            </a:r>
          </a:p>
        </p:txBody>
      </p:sp>
      <p:sp>
        <p:nvSpPr>
          <p:cNvPr id="112" name="Google Shape;1079;gc03bc37692_1_32">
            <a:extLst>
              <a:ext uri="{FF2B5EF4-FFF2-40B4-BE49-F238E27FC236}">
                <a16:creationId xmlns:a16="http://schemas.microsoft.com/office/drawing/2014/main" id="{64DDEE93-C7FF-43AD-AC34-14280F01545D}"/>
              </a:ext>
            </a:extLst>
          </p:cNvPr>
          <p:cNvSpPr/>
          <p:nvPr/>
        </p:nvSpPr>
        <p:spPr>
          <a:xfrm>
            <a:off x="4265382" y="1549293"/>
            <a:ext cx="3670388" cy="787333"/>
          </a:xfrm>
          <a:prstGeom prst="rect">
            <a:avLst/>
          </a:prstGeom>
          <a:solidFill>
            <a:schemeClr val="accent1"/>
          </a:solidFill>
          <a:ln>
            <a:noFill/>
          </a:ln>
        </p:spPr>
        <p:txBody>
          <a:bodyPr spcFirstLastPara="1" wrap="square" lIns="36567" tIns="60933" rIns="121900" bIns="60933" anchor="ctr" anchorCtr="0">
            <a:noAutofit/>
          </a:bodyPr>
          <a:lstStyle/>
          <a:p>
            <a:pPr marL="628650">
              <a:buClr>
                <a:srgbClr val="000000"/>
              </a:buClr>
              <a:buSzPts val="1000"/>
            </a:pPr>
            <a:r>
              <a:rPr lang="en-AU" sz="1200" b="1" dirty="0">
                <a:solidFill>
                  <a:schemeClr val="lt1"/>
                </a:solidFill>
                <a:latin typeface="+mj-lt"/>
                <a:ea typeface="Arial"/>
                <a:cs typeface="Arial"/>
                <a:sym typeface="Arial"/>
              </a:rPr>
              <a:t>We bring diverse knowledge, expertise and experience working in disability and related sectors </a:t>
            </a:r>
          </a:p>
        </p:txBody>
      </p:sp>
      <p:sp>
        <p:nvSpPr>
          <p:cNvPr id="111" name="Google Shape;162;p4">
            <a:extLst>
              <a:ext uri="{FF2B5EF4-FFF2-40B4-BE49-F238E27FC236}">
                <a16:creationId xmlns:a16="http://schemas.microsoft.com/office/drawing/2014/main" id="{F296DF83-4D1E-4C9F-9D4E-52DC0014780C}"/>
              </a:ext>
            </a:extLst>
          </p:cNvPr>
          <p:cNvSpPr/>
          <p:nvPr/>
        </p:nvSpPr>
        <p:spPr>
          <a:xfrm>
            <a:off x="8119182" y="1740817"/>
            <a:ext cx="468000" cy="468000"/>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130" name="Freeform 37">
            <a:extLst>
              <a:ext uri="{FF2B5EF4-FFF2-40B4-BE49-F238E27FC236}">
                <a16:creationId xmlns:a16="http://schemas.microsoft.com/office/drawing/2014/main" id="{3AAD0555-FC5D-4F5B-94B4-E69AA8735F64}"/>
              </a:ext>
            </a:extLst>
          </p:cNvPr>
          <p:cNvSpPr>
            <a:spLocks noEditPoints="1"/>
          </p:cNvSpPr>
          <p:nvPr/>
        </p:nvSpPr>
        <p:spPr bwMode="auto">
          <a:xfrm>
            <a:off x="4365964" y="1728521"/>
            <a:ext cx="468000" cy="468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142" name="TextBox 141">
            <a:extLst>
              <a:ext uri="{FF2B5EF4-FFF2-40B4-BE49-F238E27FC236}">
                <a16:creationId xmlns:a16="http://schemas.microsoft.com/office/drawing/2014/main" id="{9DC54781-F7BB-4116-84A6-A075A70ED33A}"/>
              </a:ext>
            </a:extLst>
          </p:cNvPr>
          <p:cNvSpPr txBox="1"/>
          <p:nvPr/>
        </p:nvSpPr>
        <p:spPr>
          <a:xfrm>
            <a:off x="914604" y="6028261"/>
            <a:ext cx="7298720" cy="215444"/>
          </a:xfrm>
          <a:prstGeom prst="rect">
            <a:avLst/>
          </a:prstGeom>
          <a:noFill/>
        </p:spPr>
        <p:txBody>
          <a:bodyPr wrap="square">
            <a:spAutoFit/>
          </a:bodyPr>
          <a:lstStyle/>
          <a:p>
            <a:pPr algn="l"/>
            <a:r>
              <a:rPr lang="en-US" sz="800" dirty="0">
                <a:solidFill>
                  <a:schemeClr val="tx1"/>
                </a:solidFill>
              </a:rPr>
              <a:t>* Regulatory </a:t>
            </a:r>
            <a:r>
              <a:rPr lang="en-US" sz="800" dirty="0" smtClean="0">
                <a:solidFill>
                  <a:schemeClr val="tx1"/>
                </a:solidFill>
              </a:rPr>
              <a:t>Approach </a:t>
            </a:r>
            <a:r>
              <a:rPr lang="en-US" sz="800" dirty="0">
                <a:solidFill>
                  <a:schemeClr val="tx1"/>
                </a:solidFill>
              </a:rPr>
              <a:t>and Operating Model, Data and Digital </a:t>
            </a:r>
            <a:r>
              <a:rPr lang="en-US" sz="800" dirty="0" smtClean="0"/>
              <a:t>Roadmap</a:t>
            </a:r>
            <a:r>
              <a:rPr lang="en-US" sz="800" dirty="0" smtClean="0">
                <a:solidFill>
                  <a:schemeClr val="tx1"/>
                </a:solidFill>
              </a:rPr>
              <a:t> </a:t>
            </a:r>
            <a:r>
              <a:rPr lang="en-US" sz="800" dirty="0">
                <a:solidFill>
                  <a:schemeClr val="tx1"/>
                </a:solidFill>
              </a:rPr>
              <a:t>and Workforce </a:t>
            </a:r>
            <a:r>
              <a:rPr lang="en-US" sz="800" dirty="0" smtClean="0"/>
              <a:t>Plan</a:t>
            </a:r>
            <a:r>
              <a:rPr lang="en-US" sz="800" dirty="0" smtClean="0">
                <a:solidFill>
                  <a:schemeClr val="tx1"/>
                </a:solidFill>
              </a:rPr>
              <a:t> </a:t>
            </a:r>
            <a:endParaRPr lang="en-US" sz="800" dirty="0">
              <a:solidFill>
                <a:schemeClr val="tx1"/>
              </a:solidFill>
            </a:endParaRPr>
          </a:p>
        </p:txBody>
      </p:sp>
      <p:sp>
        <p:nvSpPr>
          <p:cNvPr id="19" name="Rectangle 18">
            <a:extLst>
              <a:ext uri="{FF2B5EF4-FFF2-40B4-BE49-F238E27FC236}">
                <a16:creationId xmlns:a16="http://schemas.microsoft.com/office/drawing/2014/main" id="{85565C0D-798E-486B-84DF-CAA8A367E0EB}"/>
              </a:ext>
            </a:extLst>
          </p:cNvPr>
          <p:cNvSpPr/>
          <p:nvPr/>
        </p:nvSpPr>
        <p:spPr>
          <a:xfrm>
            <a:off x="8072094" y="5185104"/>
            <a:ext cx="750490" cy="685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60" name="Graphic 20" descr="decorative">
            <a:extLst>
              <a:ext uri="{FF2B5EF4-FFF2-40B4-BE49-F238E27FC236}">
                <a16:creationId xmlns:a16="http://schemas.microsoft.com/office/drawing/2014/main" id="{05C5D084-DBB2-43BB-BE48-AE62F3D7F85A}"/>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8107593" y="5221373"/>
            <a:ext cx="618083" cy="597818"/>
          </a:xfrm>
          <a:prstGeom prst="rect">
            <a:avLst/>
          </a:prstGeom>
        </p:spPr>
      </p:pic>
      <p:sp>
        <p:nvSpPr>
          <p:cNvPr id="63" name="Rectangle 62">
            <a:extLst>
              <a:ext uri="{FF2B5EF4-FFF2-40B4-BE49-F238E27FC236}">
                <a16:creationId xmlns:a16="http://schemas.microsoft.com/office/drawing/2014/main" id="{5CB54E0A-3D32-4A01-9EC4-155F0E47C142}"/>
              </a:ext>
            </a:extLst>
          </p:cNvPr>
          <p:cNvSpPr/>
          <p:nvPr/>
        </p:nvSpPr>
        <p:spPr>
          <a:xfrm>
            <a:off x="1085784" y="5172303"/>
            <a:ext cx="750490" cy="685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4" name="Rectangle 63">
            <a:extLst>
              <a:ext uri="{FF2B5EF4-FFF2-40B4-BE49-F238E27FC236}">
                <a16:creationId xmlns:a16="http://schemas.microsoft.com/office/drawing/2014/main" id="{9BE034C2-0290-4B1C-B587-68B73EB9E1E6}"/>
              </a:ext>
            </a:extLst>
          </p:cNvPr>
          <p:cNvSpPr/>
          <p:nvPr/>
        </p:nvSpPr>
        <p:spPr>
          <a:xfrm>
            <a:off x="4599751" y="5168034"/>
            <a:ext cx="750490" cy="685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65" name="Graphic 22" descr="decorative">
            <a:extLst>
              <a:ext uri="{FF2B5EF4-FFF2-40B4-BE49-F238E27FC236}">
                <a16:creationId xmlns:a16="http://schemas.microsoft.com/office/drawing/2014/main" id="{ED81888A-EFB3-440C-84F1-E0004202B3D4}"/>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1152963" y="5215855"/>
            <a:ext cx="585394" cy="585394"/>
          </a:xfrm>
          <a:prstGeom prst="rect">
            <a:avLst/>
          </a:prstGeom>
        </p:spPr>
      </p:pic>
      <p:pic>
        <p:nvPicPr>
          <p:cNvPr id="59" name="Graphic 58" descr="decorative">
            <a:extLst>
              <a:ext uri="{FF2B5EF4-FFF2-40B4-BE49-F238E27FC236}">
                <a16:creationId xmlns:a16="http://schemas.microsoft.com/office/drawing/2014/main" id="{EEC92F1D-7A32-44C2-BB24-0A45F3760E97}"/>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4614411" y="5245113"/>
            <a:ext cx="697288" cy="500617"/>
          </a:xfrm>
          <a:prstGeom prst="rect">
            <a:avLst/>
          </a:prstGeom>
        </p:spPr>
      </p:pic>
      <p:sp>
        <p:nvSpPr>
          <p:cNvPr id="120" name="Speech Bubble: Rectangle 119">
            <a:extLst>
              <a:ext uri="{FF2B5EF4-FFF2-40B4-BE49-F238E27FC236}">
                <a16:creationId xmlns:a16="http://schemas.microsoft.com/office/drawing/2014/main" id="{66A72DB5-08E3-4E90-AA3F-B550D0F37BF9}"/>
              </a:ext>
            </a:extLst>
          </p:cNvPr>
          <p:cNvSpPr/>
          <p:nvPr/>
        </p:nvSpPr>
        <p:spPr>
          <a:xfrm>
            <a:off x="9738671" y="4063696"/>
            <a:ext cx="2199938" cy="983712"/>
          </a:xfrm>
          <a:prstGeom prst="wedgeRectCallout">
            <a:avLst>
              <a:gd name="adj1" fmla="val -53171"/>
              <a:gd name="adj2" fmla="val -27491"/>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r>
              <a:rPr lang="en-AU" sz="900" dirty="0">
                <a:solidFill>
                  <a:schemeClr val="bg1"/>
                </a:solidFill>
                <a:highlight>
                  <a:srgbClr val="9DC44D"/>
                </a:highlight>
                <a:latin typeface="+mj-lt"/>
                <a:ea typeface="Helvetica Neue"/>
                <a:cs typeface="Helvetica Neue" panose="020B0604020202020204" charset="0"/>
                <a:sym typeface="Helvetica Neue"/>
              </a:rPr>
              <a:t>Throughout this </a:t>
            </a:r>
            <a:r>
              <a:rPr lang="en-AU" sz="900" dirty="0" smtClean="0">
                <a:solidFill>
                  <a:schemeClr val="bg1"/>
                </a:solidFill>
                <a:highlight>
                  <a:srgbClr val="9DC44D"/>
                </a:highlight>
                <a:latin typeface="+mj-lt"/>
                <a:ea typeface="Helvetica Neue"/>
                <a:cs typeface="Helvetica Neue" panose="020B0604020202020204" charset="0"/>
                <a:sym typeface="Helvetica Neue"/>
              </a:rPr>
              <a:t>Plan </a:t>
            </a:r>
            <a:r>
              <a:rPr lang="en-AU" sz="900" dirty="0">
                <a:solidFill>
                  <a:schemeClr val="bg1"/>
                </a:solidFill>
                <a:highlight>
                  <a:srgbClr val="9DC44D"/>
                </a:highlight>
                <a:latin typeface="+mj-lt"/>
                <a:ea typeface="Helvetica Neue"/>
                <a:cs typeface="Helvetica Neue" panose="020B0604020202020204" charset="0"/>
                <a:sym typeface="Helvetica Neue"/>
              </a:rPr>
              <a:t>you will find references to the workforce strength icons  shown here, linking our work to our people.</a:t>
            </a:r>
            <a:endParaRPr lang="en-AU" sz="9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96" name="Group 95">
            <a:extLst>
              <a:ext uri="{FF2B5EF4-FFF2-40B4-BE49-F238E27FC236}">
                <a16:creationId xmlns:a16="http://schemas.microsoft.com/office/drawing/2014/main" id="{E439B05B-DDFE-441F-B949-4EFE2859BAA7}"/>
              </a:ext>
            </a:extLst>
          </p:cNvPr>
          <p:cNvGrpSpPr/>
          <p:nvPr/>
        </p:nvGrpSpPr>
        <p:grpSpPr>
          <a:xfrm>
            <a:off x="10142013" y="4601450"/>
            <a:ext cx="396000" cy="396000"/>
            <a:chOff x="627146" y="1619763"/>
            <a:chExt cx="396000" cy="396000"/>
          </a:xfrm>
        </p:grpSpPr>
        <p:sp>
          <p:nvSpPr>
            <p:cNvPr id="97" name="Rectangle 96">
              <a:extLst>
                <a:ext uri="{FF2B5EF4-FFF2-40B4-BE49-F238E27FC236}">
                  <a16:creationId xmlns:a16="http://schemas.microsoft.com/office/drawing/2014/main" id="{39C44444-B0FA-4CFC-BED9-02856E4653E4}"/>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8" name="Freeform 118">
              <a:extLst>
                <a:ext uri="{FF2B5EF4-FFF2-40B4-BE49-F238E27FC236}">
                  <a16:creationId xmlns:a16="http://schemas.microsoft.com/office/drawing/2014/main" id="{50B4DEFD-588B-4C49-A098-208C490A82DB}"/>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99" name="Freeform 119">
              <a:extLst>
                <a:ext uri="{FF2B5EF4-FFF2-40B4-BE49-F238E27FC236}">
                  <a16:creationId xmlns:a16="http://schemas.microsoft.com/office/drawing/2014/main" id="{6C9580DB-A795-4883-A0DC-81226CA701AD}"/>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0" name="Freeform 120">
              <a:extLst>
                <a:ext uri="{FF2B5EF4-FFF2-40B4-BE49-F238E27FC236}">
                  <a16:creationId xmlns:a16="http://schemas.microsoft.com/office/drawing/2014/main" id="{A6311232-1896-42E5-B581-99D9B804E377}"/>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1" name="Freeform 121">
              <a:extLst>
                <a:ext uri="{FF2B5EF4-FFF2-40B4-BE49-F238E27FC236}">
                  <a16:creationId xmlns:a16="http://schemas.microsoft.com/office/drawing/2014/main" id="{4963C2BA-E824-4EB2-B9DC-DC0CF1D183E2}"/>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2" name="Freeform 122">
              <a:extLst>
                <a:ext uri="{FF2B5EF4-FFF2-40B4-BE49-F238E27FC236}">
                  <a16:creationId xmlns:a16="http://schemas.microsoft.com/office/drawing/2014/main" id="{8B526DE0-7964-4F4F-AE1F-5331917DCA09}"/>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3" name="Freeform 124">
              <a:extLst>
                <a:ext uri="{FF2B5EF4-FFF2-40B4-BE49-F238E27FC236}">
                  <a16:creationId xmlns:a16="http://schemas.microsoft.com/office/drawing/2014/main" id="{99C09ACF-1258-4982-9D80-E56BA88AA4AD}"/>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4" name="Freeform 128">
              <a:extLst>
                <a:ext uri="{FF2B5EF4-FFF2-40B4-BE49-F238E27FC236}">
                  <a16:creationId xmlns:a16="http://schemas.microsoft.com/office/drawing/2014/main" id="{BF9E08A2-3B98-4D4D-937C-16FD0C562625}"/>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5" name="Freeform 129">
              <a:extLst>
                <a:ext uri="{FF2B5EF4-FFF2-40B4-BE49-F238E27FC236}">
                  <a16:creationId xmlns:a16="http://schemas.microsoft.com/office/drawing/2014/main" id="{D2552E6F-3E87-4F72-8181-99146C096A8E}"/>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6" name="Freeform 130">
              <a:extLst>
                <a:ext uri="{FF2B5EF4-FFF2-40B4-BE49-F238E27FC236}">
                  <a16:creationId xmlns:a16="http://schemas.microsoft.com/office/drawing/2014/main" id="{5496E564-AFF6-4F1A-9089-32EE4FC19193}"/>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7" name="Freeform 131">
              <a:extLst>
                <a:ext uri="{FF2B5EF4-FFF2-40B4-BE49-F238E27FC236}">
                  <a16:creationId xmlns:a16="http://schemas.microsoft.com/office/drawing/2014/main" id="{9174FB26-EFBF-4DD5-8363-815ABBE0AEF4}"/>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8" name="Freeform 133">
              <a:extLst>
                <a:ext uri="{FF2B5EF4-FFF2-40B4-BE49-F238E27FC236}">
                  <a16:creationId xmlns:a16="http://schemas.microsoft.com/office/drawing/2014/main" id="{C937072B-4312-41FA-B93C-65B15AFFEE52}"/>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9" name="Freeform 134">
              <a:extLst>
                <a:ext uri="{FF2B5EF4-FFF2-40B4-BE49-F238E27FC236}">
                  <a16:creationId xmlns:a16="http://schemas.microsoft.com/office/drawing/2014/main" id="{9E4CEE8A-3640-4A05-ACB2-1AC1480D8FFF}"/>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10" name="Freeform 135">
              <a:extLst>
                <a:ext uri="{FF2B5EF4-FFF2-40B4-BE49-F238E27FC236}">
                  <a16:creationId xmlns:a16="http://schemas.microsoft.com/office/drawing/2014/main" id="{E023DB99-54DB-4475-A3AD-A3C31D155250}"/>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114" name="Google Shape;162;p4">
            <a:extLst>
              <a:ext uri="{FF2B5EF4-FFF2-40B4-BE49-F238E27FC236}">
                <a16:creationId xmlns:a16="http://schemas.microsoft.com/office/drawing/2014/main" id="{BFA9D991-CBED-400E-B299-FFA6E0B41941}"/>
              </a:ext>
            </a:extLst>
          </p:cNvPr>
          <p:cNvSpPr/>
          <p:nvPr/>
        </p:nvSpPr>
        <p:spPr>
          <a:xfrm>
            <a:off x="11082601" y="4601450"/>
            <a:ext cx="396000" cy="396000"/>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115" name="Freeform 37">
            <a:extLst>
              <a:ext uri="{FF2B5EF4-FFF2-40B4-BE49-F238E27FC236}">
                <a16:creationId xmlns:a16="http://schemas.microsoft.com/office/drawing/2014/main" id="{7F84F9D5-4206-4C3B-B25C-040BE6FF9DED}"/>
              </a:ext>
            </a:extLst>
          </p:cNvPr>
          <p:cNvSpPr>
            <a:spLocks noEditPoints="1"/>
          </p:cNvSpPr>
          <p:nvPr/>
        </p:nvSpPr>
        <p:spPr bwMode="auto">
          <a:xfrm>
            <a:off x="10612307" y="460145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69" name="TextBox 68">
            <a:extLst>
              <a:ext uri="{FF2B5EF4-FFF2-40B4-BE49-F238E27FC236}">
                <a16:creationId xmlns:a16="http://schemas.microsoft.com/office/drawing/2014/main" id="{BE700528-C767-4553-ADE5-7837EEFC79D2}"/>
              </a:ext>
            </a:extLst>
          </p:cNvPr>
          <p:cNvSpPr txBox="1"/>
          <p:nvPr/>
        </p:nvSpPr>
        <p:spPr>
          <a:xfrm>
            <a:off x="377578" y="3668299"/>
            <a:ext cx="11434924" cy="400110"/>
          </a:xfrm>
          <a:prstGeom prst="rect">
            <a:avLst/>
          </a:prstGeom>
          <a:noFill/>
        </p:spPr>
        <p:txBody>
          <a:bodyPr wrap="square">
            <a:spAutoFit/>
          </a:bodyPr>
          <a:lstStyle/>
          <a:p>
            <a:pPr algn="ctr">
              <a:spcBef>
                <a:spcPts val="500"/>
              </a:spcBef>
            </a:pPr>
            <a:r>
              <a:rPr lang="en-US" sz="1000" b="0" dirty="0">
                <a:solidFill>
                  <a:schemeClr val="bg1"/>
                </a:solidFill>
                <a:highlight>
                  <a:srgbClr val="9DC44D"/>
                </a:highlight>
              </a:rPr>
              <a:t>In discussions with staff and leaders it </a:t>
            </a:r>
            <a:r>
              <a:rPr lang="en-US" sz="1000" b="0" dirty="0" smtClean="0">
                <a:solidFill>
                  <a:schemeClr val="bg1"/>
                </a:solidFill>
                <a:highlight>
                  <a:srgbClr val="9DC44D"/>
                </a:highlight>
              </a:rPr>
              <a:t>was apparent </a:t>
            </a:r>
            <a:r>
              <a:rPr lang="en-US" sz="1000" b="0" dirty="0">
                <a:solidFill>
                  <a:schemeClr val="bg1"/>
                </a:solidFill>
                <a:highlight>
                  <a:srgbClr val="9DC44D"/>
                </a:highlight>
              </a:rPr>
              <a:t>that </a:t>
            </a:r>
            <a:r>
              <a:rPr lang="en-US" sz="1000" b="0" dirty="0" smtClean="0">
                <a:solidFill>
                  <a:schemeClr val="bg1"/>
                </a:solidFill>
                <a:highlight>
                  <a:srgbClr val="9DC44D"/>
                </a:highlight>
              </a:rPr>
              <a:t>a </a:t>
            </a:r>
            <a:r>
              <a:rPr lang="en-US" sz="1000" b="0" dirty="0">
                <a:solidFill>
                  <a:schemeClr val="bg1"/>
                </a:solidFill>
                <a:highlight>
                  <a:srgbClr val="9DC44D"/>
                </a:highlight>
              </a:rPr>
              <a:t>fulfilling </a:t>
            </a:r>
            <a:r>
              <a:rPr lang="en-US" sz="1000" b="1" dirty="0">
                <a:solidFill>
                  <a:schemeClr val="bg1"/>
                </a:solidFill>
                <a:highlight>
                  <a:srgbClr val="9DC44D"/>
                </a:highlight>
              </a:rPr>
              <a:t>career</a:t>
            </a:r>
            <a:r>
              <a:rPr lang="en-US" sz="1000" b="0" dirty="0">
                <a:solidFill>
                  <a:schemeClr val="bg1"/>
                </a:solidFill>
                <a:highlight>
                  <a:srgbClr val="9DC44D"/>
                </a:highlight>
              </a:rPr>
              <a:t>, </a:t>
            </a:r>
            <a:r>
              <a:rPr lang="en-US" sz="1000" b="0" dirty="0" smtClean="0">
                <a:solidFill>
                  <a:schemeClr val="bg1"/>
                </a:solidFill>
                <a:highlight>
                  <a:srgbClr val="9DC44D"/>
                </a:highlight>
              </a:rPr>
              <a:t>feeling </a:t>
            </a:r>
            <a:r>
              <a:rPr lang="en-US" sz="1000" b="0" dirty="0">
                <a:solidFill>
                  <a:schemeClr val="bg1"/>
                </a:solidFill>
                <a:highlight>
                  <a:srgbClr val="9DC44D"/>
                </a:highlight>
              </a:rPr>
              <a:t>connected to </a:t>
            </a:r>
            <a:r>
              <a:rPr lang="en-US" sz="1000" b="1" dirty="0">
                <a:solidFill>
                  <a:schemeClr val="bg1"/>
                </a:solidFill>
                <a:highlight>
                  <a:srgbClr val="9DC44D"/>
                </a:highlight>
              </a:rPr>
              <a:t>community</a:t>
            </a:r>
            <a:r>
              <a:rPr lang="en-US" sz="1000" dirty="0">
                <a:solidFill>
                  <a:schemeClr val="bg1"/>
                </a:solidFill>
                <a:highlight>
                  <a:srgbClr val="9DC44D"/>
                </a:highlight>
              </a:rPr>
              <a:t> </a:t>
            </a:r>
            <a:r>
              <a:rPr lang="en-US" sz="1000" b="0" dirty="0">
                <a:solidFill>
                  <a:schemeClr val="bg1"/>
                </a:solidFill>
                <a:highlight>
                  <a:srgbClr val="9DC44D"/>
                </a:highlight>
              </a:rPr>
              <a:t>and a </a:t>
            </a:r>
            <a:r>
              <a:rPr lang="en-US" sz="1000" b="0" dirty="0" smtClean="0">
                <a:solidFill>
                  <a:schemeClr val="bg1"/>
                </a:solidFill>
                <a:highlight>
                  <a:srgbClr val="9DC44D"/>
                </a:highlight>
              </a:rPr>
              <a:t>having a sense </a:t>
            </a:r>
            <a:r>
              <a:rPr lang="en-US" sz="1000" b="0" dirty="0">
                <a:solidFill>
                  <a:schemeClr val="bg1"/>
                </a:solidFill>
                <a:highlight>
                  <a:srgbClr val="9DC44D"/>
                </a:highlight>
              </a:rPr>
              <a:t>of pride and meaningful impact toward a </a:t>
            </a:r>
            <a:r>
              <a:rPr lang="en-US" sz="1000" b="1" dirty="0">
                <a:solidFill>
                  <a:schemeClr val="bg1"/>
                </a:solidFill>
                <a:highlight>
                  <a:srgbClr val="9DC44D"/>
                </a:highlight>
              </a:rPr>
              <a:t>cause</a:t>
            </a:r>
            <a:r>
              <a:rPr lang="en-US" sz="1000" b="0" dirty="0">
                <a:solidFill>
                  <a:schemeClr val="bg1"/>
                </a:solidFill>
                <a:highlight>
                  <a:srgbClr val="9DC44D"/>
                </a:highlight>
              </a:rPr>
              <a:t> are clear motivators for the workforce. Together, with our core strengths, these represent a key differentiator and central value proposition for the Commission to continue harnessing and celebrating into the future. </a:t>
            </a:r>
          </a:p>
        </p:txBody>
      </p:sp>
      <p:grpSp>
        <p:nvGrpSpPr>
          <p:cNvPr id="4" name="Group 3">
            <a:extLst>
              <a:ext uri="{FF2B5EF4-FFF2-40B4-BE49-F238E27FC236}">
                <a16:creationId xmlns:a16="http://schemas.microsoft.com/office/drawing/2014/main" id="{BA85ED35-83A3-4F2E-AC9A-83339D6AAC5E}"/>
              </a:ext>
            </a:extLst>
          </p:cNvPr>
          <p:cNvGrpSpPr/>
          <p:nvPr/>
        </p:nvGrpSpPr>
        <p:grpSpPr>
          <a:xfrm>
            <a:off x="627146" y="1706388"/>
            <a:ext cx="468000" cy="468000"/>
            <a:chOff x="627146" y="1619763"/>
            <a:chExt cx="396000" cy="396000"/>
          </a:xfrm>
        </p:grpSpPr>
        <p:sp>
          <p:nvSpPr>
            <p:cNvPr id="3" name="Rectangle 2">
              <a:extLst>
                <a:ext uri="{FF2B5EF4-FFF2-40B4-BE49-F238E27FC236}">
                  <a16:creationId xmlns:a16="http://schemas.microsoft.com/office/drawing/2014/main" id="{1459257E-3C70-4D7B-BF62-302BEC382FD7}"/>
                </a:ext>
              </a:extLst>
            </p:cNvPr>
            <p:cNvSpPr/>
            <p:nvPr/>
          </p:nvSpPr>
          <p:spPr>
            <a:xfrm>
              <a:off x="627146" y="1619763"/>
              <a:ext cx="396000" cy="396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8" name="Freeform 118">
              <a:extLst>
                <a:ext uri="{FF2B5EF4-FFF2-40B4-BE49-F238E27FC236}">
                  <a16:creationId xmlns:a16="http://schemas.microsoft.com/office/drawing/2014/main" id="{08B2D416-7AA1-4D20-BF7B-9A695281A392}"/>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9" name="Freeform 119">
              <a:extLst>
                <a:ext uri="{FF2B5EF4-FFF2-40B4-BE49-F238E27FC236}">
                  <a16:creationId xmlns:a16="http://schemas.microsoft.com/office/drawing/2014/main" id="{9F0EE762-AD22-4C64-A7FF-85C7D2DE2AC3}"/>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0" name="Freeform 120">
              <a:extLst>
                <a:ext uri="{FF2B5EF4-FFF2-40B4-BE49-F238E27FC236}">
                  <a16:creationId xmlns:a16="http://schemas.microsoft.com/office/drawing/2014/main" id="{2ECF20DE-9BBF-4ECD-841C-7217449CCCCA}"/>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1" name="Freeform 121">
              <a:extLst>
                <a:ext uri="{FF2B5EF4-FFF2-40B4-BE49-F238E27FC236}">
                  <a16:creationId xmlns:a16="http://schemas.microsoft.com/office/drawing/2014/main" id="{0843F229-5CCB-43AE-98D4-2F1B36147C8F}"/>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2" name="Freeform 122">
              <a:extLst>
                <a:ext uri="{FF2B5EF4-FFF2-40B4-BE49-F238E27FC236}">
                  <a16:creationId xmlns:a16="http://schemas.microsoft.com/office/drawing/2014/main" id="{C42475BD-C393-4437-8BBC-3EEDAC7B5FEC}"/>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3" name="Freeform 124">
              <a:extLst>
                <a:ext uri="{FF2B5EF4-FFF2-40B4-BE49-F238E27FC236}">
                  <a16:creationId xmlns:a16="http://schemas.microsoft.com/office/drawing/2014/main" id="{C5F492C3-C177-4279-BC98-C757E5471C8A}"/>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4" name="Freeform 128">
              <a:extLst>
                <a:ext uri="{FF2B5EF4-FFF2-40B4-BE49-F238E27FC236}">
                  <a16:creationId xmlns:a16="http://schemas.microsoft.com/office/drawing/2014/main" id="{E0FD72A2-5E5A-43F3-BAB7-2E1CCC3BEA40}"/>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5" name="Freeform 129">
              <a:extLst>
                <a:ext uri="{FF2B5EF4-FFF2-40B4-BE49-F238E27FC236}">
                  <a16:creationId xmlns:a16="http://schemas.microsoft.com/office/drawing/2014/main" id="{1BD37B30-FC21-4A36-B43B-3A314BFC43FF}"/>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6" name="Freeform 130">
              <a:extLst>
                <a:ext uri="{FF2B5EF4-FFF2-40B4-BE49-F238E27FC236}">
                  <a16:creationId xmlns:a16="http://schemas.microsoft.com/office/drawing/2014/main" id="{5495800A-5C20-4ED6-B2FB-E64008E7F363}"/>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7" name="Freeform 131">
              <a:extLst>
                <a:ext uri="{FF2B5EF4-FFF2-40B4-BE49-F238E27FC236}">
                  <a16:creationId xmlns:a16="http://schemas.microsoft.com/office/drawing/2014/main" id="{15B67216-661D-432A-8F8B-EF25F1CA8A45}"/>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9" name="Freeform 133">
              <a:extLst>
                <a:ext uri="{FF2B5EF4-FFF2-40B4-BE49-F238E27FC236}">
                  <a16:creationId xmlns:a16="http://schemas.microsoft.com/office/drawing/2014/main" id="{B7027D59-6E0D-49E6-A085-2298ACB266B3}"/>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90" name="Freeform 134">
              <a:extLst>
                <a:ext uri="{FF2B5EF4-FFF2-40B4-BE49-F238E27FC236}">
                  <a16:creationId xmlns:a16="http://schemas.microsoft.com/office/drawing/2014/main" id="{CFB541A1-73B4-4940-BFE9-6540452ED91B}"/>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91" name="Freeform 135">
              <a:extLst>
                <a:ext uri="{FF2B5EF4-FFF2-40B4-BE49-F238E27FC236}">
                  <a16:creationId xmlns:a16="http://schemas.microsoft.com/office/drawing/2014/main" id="{656D7A27-D3CC-4B58-8261-6B28313513B9}"/>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Tree>
    <p:extLst>
      <p:ext uri="{BB962C8B-B14F-4D97-AF65-F5344CB8AC3E}">
        <p14:creationId xmlns:p14="http://schemas.microsoft.com/office/powerpoint/2010/main" val="22398050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noAutofit/>
          </a:bodyPr>
          <a:lstStyle/>
          <a:p>
            <a:pPr>
              <a:lnSpc>
                <a:spcPct val="100000"/>
              </a:lnSpc>
            </a:pPr>
            <a:r>
              <a:rPr lang="en-AU" dirty="0"/>
              <a:t>3. Current State View </a:t>
            </a:r>
            <a:br>
              <a:rPr lang="en-AU" dirty="0"/>
            </a:br>
            <a:endParaRPr lang="en-AU" dirty="0"/>
          </a:p>
        </p:txBody>
      </p:sp>
      <p:sp>
        <p:nvSpPr>
          <p:cNvPr id="5" name="Slide Number Placeholder 4">
            <a:extLst>
              <a:ext uri="{FF2B5EF4-FFF2-40B4-BE49-F238E27FC236}">
                <a16:creationId xmlns:a16="http://schemas.microsoft.com/office/drawing/2014/main" id="{418092A4-1D1A-86CC-B5DD-88F9E6FAFEAA}"/>
              </a:ext>
            </a:extLst>
          </p:cNvPr>
          <p:cNvSpPr>
            <a:spLocks noGrp="1"/>
          </p:cNvSpPr>
          <p:nvPr>
            <p:ph type="sldNum" sz="quarter" idx="12"/>
          </p:nvPr>
        </p:nvSpPr>
        <p:spPr/>
        <p:txBody>
          <a:bodyPr/>
          <a:lstStyle/>
          <a:p>
            <a:fld id="{C0F55C17-AF72-40D4-ADBD-B5505DEBF9BA}" type="slidenum">
              <a:rPr lang="en-AU" smtClean="0"/>
              <a:pPr/>
              <a:t>11</a:t>
            </a:fld>
            <a:endParaRPr lang="en-US" dirty="0"/>
          </a:p>
        </p:txBody>
      </p:sp>
    </p:spTree>
    <p:extLst>
      <p:ext uri="{BB962C8B-B14F-4D97-AF65-F5344CB8AC3E}">
        <p14:creationId xmlns:p14="http://schemas.microsoft.com/office/powerpoint/2010/main" val="687461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575;p424">
            <a:extLst>
              <a:ext uri="{FF2B5EF4-FFF2-40B4-BE49-F238E27FC236}">
                <a16:creationId xmlns:a16="http://schemas.microsoft.com/office/drawing/2014/main" id="{2B821862-7EDB-4D19-9CAF-F0E31032EC40}"/>
              </a:ext>
            </a:extLst>
          </p:cNvPr>
          <p:cNvSpPr/>
          <p:nvPr/>
        </p:nvSpPr>
        <p:spPr>
          <a:xfrm>
            <a:off x="484442" y="1578031"/>
            <a:ext cx="5438034" cy="4775180"/>
          </a:xfrm>
          <a:prstGeom prst="rect">
            <a:avLst/>
          </a:prstGeom>
          <a:noFill/>
          <a:ln>
            <a:noFill/>
          </a:ln>
        </p:spPr>
        <p:txBody>
          <a:bodyPr spcFirstLastPara="1" wrap="square" lIns="120000" tIns="96000" rIns="48000" bIns="121900" anchor="t" anchorCtr="0">
            <a:noAutofit/>
          </a:bodyPr>
          <a:lstStyle/>
          <a:p>
            <a:pPr>
              <a:spcBef>
                <a:spcPts val="300"/>
              </a:spcBef>
              <a:buClr>
                <a:srgbClr val="000000"/>
              </a:buClr>
              <a:defRPr/>
            </a:pPr>
            <a:endParaRPr lang="en-US" sz="1000" kern="0" dirty="0">
              <a:solidFill>
                <a:srgbClr val="000000"/>
              </a:solidFill>
              <a:highlight>
                <a:srgbClr val="FFFF00"/>
              </a:highlight>
              <a:cs typeface="Helvetica Neue"/>
              <a:sym typeface="Helvetica Neue"/>
            </a:endParaRPr>
          </a:p>
          <a:p>
            <a:pPr marL="628650">
              <a:spcBef>
                <a:spcPts val="300"/>
              </a:spcBef>
              <a:buClr>
                <a:srgbClr val="000000"/>
              </a:buClr>
              <a:defRPr/>
            </a:pPr>
            <a:r>
              <a:rPr lang="en-US" sz="1000" kern="0" dirty="0">
                <a:solidFill>
                  <a:srgbClr val="000000"/>
                </a:solidFill>
                <a:ea typeface="Helvetica Neue"/>
                <a:cs typeface="Helvetica Neue"/>
                <a:sym typeface="Helvetica Neue"/>
              </a:rPr>
              <a:t>The </a:t>
            </a:r>
            <a:r>
              <a:rPr lang="en-US" sz="1000" b="1" kern="0" dirty="0">
                <a:solidFill>
                  <a:srgbClr val="000000"/>
                </a:solidFill>
                <a:ea typeface="Helvetica Neue"/>
                <a:cs typeface="Helvetica Neue"/>
                <a:sym typeface="Helvetica Neue"/>
              </a:rPr>
              <a:t>COVID-19 pandemic </a:t>
            </a:r>
            <a:r>
              <a:rPr lang="en-US" sz="1000" kern="0" dirty="0">
                <a:solidFill>
                  <a:srgbClr val="000000"/>
                </a:solidFill>
                <a:ea typeface="Helvetica Neue"/>
                <a:cs typeface="Helvetica Neue"/>
                <a:sym typeface="Helvetica Neue"/>
              </a:rPr>
              <a:t>exacerbated operating challenges across all sectors, with the care and support sector particularly affected. The pandemic has had far reaching impacts in how the Commission manages and interacts with its workforce as well as its partners, providers and participants. The pandemic accelerated change for businesses and workers alike, with new ways of working being adopted and an increase in the use of digital technology, automation and artificial intelligence. As the endemic continues and becomes a more recognisable part of daily life, a new normal is being redefined across society and in the </a:t>
            </a:r>
            <a:r>
              <a:rPr lang="en-US" sz="1000" kern="0" dirty="0">
                <a:solidFill>
                  <a:srgbClr val="000000"/>
                </a:solidFill>
                <a:sym typeface="Helvetica Neue"/>
              </a:rPr>
              <a:t>workplace. Managing the balancing act of the new hybrid work era, ongoing investment in digital technology and capability as well as an increasing focus on the general health and well-being of the workforce continues to be a core focus.</a:t>
            </a:r>
            <a:endParaRPr lang="en-US" sz="1000" kern="0" dirty="0">
              <a:solidFill>
                <a:srgbClr val="000000"/>
              </a:solidFill>
            </a:endParaRPr>
          </a:p>
          <a:p>
            <a:pPr marL="628650">
              <a:spcBef>
                <a:spcPts val="300"/>
              </a:spcBef>
              <a:buClr>
                <a:srgbClr val="000000"/>
              </a:buClr>
              <a:defRPr/>
            </a:pPr>
            <a:endParaRPr lang="en-US" sz="1000" kern="0" dirty="0">
              <a:solidFill>
                <a:srgbClr val="000000"/>
              </a:solidFill>
              <a:highlight>
                <a:srgbClr val="FFFF00"/>
              </a:highlight>
              <a:ea typeface="Helvetica Neue"/>
              <a:cs typeface="Arial"/>
              <a:sym typeface="Helvetica Neue"/>
            </a:endParaRPr>
          </a:p>
          <a:p>
            <a:pPr marL="628650">
              <a:spcBef>
                <a:spcPts val="300"/>
              </a:spcBef>
              <a:buClr>
                <a:srgbClr val="000000"/>
              </a:buClr>
              <a:defRPr/>
            </a:pPr>
            <a:r>
              <a:rPr lang="en-US" sz="1000" kern="0" dirty="0">
                <a:solidFill>
                  <a:srgbClr val="000000"/>
                </a:solidFill>
                <a:ea typeface="Helvetica Neue"/>
                <a:cs typeface="Arial"/>
                <a:sym typeface="Helvetica Neue"/>
              </a:rPr>
              <a:t>The </a:t>
            </a:r>
            <a:r>
              <a:rPr lang="en-US" sz="1000" b="1" kern="0" dirty="0">
                <a:solidFill>
                  <a:srgbClr val="000000"/>
                </a:solidFill>
                <a:ea typeface="Helvetica Neue"/>
                <a:cs typeface="Arial"/>
                <a:sym typeface="Helvetica Neue"/>
              </a:rPr>
              <a:t>level of national awareness and maturity across the disability sector and the NDIS has evolved rapidly in the last five years</a:t>
            </a:r>
            <a:r>
              <a:rPr lang="en-US" sz="1000" kern="0" dirty="0">
                <a:solidFill>
                  <a:srgbClr val="000000"/>
                </a:solidFill>
                <a:ea typeface="Helvetica Neue"/>
                <a:cs typeface="Arial"/>
                <a:sym typeface="Helvetica Neue"/>
              </a:rPr>
              <a:t>. This is alongside the increase in demand for services, </a:t>
            </a:r>
            <a:r>
              <a:rPr lang="en-US" sz="1000" kern="0" dirty="0" smtClean="0">
                <a:solidFill>
                  <a:srgbClr val="000000"/>
                </a:solidFill>
                <a:ea typeface="Helvetica Neue"/>
                <a:cs typeface="Arial"/>
                <a:sym typeface="Helvetica Neue"/>
              </a:rPr>
              <a:t>and changing consumer preferences. </a:t>
            </a:r>
            <a:r>
              <a:rPr lang="en-US" sz="1000" kern="0" dirty="0">
                <a:solidFill>
                  <a:srgbClr val="000000"/>
                </a:solidFill>
                <a:ea typeface="Helvetica Neue"/>
                <a:cs typeface="Arial"/>
                <a:sym typeface="Helvetica Neue"/>
              </a:rPr>
              <a:t>It is estimated that the number of NDIS participants will increase by 84% by 2030</a:t>
            </a:r>
            <a:r>
              <a:rPr lang="en-US" sz="1000" kern="0" dirty="0">
                <a:solidFill>
                  <a:srgbClr val="000000"/>
                </a:solidFill>
                <a:latin typeface="Arial" panose="020B0604020202020204" pitchFamily="34" charset="0"/>
                <a:ea typeface="MS Gothic" panose="020B0609070205080204" pitchFamily="49" charset="-128"/>
                <a:cs typeface="Arial"/>
                <a:sym typeface="Helvetica Neue"/>
              </a:rPr>
              <a:t>¹</a:t>
            </a:r>
            <a:r>
              <a:rPr lang="en-US" sz="1000" kern="0" dirty="0">
                <a:solidFill>
                  <a:srgbClr val="000000"/>
                </a:solidFill>
                <a:ea typeface="Helvetica Neue"/>
                <a:cs typeface="Arial"/>
                <a:sym typeface="Helvetica Neue"/>
              </a:rPr>
              <a:t>. Together these challenges have exacerbated workforce shortages within the disability sector and challenged the way in which the Commission collaborates with participants and providers. </a:t>
            </a:r>
            <a:r>
              <a:rPr lang="en-US" sz="1000" dirty="0"/>
              <a:t>The </a:t>
            </a:r>
            <a:r>
              <a:rPr lang="en-US" sz="1000" b="1" dirty="0"/>
              <a:t>Royal Commission</a:t>
            </a:r>
            <a:r>
              <a:rPr lang="en-US" sz="1000" dirty="0"/>
              <a:t> </a:t>
            </a:r>
            <a:r>
              <a:rPr lang="en-US" sz="1000" dirty="0">
                <a:cs typeface="Arial"/>
              </a:rPr>
              <a:t>into Violence, Abuse, Neglect and Exploitation of People with Disability </a:t>
            </a:r>
            <a:r>
              <a:rPr lang="en-US" sz="1000" dirty="0"/>
              <a:t>has put significant focus on the regulation of quality within the scheme, meaning a workforce strategy is critical to enabling the Commission’s ‘future state’. </a:t>
            </a:r>
          </a:p>
          <a:p>
            <a:pPr marL="628650">
              <a:spcBef>
                <a:spcPts val="1200"/>
              </a:spcBef>
              <a:buClr>
                <a:srgbClr val="000000"/>
              </a:buClr>
              <a:defRPr/>
            </a:pPr>
            <a:r>
              <a:rPr lang="en-US" sz="1000" dirty="0"/>
              <a:t>The </a:t>
            </a:r>
            <a:r>
              <a:rPr lang="en-US" sz="1000" b="1" dirty="0"/>
              <a:t>Future of Work </a:t>
            </a:r>
            <a:r>
              <a:rPr lang="en-US" sz="1000" dirty="0"/>
              <a:t>is changing the way that people want to engage with their employers and how work is conducted is fundamentally being challenged. There has been a shift in employee expectations around ways of working; with working preferences evolving from traditional office based environments to remote and hybrid ways of working becoming the new normal. </a:t>
            </a:r>
            <a:r>
              <a:rPr lang="en-US" sz="1000" dirty="0">
                <a:sym typeface="Arial"/>
              </a:rPr>
              <a:t>Connectivity in and across the physical and digital workplaces </a:t>
            </a:r>
            <a:r>
              <a:rPr lang="en-US" sz="1000" dirty="0" smtClean="0">
                <a:sym typeface="Arial"/>
              </a:rPr>
              <a:t>requires </a:t>
            </a:r>
            <a:r>
              <a:rPr lang="en-US" sz="1000" dirty="0">
                <a:sym typeface="Arial"/>
              </a:rPr>
              <a:t>significant transformation for all organisations to ensure fairness and equality in the workplace. </a:t>
            </a:r>
          </a:p>
          <a:p>
            <a:pPr marL="628650">
              <a:spcBef>
                <a:spcPts val="1200"/>
              </a:spcBef>
              <a:buClr>
                <a:srgbClr val="000000"/>
              </a:buClr>
              <a:defRPr/>
            </a:pPr>
            <a:endParaRPr lang="en-US" sz="1000" dirty="0"/>
          </a:p>
          <a:p>
            <a:pPr marL="628650">
              <a:spcBef>
                <a:spcPts val="1200"/>
              </a:spcBef>
              <a:buClr>
                <a:srgbClr val="000000"/>
              </a:buClr>
              <a:defRPr/>
            </a:pPr>
            <a:endParaRPr lang="en-US" sz="1000" b="1" dirty="0">
              <a:cs typeface="Arial"/>
              <a:sym typeface="Helvetica Neue"/>
            </a:endParaRPr>
          </a:p>
          <a:p>
            <a:pPr>
              <a:spcBef>
                <a:spcPts val="300"/>
              </a:spcBef>
              <a:defRPr/>
            </a:pPr>
            <a:endParaRPr lang="en-US" sz="1000" kern="0" dirty="0">
              <a:solidFill>
                <a:srgbClr val="000000"/>
              </a:solidFill>
            </a:endParaRPr>
          </a:p>
          <a:p>
            <a:pPr>
              <a:spcBef>
                <a:spcPts val="300"/>
              </a:spcBef>
              <a:defRPr/>
            </a:pPr>
            <a:endParaRPr lang="en-US" sz="1000" kern="0" dirty="0">
              <a:solidFill>
                <a:srgbClr val="000000"/>
              </a:solidFill>
              <a:highlight>
                <a:srgbClr val="FFFF00"/>
              </a:highlight>
              <a:ea typeface="Helvetica Neue"/>
              <a:cs typeface="Arial"/>
              <a:sym typeface="Helvetica Neue"/>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120544" cy="992778"/>
          </a:xfrm>
        </p:spPr>
        <p:txBody>
          <a:bodyPr>
            <a:normAutofit/>
          </a:bodyPr>
          <a:lstStyle/>
          <a:p>
            <a:pPr>
              <a:lnSpc>
                <a:spcPct val="100000"/>
              </a:lnSpc>
            </a:pPr>
            <a:r>
              <a:rPr lang="en-US" sz="2400" dirty="0">
                <a:solidFill>
                  <a:schemeClr val="tx2"/>
                </a:solidFill>
              </a:rPr>
              <a:t>The </a:t>
            </a:r>
            <a:r>
              <a:rPr lang="en-US" sz="2400" dirty="0" smtClean="0">
                <a:solidFill>
                  <a:schemeClr val="tx2"/>
                </a:solidFill>
              </a:rPr>
              <a:t>Commission’s </a:t>
            </a:r>
            <a:r>
              <a:rPr lang="en-US" sz="2400" dirty="0">
                <a:solidFill>
                  <a:schemeClr val="tx2"/>
                </a:solidFill>
              </a:rPr>
              <a:t>context is changing which has implications for current and future workforce decisions</a:t>
            </a:r>
            <a:endParaRPr lang="en-AU" sz="2400" dirty="0">
              <a:solidFill>
                <a:schemeClr val="tx2"/>
              </a:solidFill>
            </a:endParaRPr>
          </a:p>
        </p:txBody>
      </p:sp>
      <p:sp>
        <p:nvSpPr>
          <p:cNvPr id="6" name="TextBox 5">
            <a:extLst>
              <a:ext uri="{FF2B5EF4-FFF2-40B4-BE49-F238E27FC236}">
                <a16:creationId xmlns:a16="http://schemas.microsoft.com/office/drawing/2014/main" id="{0ABB230B-C519-4967-99C6-C0B6B6E89B46}"/>
              </a:ext>
            </a:extLst>
          </p:cNvPr>
          <p:cNvSpPr txBox="1"/>
          <p:nvPr/>
        </p:nvSpPr>
        <p:spPr>
          <a:xfrm>
            <a:off x="521640" y="1538571"/>
            <a:ext cx="2840454"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External drivers of change </a:t>
            </a:r>
          </a:p>
        </p:txBody>
      </p:sp>
      <p:sp>
        <p:nvSpPr>
          <p:cNvPr id="14" name="Google Shape;6575;p424">
            <a:extLst>
              <a:ext uri="{FF2B5EF4-FFF2-40B4-BE49-F238E27FC236}">
                <a16:creationId xmlns:a16="http://schemas.microsoft.com/office/drawing/2014/main" id="{9E3093E5-7122-45E7-A839-B40CF16F8202}"/>
              </a:ext>
            </a:extLst>
          </p:cNvPr>
          <p:cNvSpPr/>
          <p:nvPr/>
        </p:nvSpPr>
        <p:spPr>
          <a:xfrm>
            <a:off x="6269525" y="1650234"/>
            <a:ext cx="5386701" cy="4431678"/>
          </a:xfrm>
          <a:prstGeom prst="rect">
            <a:avLst/>
          </a:prstGeom>
          <a:noFill/>
          <a:ln>
            <a:noFill/>
          </a:ln>
        </p:spPr>
        <p:txBody>
          <a:bodyPr spcFirstLastPara="1" wrap="square" lIns="120000" tIns="96000" rIns="48000" bIns="121900" anchor="t" anchorCtr="0">
            <a:noAutofit/>
          </a:bodyPr>
          <a:lstStyle/>
          <a:p>
            <a:pPr marL="714375">
              <a:spcBef>
                <a:spcPts val="1200"/>
              </a:spcBef>
              <a:defRPr/>
            </a:pPr>
            <a:r>
              <a:rPr lang="en-US" sz="1000" b="1" dirty="0">
                <a:cs typeface="Arial"/>
                <a:sym typeface="Helvetica Neue"/>
              </a:rPr>
              <a:t>Labour supply and skills shortages continue </a:t>
            </a:r>
            <a:r>
              <a:rPr lang="en-US" sz="1000" dirty="0" smtClean="0">
                <a:cs typeface="Arial"/>
                <a:sym typeface="Helvetica Neue"/>
              </a:rPr>
              <a:t>in </a:t>
            </a:r>
            <a:r>
              <a:rPr lang="en-US" sz="1000" dirty="0">
                <a:cs typeface="Arial"/>
                <a:sym typeface="Helvetica Neue"/>
              </a:rPr>
              <a:t>a highly competitive, </a:t>
            </a:r>
            <a:r>
              <a:rPr lang="en-US" sz="1000" dirty="0" smtClean="0">
                <a:cs typeface="Arial"/>
                <a:sym typeface="Helvetica Neue"/>
              </a:rPr>
              <a:t>and tight labour </a:t>
            </a:r>
            <a:r>
              <a:rPr lang="en-US" sz="1000" dirty="0">
                <a:cs typeface="Arial"/>
                <a:sym typeface="Helvetica Neue"/>
              </a:rPr>
              <a:t>market. The war for talent and skills remains very real, there are currently 470,000 job vacancies across Australia, and of those 45,000 are vacancies within the public sector</a:t>
            </a:r>
            <a:r>
              <a:rPr lang="en-US" sz="1000" kern="0" dirty="0">
                <a:solidFill>
                  <a:srgbClr val="000000"/>
                </a:solidFill>
                <a:cs typeface="Arial"/>
                <a:sym typeface="Helvetica Neue"/>
              </a:rPr>
              <a:t>²</a:t>
            </a:r>
            <a:r>
              <a:rPr lang="en-US" sz="1000" dirty="0">
                <a:cs typeface="Arial"/>
                <a:sym typeface="Helvetica Neue"/>
              </a:rPr>
              <a:t>. </a:t>
            </a:r>
            <a:r>
              <a:rPr lang="en-US" sz="1000" dirty="0"/>
              <a:t>Organisations that are open to change and view their digital workspace as an extension of the physical workplace, are attracting talent and have better access to labour markets outside of capital cities. </a:t>
            </a:r>
          </a:p>
          <a:p>
            <a:pPr marL="714375">
              <a:spcBef>
                <a:spcPts val="1200"/>
              </a:spcBef>
              <a:defRPr/>
            </a:pPr>
            <a:r>
              <a:rPr lang="en-US" sz="1000" kern="0" dirty="0">
                <a:solidFill>
                  <a:srgbClr val="000000"/>
                </a:solidFill>
                <a:cs typeface="Arial"/>
              </a:rPr>
              <a:t>Australia is experiencing a </a:t>
            </a:r>
            <a:r>
              <a:rPr lang="en-US" sz="1000" b="1" kern="0" dirty="0">
                <a:solidFill>
                  <a:srgbClr val="000000"/>
                </a:solidFill>
                <a:cs typeface="Arial"/>
              </a:rPr>
              <a:t>tight fiscal environment </a:t>
            </a:r>
            <a:r>
              <a:rPr lang="en-US" sz="1000" kern="0" dirty="0">
                <a:solidFill>
                  <a:srgbClr val="000000"/>
                </a:solidFill>
                <a:cs typeface="Arial"/>
              </a:rPr>
              <a:t>with substantial pressure on inflation and interest rates as part of the post pandemic recovery. A focus on budget repair and quality spending </a:t>
            </a:r>
            <a:r>
              <a:rPr lang="en-US" sz="1000" kern="0" dirty="0" smtClean="0">
                <a:solidFill>
                  <a:srgbClr val="000000"/>
                </a:solidFill>
                <a:cs typeface="Arial"/>
              </a:rPr>
              <a:t>is </a:t>
            </a:r>
            <a:r>
              <a:rPr lang="en-US" sz="1000" kern="0" dirty="0">
                <a:solidFill>
                  <a:srgbClr val="000000"/>
                </a:solidFill>
                <a:cs typeface="Arial"/>
              </a:rPr>
              <a:t>expected to continue. </a:t>
            </a:r>
          </a:p>
          <a:p>
            <a:pPr marL="714375">
              <a:spcBef>
                <a:spcPts val="600"/>
              </a:spcBef>
              <a:defRPr/>
            </a:pPr>
            <a:endParaRPr lang="en-US" sz="900" dirty="0">
              <a:sym typeface="Helvetica Neue"/>
            </a:endParaRPr>
          </a:p>
          <a:p>
            <a:pPr marL="714375">
              <a:spcBef>
                <a:spcPts val="300"/>
              </a:spcBef>
              <a:defRPr/>
            </a:pPr>
            <a:r>
              <a:rPr lang="en-US" sz="1000" b="1" kern="0" dirty="0">
                <a:solidFill>
                  <a:srgbClr val="000000"/>
                </a:solidFill>
                <a:ea typeface="Helvetica Neue"/>
                <a:cs typeface="Arial"/>
                <a:sym typeface="Helvetica Neue"/>
              </a:rPr>
              <a:t>New and emerging technologies </a:t>
            </a:r>
            <a:r>
              <a:rPr lang="en-US" sz="1000" kern="0" dirty="0">
                <a:solidFill>
                  <a:srgbClr val="000000"/>
                </a:solidFill>
                <a:ea typeface="Helvetica Neue"/>
                <a:cs typeface="Arial"/>
                <a:sym typeface="Helvetica Neue"/>
              </a:rPr>
              <a:t>are</a:t>
            </a:r>
            <a:r>
              <a:rPr lang="en-US" sz="1000" b="1" kern="0" dirty="0">
                <a:solidFill>
                  <a:srgbClr val="000000"/>
                </a:solidFill>
                <a:ea typeface="Helvetica Neue"/>
                <a:cs typeface="Arial"/>
                <a:sym typeface="Helvetica Neue"/>
              </a:rPr>
              <a:t> </a:t>
            </a:r>
            <a:r>
              <a:rPr lang="en-US" sz="1000" kern="0" dirty="0">
                <a:solidFill>
                  <a:srgbClr val="000000"/>
                </a:solidFill>
                <a:ea typeface="Helvetica Neue"/>
                <a:cs typeface="Arial"/>
                <a:sym typeface="Helvetica Neue"/>
              </a:rPr>
              <a:t>rapidly redefining </a:t>
            </a:r>
            <a:r>
              <a:rPr lang="en-US" sz="1000" kern="0" dirty="0">
                <a:solidFill>
                  <a:srgbClr val="000000"/>
                </a:solidFill>
                <a:cs typeface="Arial"/>
              </a:rPr>
              <a:t>how we interact and collaborate with </a:t>
            </a:r>
            <a:r>
              <a:rPr lang="en-US" sz="1000" kern="0" dirty="0" smtClean="0">
                <a:solidFill>
                  <a:srgbClr val="000000"/>
                </a:solidFill>
                <a:cs typeface="Arial"/>
              </a:rPr>
              <a:t>our stakeholders, the </a:t>
            </a:r>
            <a:r>
              <a:rPr lang="en-US" sz="1000" kern="0" dirty="0">
                <a:solidFill>
                  <a:srgbClr val="000000"/>
                </a:solidFill>
                <a:cs typeface="Arial"/>
              </a:rPr>
              <a:t>workplace and each other. Society is an ever increasing digitally enabled and connected place. </a:t>
            </a:r>
            <a:r>
              <a:rPr lang="en-US" sz="1000" b="1" kern="0" dirty="0">
                <a:solidFill>
                  <a:srgbClr val="000000"/>
                </a:solidFill>
                <a:cs typeface="Arial"/>
                <a:sym typeface="Helvetica Neue"/>
              </a:rPr>
              <a:t>Consumer expectations and preferences are also rapid changing. </a:t>
            </a:r>
            <a:r>
              <a:rPr lang="en-US" sz="1000" kern="0" dirty="0">
                <a:solidFill>
                  <a:srgbClr val="000000"/>
                </a:solidFill>
                <a:cs typeface="Arial"/>
                <a:sym typeface="Helvetica Neue"/>
              </a:rPr>
              <a:t>Personalised, digitally enabled, multi-channel service offerings that can happen anytime-anywhere is also the ‘new norm’. Capability and mindset shifts will be key alongside advancing technology.</a:t>
            </a:r>
            <a:endParaRPr lang="en-US" sz="1000" kern="0" dirty="0">
              <a:solidFill>
                <a:srgbClr val="000000"/>
              </a:solidFill>
              <a:cs typeface="Arial"/>
            </a:endParaRPr>
          </a:p>
          <a:p>
            <a:pPr marL="714375">
              <a:spcBef>
                <a:spcPts val="300"/>
              </a:spcBef>
              <a:defRPr/>
            </a:pPr>
            <a:r>
              <a:rPr lang="en-US" sz="1000" kern="0" dirty="0">
                <a:cs typeface="Arial"/>
              </a:rPr>
              <a:t/>
            </a:r>
            <a:br>
              <a:rPr lang="en-US" sz="1000" kern="0" dirty="0">
                <a:cs typeface="Arial"/>
              </a:rPr>
            </a:br>
            <a:r>
              <a:rPr lang="en-US" sz="1000" b="1" kern="0" dirty="0">
                <a:solidFill>
                  <a:srgbClr val="000000"/>
                </a:solidFill>
                <a:ea typeface="Helvetica Neue"/>
                <a:cs typeface="Arial"/>
                <a:sym typeface="Helvetica Neue"/>
              </a:rPr>
              <a:t>Public trust levels are declining </a:t>
            </a:r>
            <a:r>
              <a:rPr lang="en-US" sz="1000" kern="0" dirty="0" smtClean="0">
                <a:solidFill>
                  <a:srgbClr val="000000"/>
                </a:solidFill>
                <a:ea typeface="Helvetica Neue"/>
                <a:cs typeface="Arial"/>
                <a:sym typeface="Helvetica Neue"/>
              </a:rPr>
              <a:t>and there is an increasing </a:t>
            </a:r>
            <a:r>
              <a:rPr lang="en-US" sz="1000" kern="0" dirty="0">
                <a:solidFill>
                  <a:srgbClr val="000000"/>
                </a:solidFill>
                <a:ea typeface="Helvetica Neue"/>
                <a:cs typeface="Arial"/>
                <a:sym typeface="Helvetica Neue"/>
              </a:rPr>
              <a:t>focus on how to engage with the community in design and delivery of public </a:t>
            </a:r>
            <a:r>
              <a:rPr lang="en-US" sz="1000" kern="0" dirty="0">
                <a:solidFill>
                  <a:srgbClr val="000000"/>
                </a:solidFill>
                <a:cs typeface="Arial"/>
                <a:sym typeface="Helvetica Neue"/>
              </a:rPr>
              <a:t>policy. </a:t>
            </a:r>
            <a:r>
              <a:rPr lang="en-US" sz="1000" kern="0" dirty="0">
                <a:solidFill>
                  <a:srgbClr val="000000"/>
                </a:solidFill>
                <a:cs typeface="Arial"/>
              </a:rPr>
              <a:t>The 2022 Edelman Trust Barometer also reveals sharp declines in trust across all Australian institutions, eroding the record-high levels of public trust recorded in 2021. Only 52% of Australians say they trust government to do the right thing (-9 points year-on-year) and 58% trusting each business (-5 points) and NGOs (-4 points)</a:t>
            </a:r>
            <a:r>
              <a:rPr lang="en-US" sz="1000" kern="0" dirty="0">
                <a:solidFill>
                  <a:srgbClr val="000000"/>
                </a:solidFill>
                <a:cs typeface="Arial"/>
                <a:sym typeface="Helvetica Neue"/>
              </a:rPr>
              <a:t>³.  Rebuilding trust and trustworthy perceptions with community requires designing and delivering the customer </a:t>
            </a:r>
            <a:r>
              <a:rPr lang="en-US" sz="1000" kern="0" dirty="0">
                <a:solidFill>
                  <a:srgbClr val="000000"/>
                </a:solidFill>
                <a:ea typeface="Helvetica Neue"/>
                <a:cs typeface="Arial"/>
                <a:sym typeface="Helvetica Neue"/>
              </a:rPr>
              <a:t>experience with trust in mind. </a:t>
            </a:r>
            <a:r>
              <a:rPr lang="en-US" sz="1000" kern="0" dirty="0" smtClean="0">
                <a:solidFill>
                  <a:srgbClr val="000000"/>
                </a:solidFill>
                <a:cs typeface="Arial"/>
                <a:sym typeface="Helvetica Neue"/>
              </a:rPr>
              <a:t>The </a:t>
            </a:r>
            <a:r>
              <a:rPr lang="en-US" sz="1000" kern="0" dirty="0">
                <a:solidFill>
                  <a:srgbClr val="000000"/>
                </a:solidFill>
                <a:cs typeface="Arial"/>
                <a:sym typeface="Helvetica Neue"/>
              </a:rPr>
              <a:t>review of the NDIS has </a:t>
            </a:r>
            <a:r>
              <a:rPr lang="en-US" sz="1000" kern="0" dirty="0" smtClean="0">
                <a:solidFill>
                  <a:srgbClr val="000000"/>
                </a:solidFill>
                <a:cs typeface="Arial"/>
                <a:sym typeface="Helvetica Neue"/>
              </a:rPr>
              <a:t>been </a:t>
            </a:r>
            <a:r>
              <a:rPr lang="en-US" sz="1000" kern="0" dirty="0">
                <a:solidFill>
                  <a:srgbClr val="000000"/>
                </a:solidFill>
                <a:cs typeface="Arial"/>
                <a:sym typeface="Helvetica Neue"/>
              </a:rPr>
              <a:t>brought forward to restore trust with participants against a backdrop of an announcement that the scheme will cost $8.8 billion more over the next four years than previously forecast. </a:t>
            </a:r>
            <a:endParaRPr lang="en-US" sz="1000" dirty="0"/>
          </a:p>
          <a:p>
            <a:pPr marL="628650">
              <a:spcBef>
                <a:spcPts val="300"/>
              </a:spcBef>
              <a:defRPr/>
            </a:pPr>
            <a:endParaRPr lang="en-US" sz="1000" kern="0" dirty="0">
              <a:solidFill>
                <a:srgbClr val="000000"/>
              </a:solidFill>
              <a:ea typeface="Helvetica Neue"/>
              <a:cs typeface="Arial"/>
              <a:sym typeface="Helvetica Neue"/>
            </a:endParaRPr>
          </a:p>
          <a:p>
            <a:pPr marL="628650">
              <a:spcBef>
                <a:spcPts val="300"/>
              </a:spcBef>
              <a:defRPr/>
            </a:pPr>
            <a:endParaRPr lang="en-US" sz="1000" kern="0" dirty="0">
              <a:solidFill>
                <a:srgbClr val="000000"/>
              </a:solidFill>
              <a:ea typeface="Helvetica Neue"/>
              <a:cs typeface="Arial"/>
              <a:sym typeface="Helvetica Neue"/>
            </a:endParaRPr>
          </a:p>
          <a:p>
            <a:pPr marL="628650">
              <a:spcBef>
                <a:spcPts val="300"/>
              </a:spcBef>
              <a:defRPr/>
            </a:pPr>
            <a:endParaRPr lang="en-US" sz="1000" kern="0" dirty="0">
              <a:solidFill>
                <a:srgbClr val="000000"/>
              </a:solidFill>
              <a:ea typeface="Helvetica Neue"/>
              <a:cs typeface="Arial"/>
              <a:sym typeface="Helvetica Neue"/>
            </a:endParaRPr>
          </a:p>
          <a:p>
            <a:pPr marL="628650">
              <a:spcBef>
                <a:spcPts val="300"/>
              </a:spcBef>
              <a:defRPr/>
            </a:pPr>
            <a:endParaRPr lang="en-US" sz="1000" kern="0" dirty="0">
              <a:solidFill>
                <a:srgbClr val="000000"/>
              </a:solidFill>
              <a:ea typeface="Helvetica Neue"/>
              <a:cs typeface="Arial"/>
              <a:sym typeface="Helvetica Neue"/>
            </a:endParaRPr>
          </a:p>
          <a:p>
            <a:pPr marL="628650">
              <a:spcBef>
                <a:spcPts val="300"/>
              </a:spcBef>
              <a:defRPr/>
            </a:pPr>
            <a:endParaRPr lang="en-US" sz="1000" kern="0" dirty="0">
              <a:solidFill>
                <a:srgbClr val="000000"/>
              </a:solidFill>
              <a:highlight>
                <a:srgbClr val="00FF00"/>
              </a:highlight>
              <a:ea typeface="Helvetica Neue"/>
              <a:cs typeface="Arial"/>
              <a:sym typeface="Helvetica Neue"/>
            </a:endParaRPr>
          </a:p>
          <a:p>
            <a:pPr>
              <a:spcBef>
                <a:spcPts val="300"/>
              </a:spcBef>
              <a:defRPr/>
            </a:pPr>
            <a:endParaRPr lang="en-US" sz="1000" kern="0" dirty="0">
              <a:solidFill>
                <a:srgbClr val="000000"/>
              </a:solidFill>
              <a:highlight>
                <a:srgbClr val="FFFF00"/>
              </a:highlight>
              <a:ea typeface="Helvetica Neue"/>
              <a:cs typeface="Arial"/>
              <a:sym typeface="Helvetica Neue"/>
            </a:endParaRPr>
          </a:p>
        </p:txBody>
      </p:sp>
      <p:sp>
        <p:nvSpPr>
          <p:cNvPr id="20" name="Google Shape;25153;p300">
            <a:extLst>
              <a:ext uri="{FF2B5EF4-FFF2-40B4-BE49-F238E27FC236}">
                <a16:creationId xmlns:a16="http://schemas.microsoft.com/office/drawing/2014/main" id="{3B6A40DC-C030-4917-AC2E-81F6F630CE98}"/>
              </a:ext>
            </a:extLst>
          </p:cNvPr>
          <p:cNvSpPr/>
          <p:nvPr/>
        </p:nvSpPr>
        <p:spPr>
          <a:xfrm>
            <a:off x="503692" y="5197901"/>
            <a:ext cx="571500" cy="53717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47" y="169"/>
                </a:moveTo>
                <a:cubicBezTo>
                  <a:pt x="347" y="137"/>
                  <a:pt x="320" y="111"/>
                  <a:pt x="288" y="111"/>
                </a:cubicBezTo>
                <a:cubicBezTo>
                  <a:pt x="256" y="111"/>
                  <a:pt x="229" y="137"/>
                  <a:pt x="229" y="169"/>
                </a:cubicBezTo>
                <a:cubicBezTo>
                  <a:pt x="229" y="202"/>
                  <a:pt x="256" y="228"/>
                  <a:pt x="288" y="228"/>
                </a:cubicBezTo>
                <a:cubicBezTo>
                  <a:pt x="320" y="228"/>
                  <a:pt x="347" y="202"/>
                  <a:pt x="347" y="169"/>
                </a:cubicBezTo>
                <a:close/>
                <a:moveTo>
                  <a:pt x="288" y="204"/>
                </a:moveTo>
                <a:cubicBezTo>
                  <a:pt x="269" y="204"/>
                  <a:pt x="254" y="188"/>
                  <a:pt x="254" y="169"/>
                </a:cubicBezTo>
                <a:cubicBezTo>
                  <a:pt x="254" y="151"/>
                  <a:pt x="269" y="135"/>
                  <a:pt x="288" y="135"/>
                </a:cubicBezTo>
                <a:cubicBezTo>
                  <a:pt x="307" y="135"/>
                  <a:pt x="322" y="151"/>
                  <a:pt x="322" y="169"/>
                </a:cubicBezTo>
                <a:cubicBezTo>
                  <a:pt x="322" y="188"/>
                  <a:pt x="307" y="204"/>
                  <a:pt x="288" y="204"/>
                </a:cubicBezTo>
                <a:close/>
                <a:moveTo>
                  <a:pt x="288" y="475"/>
                </a:moveTo>
                <a:cubicBezTo>
                  <a:pt x="277" y="455"/>
                  <a:pt x="277" y="455"/>
                  <a:pt x="277" y="455"/>
                </a:cubicBezTo>
                <a:cubicBezTo>
                  <a:pt x="273" y="447"/>
                  <a:pt x="171" y="257"/>
                  <a:pt x="171" y="169"/>
                </a:cubicBezTo>
                <a:cubicBezTo>
                  <a:pt x="171" y="105"/>
                  <a:pt x="224" y="53"/>
                  <a:pt x="288" y="53"/>
                </a:cubicBezTo>
                <a:cubicBezTo>
                  <a:pt x="352" y="53"/>
                  <a:pt x="405" y="105"/>
                  <a:pt x="405" y="169"/>
                </a:cubicBezTo>
                <a:cubicBezTo>
                  <a:pt x="405" y="259"/>
                  <a:pt x="303" y="447"/>
                  <a:pt x="299" y="455"/>
                </a:cubicBezTo>
                <a:lnTo>
                  <a:pt x="288" y="475"/>
                </a:lnTo>
                <a:close/>
                <a:moveTo>
                  <a:pt x="288" y="77"/>
                </a:moveTo>
                <a:cubicBezTo>
                  <a:pt x="237" y="77"/>
                  <a:pt x="196" y="119"/>
                  <a:pt x="196" y="169"/>
                </a:cubicBezTo>
                <a:cubicBezTo>
                  <a:pt x="196" y="235"/>
                  <a:pt x="262" y="370"/>
                  <a:pt x="288" y="422"/>
                </a:cubicBezTo>
                <a:cubicBezTo>
                  <a:pt x="314" y="371"/>
                  <a:pt x="380" y="236"/>
                  <a:pt x="380" y="169"/>
                </a:cubicBezTo>
                <a:cubicBezTo>
                  <a:pt x="380" y="119"/>
                  <a:pt x="339" y="77"/>
                  <a:pt x="288" y="77"/>
                </a:cubicBezTo>
                <a:close/>
                <a:moveTo>
                  <a:pt x="445" y="449"/>
                </a:moveTo>
                <a:cubicBezTo>
                  <a:pt x="445" y="482"/>
                  <a:pt x="391" y="515"/>
                  <a:pt x="288" y="515"/>
                </a:cubicBezTo>
                <a:cubicBezTo>
                  <a:pt x="185" y="515"/>
                  <a:pt x="131" y="482"/>
                  <a:pt x="131" y="449"/>
                </a:cubicBezTo>
                <a:cubicBezTo>
                  <a:pt x="131" y="427"/>
                  <a:pt x="156" y="405"/>
                  <a:pt x="204" y="392"/>
                </a:cubicBezTo>
                <a:cubicBezTo>
                  <a:pt x="208" y="401"/>
                  <a:pt x="212" y="408"/>
                  <a:pt x="215" y="416"/>
                </a:cubicBezTo>
                <a:cubicBezTo>
                  <a:pt x="178" y="424"/>
                  <a:pt x="156" y="438"/>
                  <a:pt x="156" y="449"/>
                </a:cubicBezTo>
                <a:cubicBezTo>
                  <a:pt x="156" y="466"/>
                  <a:pt x="207" y="491"/>
                  <a:pt x="288" y="491"/>
                </a:cubicBezTo>
                <a:cubicBezTo>
                  <a:pt x="369" y="491"/>
                  <a:pt x="420" y="466"/>
                  <a:pt x="420" y="449"/>
                </a:cubicBezTo>
                <a:cubicBezTo>
                  <a:pt x="420" y="438"/>
                  <a:pt x="399" y="424"/>
                  <a:pt x="361" y="416"/>
                </a:cubicBezTo>
                <a:cubicBezTo>
                  <a:pt x="365" y="408"/>
                  <a:pt x="368" y="401"/>
                  <a:pt x="372" y="393"/>
                </a:cubicBezTo>
                <a:cubicBezTo>
                  <a:pt x="420" y="405"/>
                  <a:pt x="445" y="427"/>
                  <a:pt x="445" y="449"/>
                </a:cubicBezTo>
                <a:close/>
              </a:path>
            </a:pathLst>
          </a:custGeom>
          <a:solidFill>
            <a:schemeClr val="tx1"/>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chemeClr val="accent1"/>
              </a:solidFill>
              <a:latin typeface="Arial"/>
              <a:ea typeface="Arial"/>
              <a:cs typeface="Arial"/>
              <a:sym typeface="Arial"/>
            </a:endParaRPr>
          </a:p>
        </p:txBody>
      </p:sp>
      <p:sp>
        <p:nvSpPr>
          <p:cNvPr id="25" name="Freeform 105">
            <a:extLst>
              <a:ext uri="{FF2B5EF4-FFF2-40B4-BE49-F238E27FC236}">
                <a16:creationId xmlns:a16="http://schemas.microsoft.com/office/drawing/2014/main" id="{56F91D3A-6CBC-4335-80B5-3005ECF86B82}"/>
              </a:ext>
            </a:extLst>
          </p:cNvPr>
          <p:cNvSpPr>
            <a:spLocks noChangeAspect="1" noEditPoints="1"/>
          </p:cNvSpPr>
          <p:nvPr/>
        </p:nvSpPr>
        <p:spPr bwMode="auto">
          <a:xfrm>
            <a:off x="521640" y="3693047"/>
            <a:ext cx="543603" cy="545147"/>
          </a:xfrm>
          <a:custGeom>
            <a:avLst/>
            <a:gdLst>
              <a:gd name="T0" fmla="*/ 0 w 704"/>
              <a:gd name="T1" fmla="*/ 706 h 706"/>
              <a:gd name="T2" fmla="*/ 704 w 704"/>
              <a:gd name="T3" fmla="*/ 0 h 706"/>
              <a:gd name="T4" fmla="*/ 675 w 704"/>
              <a:gd name="T5" fmla="*/ 675 h 706"/>
              <a:gd name="T6" fmla="*/ 31 w 704"/>
              <a:gd name="T7" fmla="*/ 29 h 706"/>
              <a:gd name="T8" fmla="*/ 675 w 704"/>
              <a:gd name="T9" fmla="*/ 675 h 706"/>
              <a:gd name="T10" fmla="*/ 94 w 704"/>
              <a:gd name="T11" fmla="*/ 246 h 706"/>
              <a:gd name="T12" fmla="*/ 352 w 704"/>
              <a:gd name="T13" fmla="*/ 67 h 706"/>
              <a:gd name="T14" fmla="*/ 515 w 704"/>
              <a:gd name="T15" fmla="*/ 217 h 706"/>
              <a:gd name="T16" fmla="*/ 352 w 704"/>
              <a:gd name="T17" fmla="*/ 104 h 706"/>
              <a:gd name="T18" fmla="*/ 178 w 704"/>
              <a:gd name="T19" fmla="*/ 300 h 706"/>
              <a:gd name="T20" fmla="*/ 145 w 704"/>
              <a:gd name="T21" fmla="*/ 270 h 706"/>
              <a:gd name="T22" fmla="*/ 242 w 704"/>
              <a:gd name="T23" fmla="*/ 300 h 706"/>
              <a:gd name="T24" fmla="*/ 209 w 704"/>
              <a:gd name="T25" fmla="*/ 499 h 706"/>
              <a:gd name="T26" fmla="*/ 242 w 704"/>
              <a:gd name="T27" fmla="*/ 528 h 706"/>
              <a:gd name="T28" fmla="*/ 145 w 704"/>
              <a:gd name="T29" fmla="*/ 499 h 706"/>
              <a:gd name="T30" fmla="*/ 337 w 704"/>
              <a:gd name="T31" fmla="*/ 499 h 706"/>
              <a:gd name="T32" fmla="*/ 303 w 704"/>
              <a:gd name="T33" fmla="*/ 300 h 706"/>
              <a:gd name="T34" fmla="*/ 401 w 704"/>
              <a:gd name="T35" fmla="*/ 270 h 706"/>
              <a:gd name="T36" fmla="*/ 367 w 704"/>
              <a:gd name="T37" fmla="*/ 300 h 706"/>
              <a:gd name="T38" fmla="*/ 401 w 704"/>
              <a:gd name="T39" fmla="*/ 499 h 706"/>
              <a:gd name="T40" fmla="*/ 303 w 704"/>
              <a:gd name="T41" fmla="*/ 528 h 706"/>
              <a:gd name="T42" fmla="*/ 337 w 704"/>
              <a:gd name="T43" fmla="*/ 499 h 706"/>
              <a:gd name="T44" fmla="*/ 495 w 704"/>
              <a:gd name="T45" fmla="*/ 300 h 706"/>
              <a:gd name="T46" fmla="*/ 461 w 704"/>
              <a:gd name="T47" fmla="*/ 270 h 706"/>
              <a:gd name="T48" fmla="*/ 559 w 704"/>
              <a:gd name="T49" fmla="*/ 300 h 706"/>
              <a:gd name="T50" fmla="*/ 524 w 704"/>
              <a:gd name="T51" fmla="*/ 499 h 706"/>
              <a:gd name="T52" fmla="*/ 559 w 704"/>
              <a:gd name="T53" fmla="*/ 528 h 706"/>
              <a:gd name="T54" fmla="*/ 461 w 704"/>
              <a:gd name="T55" fmla="*/ 499 h 706"/>
              <a:gd name="T56" fmla="*/ 612 w 704"/>
              <a:gd name="T57" fmla="*/ 635 h 706"/>
              <a:gd name="T58" fmla="*/ 92 w 704"/>
              <a:gd name="T59" fmla="*/ 604 h 706"/>
              <a:gd name="T60" fmla="*/ 612 w 704"/>
              <a:gd name="T61" fmla="*/ 635 h 706"/>
              <a:gd name="T62" fmla="*/ 585 w 704"/>
              <a:gd name="T63" fmla="*/ 552 h 706"/>
              <a:gd name="T64" fmla="*/ 119 w 704"/>
              <a:gd name="T65" fmla="*/ 581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4" h="706">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endParaRPr lang="ja-JP" altLang="en-US" sz="2250"/>
          </a:p>
        </p:txBody>
      </p:sp>
      <p:grpSp>
        <p:nvGrpSpPr>
          <p:cNvPr id="26" name="Google Shape;755;g12f6fb1d8b0_2_59">
            <a:extLst>
              <a:ext uri="{FF2B5EF4-FFF2-40B4-BE49-F238E27FC236}">
                <a16:creationId xmlns:a16="http://schemas.microsoft.com/office/drawing/2014/main" id="{7F72223D-BE40-46FB-93C9-8F40FF75EC59}"/>
              </a:ext>
            </a:extLst>
          </p:cNvPr>
          <p:cNvGrpSpPr/>
          <p:nvPr/>
        </p:nvGrpSpPr>
        <p:grpSpPr>
          <a:xfrm>
            <a:off x="6464703" y="4902611"/>
            <a:ext cx="359448" cy="357550"/>
            <a:chOff x="5565523" y="2637371"/>
            <a:chExt cx="398873" cy="401892"/>
          </a:xfrm>
          <a:solidFill>
            <a:schemeClr val="tx1"/>
          </a:solidFill>
        </p:grpSpPr>
        <p:sp>
          <p:nvSpPr>
            <p:cNvPr id="27" name="Google Shape;756;g12f6fb1d8b0_2_59">
              <a:extLst>
                <a:ext uri="{FF2B5EF4-FFF2-40B4-BE49-F238E27FC236}">
                  <a16:creationId xmlns:a16="http://schemas.microsoft.com/office/drawing/2014/main" id="{62FA18B9-FE39-4CF2-8794-7B5EF78E7F3D}"/>
                </a:ext>
              </a:extLst>
            </p:cNvPr>
            <p:cNvSpPr/>
            <p:nvPr/>
          </p:nvSpPr>
          <p:spPr>
            <a:xfrm>
              <a:off x="5565523" y="2850609"/>
              <a:ext cx="398873" cy="188654"/>
            </a:xfrm>
            <a:custGeom>
              <a:avLst/>
              <a:gdLst/>
              <a:ahLst/>
              <a:cxnLst/>
              <a:rect l="l" t="t" r="r" b="b"/>
              <a:pathLst>
                <a:path w="398873" h="188654" extrusionOk="0">
                  <a:moveTo>
                    <a:pt x="398417" y="105871"/>
                  </a:moveTo>
                  <a:cubicBezTo>
                    <a:pt x="396663" y="96323"/>
                    <a:pt x="394256" y="86905"/>
                    <a:pt x="391202" y="77693"/>
                  </a:cubicBezTo>
                  <a:lnTo>
                    <a:pt x="390704" y="76511"/>
                  </a:lnTo>
                  <a:lnTo>
                    <a:pt x="389771" y="75640"/>
                  </a:lnTo>
                  <a:cubicBezTo>
                    <a:pt x="384483" y="70788"/>
                    <a:pt x="384359" y="70664"/>
                    <a:pt x="274133" y="81860"/>
                  </a:cubicBezTo>
                  <a:cubicBezTo>
                    <a:pt x="273698" y="70365"/>
                    <a:pt x="264865" y="60947"/>
                    <a:pt x="253419" y="59778"/>
                  </a:cubicBezTo>
                  <a:lnTo>
                    <a:pt x="140519" y="46591"/>
                  </a:lnTo>
                  <a:lnTo>
                    <a:pt x="123040" y="33030"/>
                  </a:lnTo>
                  <a:lnTo>
                    <a:pt x="0" y="0"/>
                  </a:lnTo>
                  <a:lnTo>
                    <a:pt x="0" y="153457"/>
                  </a:lnTo>
                  <a:lnTo>
                    <a:pt x="9891" y="156381"/>
                  </a:lnTo>
                  <a:cubicBezTo>
                    <a:pt x="40993" y="165587"/>
                    <a:pt x="90756" y="180765"/>
                    <a:pt x="104627" y="185555"/>
                  </a:cubicBezTo>
                  <a:cubicBezTo>
                    <a:pt x="109772" y="188161"/>
                    <a:pt x="115581" y="189156"/>
                    <a:pt x="121298" y="188416"/>
                  </a:cubicBezTo>
                  <a:lnTo>
                    <a:pt x="131064" y="188416"/>
                  </a:lnTo>
                  <a:lnTo>
                    <a:pt x="168947" y="187794"/>
                  </a:lnTo>
                  <a:lnTo>
                    <a:pt x="223872" y="186550"/>
                  </a:lnTo>
                  <a:lnTo>
                    <a:pt x="225925" y="186550"/>
                  </a:lnTo>
                  <a:lnTo>
                    <a:pt x="382306" y="134050"/>
                  </a:lnTo>
                  <a:cubicBezTo>
                    <a:pt x="393907" y="129938"/>
                    <a:pt x="400756" y="117957"/>
                    <a:pt x="398417" y="105871"/>
                  </a:cubicBezTo>
                  <a:close/>
                  <a:moveTo>
                    <a:pt x="27556" y="36452"/>
                  </a:moveTo>
                  <a:lnTo>
                    <a:pt x="110537" y="58720"/>
                  </a:lnTo>
                  <a:lnTo>
                    <a:pt x="129758" y="73587"/>
                  </a:lnTo>
                  <a:lnTo>
                    <a:pt x="246515" y="87148"/>
                  </a:lnTo>
                  <a:lnTo>
                    <a:pt x="246515" y="104938"/>
                  </a:lnTo>
                  <a:lnTo>
                    <a:pt x="122107" y="104938"/>
                  </a:lnTo>
                  <a:lnTo>
                    <a:pt x="122107" y="132743"/>
                  </a:lnTo>
                  <a:lnTo>
                    <a:pt x="247137" y="132743"/>
                  </a:lnTo>
                  <a:cubicBezTo>
                    <a:pt x="260274" y="132638"/>
                    <a:pt x="271415" y="123071"/>
                    <a:pt x="273512" y="110101"/>
                  </a:cubicBezTo>
                  <a:cubicBezTo>
                    <a:pt x="306480" y="106742"/>
                    <a:pt x="349027" y="102388"/>
                    <a:pt x="369181" y="100646"/>
                  </a:cubicBezTo>
                  <a:cubicBezTo>
                    <a:pt x="369617" y="102885"/>
                    <a:pt x="370177" y="105498"/>
                    <a:pt x="370798" y="108608"/>
                  </a:cubicBezTo>
                  <a:lnTo>
                    <a:pt x="221135" y="158931"/>
                  </a:lnTo>
                  <a:cubicBezTo>
                    <a:pt x="183813" y="159802"/>
                    <a:pt x="127021" y="161046"/>
                    <a:pt x="116322" y="160860"/>
                  </a:cubicBezTo>
                  <a:cubicBezTo>
                    <a:pt x="106120" y="156381"/>
                    <a:pt x="84473" y="149850"/>
                    <a:pt x="27556" y="13293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28" name="Google Shape;757;g12f6fb1d8b0_2_59">
              <a:extLst>
                <a:ext uri="{FF2B5EF4-FFF2-40B4-BE49-F238E27FC236}">
                  <a16:creationId xmlns:a16="http://schemas.microsoft.com/office/drawing/2014/main" id="{197FF8E6-9A40-441E-BE58-733451912888}"/>
                </a:ext>
              </a:extLst>
            </p:cNvPr>
            <p:cNvSpPr/>
            <p:nvPr/>
          </p:nvSpPr>
          <p:spPr>
            <a:xfrm>
              <a:off x="5675997" y="2637371"/>
              <a:ext cx="119805" cy="119805"/>
            </a:xfrm>
            <a:custGeom>
              <a:avLst/>
              <a:gdLst/>
              <a:ahLst/>
              <a:cxnLst/>
              <a:rect l="l" t="t" r="r" b="b"/>
              <a:pathLst>
                <a:path w="119805" h="119805" extrusionOk="0">
                  <a:moveTo>
                    <a:pt x="59903" y="119805"/>
                  </a:moveTo>
                  <a:cubicBezTo>
                    <a:pt x="92983" y="119805"/>
                    <a:pt x="119805" y="92989"/>
                    <a:pt x="119805" y="59902"/>
                  </a:cubicBezTo>
                  <a:cubicBezTo>
                    <a:pt x="119805" y="26816"/>
                    <a:pt x="92983" y="0"/>
                    <a:pt x="59903" y="0"/>
                  </a:cubicBezTo>
                  <a:cubicBezTo>
                    <a:pt x="26822" y="0"/>
                    <a:pt x="0" y="26816"/>
                    <a:pt x="0" y="59902"/>
                  </a:cubicBezTo>
                  <a:cubicBezTo>
                    <a:pt x="31" y="92970"/>
                    <a:pt x="26835" y="119768"/>
                    <a:pt x="59903" y="119805"/>
                  </a:cubicBezTo>
                  <a:close/>
                  <a:moveTo>
                    <a:pt x="25877" y="59902"/>
                  </a:moveTo>
                  <a:cubicBezTo>
                    <a:pt x="25877" y="41111"/>
                    <a:pt x="41111" y="25877"/>
                    <a:pt x="59903" y="25877"/>
                  </a:cubicBezTo>
                  <a:cubicBezTo>
                    <a:pt x="78694" y="25877"/>
                    <a:pt x="93928" y="41111"/>
                    <a:pt x="93928" y="59902"/>
                  </a:cubicBezTo>
                  <a:cubicBezTo>
                    <a:pt x="93928" y="78694"/>
                    <a:pt x="78694" y="93928"/>
                    <a:pt x="59903" y="93928"/>
                  </a:cubicBezTo>
                  <a:cubicBezTo>
                    <a:pt x="41123" y="93891"/>
                    <a:pt x="25914" y="78682"/>
                    <a:pt x="25877" y="5990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29" name="Google Shape;758;g12f6fb1d8b0_2_59">
              <a:extLst>
                <a:ext uri="{FF2B5EF4-FFF2-40B4-BE49-F238E27FC236}">
                  <a16:creationId xmlns:a16="http://schemas.microsoft.com/office/drawing/2014/main" id="{B6963DF5-0AA8-41EE-8C30-F27D0264A0BE}"/>
                </a:ext>
              </a:extLst>
            </p:cNvPr>
            <p:cNvSpPr/>
            <p:nvPr/>
          </p:nvSpPr>
          <p:spPr>
            <a:xfrm>
              <a:off x="5575040" y="2684272"/>
              <a:ext cx="101019" cy="101019"/>
            </a:xfrm>
            <a:custGeom>
              <a:avLst/>
              <a:gdLst/>
              <a:ahLst/>
              <a:cxnLst/>
              <a:rect l="l" t="t" r="r" b="b"/>
              <a:pathLst>
                <a:path w="101019" h="101019" extrusionOk="0">
                  <a:moveTo>
                    <a:pt x="50572" y="101020"/>
                  </a:moveTo>
                  <a:cubicBezTo>
                    <a:pt x="78470" y="100982"/>
                    <a:pt x="101057" y="78346"/>
                    <a:pt x="101019" y="50448"/>
                  </a:cubicBezTo>
                  <a:cubicBezTo>
                    <a:pt x="100988" y="22549"/>
                    <a:pt x="78346" y="-37"/>
                    <a:pt x="50447" y="0"/>
                  </a:cubicBezTo>
                  <a:cubicBezTo>
                    <a:pt x="22574" y="37"/>
                    <a:pt x="0" y="22636"/>
                    <a:pt x="0" y="50510"/>
                  </a:cubicBezTo>
                  <a:cubicBezTo>
                    <a:pt x="37" y="78415"/>
                    <a:pt x="22667" y="101020"/>
                    <a:pt x="50572" y="101020"/>
                  </a:cubicBezTo>
                  <a:close/>
                  <a:moveTo>
                    <a:pt x="25690" y="50510"/>
                  </a:moveTo>
                  <a:cubicBezTo>
                    <a:pt x="25690" y="36769"/>
                    <a:pt x="36831" y="25628"/>
                    <a:pt x="50572" y="25628"/>
                  </a:cubicBezTo>
                  <a:cubicBezTo>
                    <a:pt x="64313" y="25628"/>
                    <a:pt x="75454" y="36769"/>
                    <a:pt x="75454" y="50510"/>
                  </a:cubicBezTo>
                  <a:cubicBezTo>
                    <a:pt x="75454" y="64251"/>
                    <a:pt x="64313" y="75391"/>
                    <a:pt x="50572" y="75391"/>
                  </a:cubicBezTo>
                  <a:cubicBezTo>
                    <a:pt x="36931" y="75255"/>
                    <a:pt x="25939" y="64157"/>
                    <a:pt x="25939" y="5051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30" name="Google Shape;759;g12f6fb1d8b0_2_59">
              <a:extLst>
                <a:ext uri="{FF2B5EF4-FFF2-40B4-BE49-F238E27FC236}">
                  <a16:creationId xmlns:a16="http://schemas.microsoft.com/office/drawing/2014/main" id="{7A2B5ADF-999C-4B48-BE0F-220C2DEFA5C3}"/>
                </a:ext>
              </a:extLst>
            </p:cNvPr>
            <p:cNvSpPr/>
            <p:nvPr/>
          </p:nvSpPr>
          <p:spPr>
            <a:xfrm>
              <a:off x="5795740" y="2684272"/>
              <a:ext cx="101019" cy="101019"/>
            </a:xfrm>
            <a:custGeom>
              <a:avLst/>
              <a:gdLst/>
              <a:ahLst/>
              <a:cxnLst/>
              <a:rect l="l" t="t" r="r" b="b"/>
              <a:pathLst>
                <a:path w="101019" h="101019" extrusionOk="0">
                  <a:moveTo>
                    <a:pt x="50510" y="101019"/>
                  </a:moveTo>
                  <a:cubicBezTo>
                    <a:pt x="78408" y="101019"/>
                    <a:pt x="101019" y="78408"/>
                    <a:pt x="101019" y="50510"/>
                  </a:cubicBezTo>
                  <a:cubicBezTo>
                    <a:pt x="101019" y="22611"/>
                    <a:pt x="78408" y="0"/>
                    <a:pt x="50510" y="0"/>
                  </a:cubicBezTo>
                  <a:cubicBezTo>
                    <a:pt x="22611" y="0"/>
                    <a:pt x="0" y="22611"/>
                    <a:pt x="0" y="50510"/>
                  </a:cubicBezTo>
                  <a:cubicBezTo>
                    <a:pt x="31" y="78390"/>
                    <a:pt x="22630" y="100982"/>
                    <a:pt x="50510" y="101019"/>
                  </a:cubicBezTo>
                  <a:close/>
                  <a:moveTo>
                    <a:pt x="50510" y="25877"/>
                  </a:moveTo>
                  <a:cubicBezTo>
                    <a:pt x="64250" y="25877"/>
                    <a:pt x="75391" y="37018"/>
                    <a:pt x="75391" y="50759"/>
                  </a:cubicBezTo>
                  <a:cubicBezTo>
                    <a:pt x="75391" y="64499"/>
                    <a:pt x="64250" y="75640"/>
                    <a:pt x="50510" y="75640"/>
                  </a:cubicBezTo>
                  <a:cubicBezTo>
                    <a:pt x="36769" y="75640"/>
                    <a:pt x="25628" y="64499"/>
                    <a:pt x="25628" y="50759"/>
                  </a:cubicBezTo>
                  <a:cubicBezTo>
                    <a:pt x="25628" y="37018"/>
                    <a:pt x="36769" y="25877"/>
                    <a:pt x="50510" y="2587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31" name="Google Shape;760;g12f6fb1d8b0_2_59">
              <a:extLst>
                <a:ext uri="{FF2B5EF4-FFF2-40B4-BE49-F238E27FC236}">
                  <a16:creationId xmlns:a16="http://schemas.microsoft.com/office/drawing/2014/main" id="{571E7BC1-9CAA-4F9D-B9D1-95B0463E3D49}"/>
                </a:ext>
              </a:extLst>
            </p:cNvPr>
            <p:cNvSpPr/>
            <p:nvPr/>
          </p:nvSpPr>
          <p:spPr>
            <a:xfrm>
              <a:off x="5575412" y="2774594"/>
              <a:ext cx="321035" cy="118932"/>
            </a:xfrm>
            <a:custGeom>
              <a:avLst/>
              <a:gdLst/>
              <a:ahLst/>
              <a:cxnLst/>
              <a:rect l="l" t="t" r="r" b="b"/>
              <a:pathLst>
                <a:path w="321035" h="118932" extrusionOk="0">
                  <a:moveTo>
                    <a:pt x="256592" y="21148"/>
                  </a:moveTo>
                  <a:cubicBezTo>
                    <a:pt x="250477" y="21142"/>
                    <a:pt x="244363" y="21552"/>
                    <a:pt x="238304" y="22392"/>
                  </a:cubicBezTo>
                  <a:lnTo>
                    <a:pt x="238304" y="19717"/>
                  </a:lnTo>
                  <a:lnTo>
                    <a:pt x="231337" y="16109"/>
                  </a:lnTo>
                  <a:cubicBezTo>
                    <a:pt x="186569" y="-5152"/>
                    <a:pt x="134653" y="-5376"/>
                    <a:pt x="89698" y="15487"/>
                  </a:cubicBezTo>
                  <a:lnTo>
                    <a:pt x="82545" y="19095"/>
                  </a:lnTo>
                  <a:lnTo>
                    <a:pt x="82545" y="22330"/>
                  </a:lnTo>
                  <a:cubicBezTo>
                    <a:pt x="76542" y="21546"/>
                    <a:pt x="70496" y="21148"/>
                    <a:pt x="64443" y="21148"/>
                  </a:cubicBezTo>
                  <a:cubicBezTo>
                    <a:pt x="44619" y="20800"/>
                    <a:pt x="24987" y="25060"/>
                    <a:pt x="7091" y="33589"/>
                  </a:cubicBezTo>
                  <a:lnTo>
                    <a:pt x="0" y="37197"/>
                  </a:lnTo>
                  <a:lnTo>
                    <a:pt x="0" y="118933"/>
                  </a:lnTo>
                  <a:lnTo>
                    <a:pt x="321035" y="118933"/>
                  </a:lnTo>
                  <a:lnTo>
                    <a:pt x="321035" y="37383"/>
                  </a:lnTo>
                  <a:lnTo>
                    <a:pt x="313882" y="33838"/>
                  </a:lnTo>
                  <a:cubicBezTo>
                    <a:pt x="296035" y="25204"/>
                    <a:pt x="276416" y="20856"/>
                    <a:pt x="256592" y="21148"/>
                  </a:cubicBezTo>
                  <a:close/>
                  <a:moveTo>
                    <a:pt x="25877" y="93242"/>
                  </a:moveTo>
                  <a:lnTo>
                    <a:pt x="25877" y="53743"/>
                  </a:lnTo>
                  <a:cubicBezTo>
                    <a:pt x="44009" y="47205"/>
                    <a:pt x="63510" y="45383"/>
                    <a:pt x="82545" y="48455"/>
                  </a:cubicBezTo>
                  <a:lnTo>
                    <a:pt x="82545" y="93242"/>
                  </a:lnTo>
                  <a:close/>
                  <a:moveTo>
                    <a:pt x="108608" y="93242"/>
                  </a:moveTo>
                  <a:lnTo>
                    <a:pt x="108608" y="35330"/>
                  </a:lnTo>
                  <a:cubicBezTo>
                    <a:pt x="142068" y="22554"/>
                    <a:pt x="179092" y="22728"/>
                    <a:pt x="212427" y="35828"/>
                  </a:cubicBezTo>
                  <a:lnTo>
                    <a:pt x="212427" y="93242"/>
                  </a:lnTo>
                  <a:close/>
                  <a:moveTo>
                    <a:pt x="238304" y="93242"/>
                  </a:moveTo>
                  <a:lnTo>
                    <a:pt x="238304" y="48455"/>
                  </a:lnTo>
                  <a:cubicBezTo>
                    <a:pt x="257401" y="45370"/>
                    <a:pt x="276970" y="47211"/>
                    <a:pt x="295158" y="53805"/>
                  </a:cubicBezTo>
                  <a:lnTo>
                    <a:pt x="295158" y="9324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sp>
        <p:nvSpPr>
          <p:cNvPr id="32" name="Rectangle 31">
            <a:extLst>
              <a:ext uri="{FF2B5EF4-FFF2-40B4-BE49-F238E27FC236}">
                <a16:creationId xmlns:a16="http://schemas.microsoft.com/office/drawing/2014/main" id="{C02B80BE-0635-4FCE-99AB-7227026D51E1}"/>
              </a:ext>
            </a:extLst>
          </p:cNvPr>
          <p:cNvSpPr/>
          <p:nvPr/>
        </p:nvSpPr>
        <p:spPr>
          <a:xfrm>
            <a:off x="6331276" y="4815647"/>
            <a:ext cx="560801" cy="53146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33" name="Google Shape;1012;p84">
            <a:extLst>
              <a:ext uri="{FF2B5EF4-FFF2-40B4-BE49-F238E27FC236}">
                <a16:creationId xmlns:a16="http://schemas.microsoft.com/office/drawing/2014/main" id="{6EFAD3F2-6995-4653-9FC4-F865D3231417}"/>
              </a:ext>
            </a:extLst>
          </p:cNvPr>
          <p:cNvPicPr preferRelativeResize="0"/>
          <p:nvPr/>
        </p:nvPicPr>
        <p:blipFill>
          <a:blip r:embed="rId3">
            <a:alphaModFix/>
          </a:blip>
          <a:stretch>
            <a:fillRect/>
          </a:stretch>
        </p:blipFill>
        <p:spPr>
          <a:xfrm>
            <a:off x="521640" y="1917440"/>
            <a:ext cx="543603" cy="547311"/>
          </a:xfrm>
          <a:prstGeom prst="rect">
            <a:avLst/>
          </a:prstGeom>
          <a:noFill/>
          <a:ln>
            <a:noFill/>
          </a:ln>
        </p:spPr>
      </p:pic>
      <p:pic>
        <p:nvPicPr>
          <p:cNvPr id="34" name="Google Shape;855;p84">
            <a:extLst>
              <a:ext uri="{FF2B5EF4-FFF2-40B4-BE49-F238E27FC236}">
                <a16:creationId xmlns:a16="http://schemas.microsoft.com/office/drawing/2014/main" id="{83DE26DE-B968-4850-BB15-42335305E415}"/>
              </a:ext>
            </a:extLst>
          </p:cNvPr>
          <p:cNvPicPr preferRelativeResize="0"/>
          <p:nvPr/>
        </p:nvPicPr>
        <p:blipFill>
          <a:blip r:embed="rId4">
            <a:alphaModFix/>
          </a:blip>
          <a:stretch>
            <a:fillRect/>
          </a:stretch>
        </p:blipFill>
        <p:spPr>
          <a:xfrm>
            <a:off x="6364294" y="1911293"/>
            <a:ext cx="547311" cy="547311"/>
          </a:xfrm>
          <a:prstGeom prst="rect">
            <a:avLst/>
          </a:prstGeom>
          <a:noFill/>
          <a:ln>
            <a:noFill/>
          </a:ln>
        </p:spPr>
      </p:pic>
      <p:sp>
        <p:nvSpPr>
          <p:cNvPr id="37" name="Google Shape;1023;p84">
            <a:extLst>
              <a:ext uri="{FF2B5EF4-FFF2-40B4-BE49-F238E27FC236}">
                <a16:creationId xmlns:a16="http://schemas.microsoft.com/office/drawing/2014/main" id="{7DFD0A91-78E6-4F9E-83B0-AA1D0D64A847}"/>
              </a:ext>
            </a:extLst>
          </p:cNvPr>
          <p:cNvSpPr/>
          <p:nvPr/>
        </p:nvSpPr>
        <p:spPr>
          <a:xfrm>
            <a:off x="6364294" y="2939999"/>
            <a:ext cx="534013" cy="537662"/>
          </a:xfrm>
          <a:custGeom>
            <a:avLst/>
            <a:gdLst/>
            <a:ahLst/>
            <a:cxnLst/>
            <a:rect l="l" t="t" r="r" b="b"/>
            <a:pathLst>
              <a:path w="576" h="576" extrusionOk="0">
                <a:moveTo>
                  <a:pt x="316" y="282"/>
                </a:moveTo>
                <a:cubicBezTo>
                  <a:pt x="321" y="286"/>
                  <a:pt x="326" y="289"/>
                  <a:pt x="333" y="291"/>
                </a:cubicBezTo>
                <a:cubicBezTo>
                  <a:pt x="333" y="246"/>
                  <a:pt x="333" y="246"/>
                  <a:pt x="333" y="246"/>
                </a:cubicBezTo>
                <a:cubicBezTo>
                  <a:pt x="332" y="246"/>
                  <a:pt x="331" y="246"/>
                  <a:pt x="330" y="246"/>
                </a:cubicBezTo>
                <a:cubicBezTo>
                  <a:pt x="329" y="245"/>
                  <a:pt x="327" y="245"/>
                  <a:pt x="326" y="245"/>
                </a:cubicBezTo>
                <a:cubicBezTo>
                  <a:pt x="321" y="243"/>
                  <a:pt x="315" y="242"/>
                  <a:pt x="310" y="240"/>
                </a:cubicBezTo>
                <a:cubicBezTo>
                  <a:pt x="305" y="238"/>
                  <a:pt x="301" y="235"/>
                  <a:pt x="297" y="232"/>
                </a:cubicBezTo>
                <a:cubicBezTo>
                  <a:pt x="293" y="229"/>
                  <a:pt x="289" y="225"/>
                  <a:pt x="287" y="220"/>
                </a:cubicBezTo>
                <a:cubicBezTo>
                  <a:pt x="285" y="215"/>
                  <a:pt x="284" y="210"/>
                  <a:pt x="284" y="203"/>
                </a:cubicBezTo>
                <a:cubicBezTo>
                  <a:pt x="284" y="195"/>
                  <a:pt x="285" y="189"/>
                  <a:pt x="288" y="183"/>
                </a:cubicBezTo>
                <a:cubicBezTo>
                  <a:pt x="290" y="178"/>
                  <a:pt x="294" y="173"/>
                  <a:pt x="299" y="170"/>
                </a:cubicBezTo>
                <a:cubicBezTo>
                  <a:pt x="303" y="166"/>
                  <a:pt x="308" y="163"/>
                  <a:pt x="314" y="161"/>
                </a:cubicBezTo>
                <a:cubicBezTo>
                  <a:pt x="320" y="159"/>
                  <a:pt x="326" y="158"/>
                  <a:pt x="333" y="157"/>
                </a:cubicBezTo>
                <a:cubicBezTo>
                  <a:pt x="333" y="141"/>
                  <a:pt x="333" y="141"/>
                  <a:pt x="333" y="141"/>
                </a:cubicBezTo>
                <a:cubicBezTo>
                  <a:pt x="345" y="141"/>
                  <a:pt x="345" y="141"/>
                  <a:pt x="345" y="141"/>
                </a:cubicBezTo>
                <a:cubicBezTo>
                  <a:pt x="345" y="157"/>
                  <a:pt x="345" y="157"/>
                  <a:pt x="345" y="157"/>
                </a:cubicBezTo>
                <a:cubicBezTo>
                  <a:pt x="351" y="158"/>
                  <a:pt x="357" y="159"/>
                  <a:pt x="363" y="161"/>
                </a:cubicBezTo>
                <a:cubicBezTo>
                  <a:pt x="369" y="163"/>
                  <a:pt x="373" y="166"/>
                  <a:pt x="378" y="170"/>
                </a:cubicBezTo>
                <a:cubicBezTo>
                  <a:pt x="382" y="173"/>
                  <a:pt x="385" y="178"/>
                  <a:pt x="388" y="183"/>
                </a:cubicBezTo>
                <a:cubicBezTo>
                  <a:pt x="391" y="189"/>
                  <a:pt x="392" y="195"/>
                  <a:pt x="393" y="202"/>
                </a:cubicBezTo>
                <a:cubicBezTo>
                  <a:pt x="363" y="202"/>
                  <a:pt x="363" y="202"/>
                  <a:pt x="363" y="202"/>
                </a:cubicBezTo>
                <a:cubicBezTo>
                  <a:pt x="362" y="197"/>
                  <a:pt x="361" y="192"/>
                  <a:pt x="357" y="188"/>
                </a:cubicBezTo>
                <a:cubicBezTo>
                  <a:pt x="354" y="184"/>
                  <a:pt x="350" y="182"/>
                  <a:pt x="345" y="182"/>
                </a:cubicBezTo>
                <a:cubicBezTo>
                  <a:pt x="345" y="219"/>
                  <a:pt x="345" y="219"/>
                  <a:pt x="345" y="219"/>
                </a:cubicBezTo>
                <a:cubicBezTo>
                  <a:pt x="347" y="220"/>
                  <a:pt x="348" y="220"/>
                  <a:pt x="350" y="221"/>
                </a:cubicBezTo>
                <a:cubicBezTo>
                  <a:pt x="352" y="221"/>
                  <a:pt x="354" y="222"/>
                  <a:pt x="356" y="222"/>
                </a:cubicBezTo>
                <a:cubicBezTo>
                  <a:pt x="366" y="225"/>
                  <a:pt x="374" y="228"/>
                  <a:pt x="380" y="233"/>
                </a:cubicBezTo>
                <a:cubicBezTo>
                  <a:pt x="386" y="237"/>
                  <a:pt x="390" y="241"/>
                  <a:pt x="392" y="246"/>
                </a:cubicBezTo>
                <a:cubicBezTo>
                  <a:pt x="395" y="250"/>
                  <a:pt x="397" y="255"/>
                  <a:pt x="397" y="259"/>
                </a:cubicBezTo>
                <a:cubicBezTo>
                  <a:pt x="398" y="264"/>
                  <a:pt x="398" y="268"/>
                  <a:pt x="398" y="271"/>
                </a:cubicBezTo>
                <a:cubicBezTo>
                  <a:pt x="398" y="274"/>
                  <a:pt x="397" y="278"/>
                  <a:pt x="396" y="283"/>
                </a:cubicBezTo>
                <a:cubicBezTo>
                  <a:pt x="394" y="288"/>
                  <a:pt x="391" y="292"/>
                  <a:pt x="387" y="297"/>
                </a:cubicBezTo>
                <a:cubicBezTo>
                  <a:pt x="383" y="301"/>
                  <a:pt x="378" y="305"/>
                  <a:pt x="371" y="309"/>
                </a:cubicBezTo>
                <a:cubicBezTo>
                  <a:pt x="364" y="312"/>
                  <a:pt x="356" y="315"/>
                  <a:pt x="345" y="315"/>
                </a:cubicBezTo>
                <a:cubicBezTo>
                  <a:pt x="345" y="333"/>
                  <a:pt x="345" y="333"/>
                  <a:pt x="345" y="333"/>
                </a:cubicBezTo>
                <a:cubicBezTo>
                  <a:pt x="333" y="333"/>
                  <a:pt x="333" y="333"/>
                  <a:pt x="333" y="333"/>
                </a:cubicBezTo>
                <a:cubicBezTo>
                  <a:pt x="333" y="315"/>
                  <a:pt x="333" y="315"/>
                  <a:pt x="333" y="315"/>
                </a:cubicBezTo>
                <a:cubicBezTo>
                  <a:pt x="317" y="314"/>
                  <a:pt x="304" y="309"/>
                  <a:pt x="296" y="301"/>
                </a:cubicBezTo>
                <a:cubicBezTo>
                  <a:pt x="287" y="292"/>
                  <a:pt x="282" y="279"/>
                  <a:pt x="280" y="263"/>
                </a:cubicBezTo>
                <a:cubicBezTo>
                  <a:pt x="310" y="263"/>
                  <a:pt x="310" y="263"/>
                  <a:pt x="310" y="263"/>
                </a:cubicBezTo>
                <a:cubicBezTo>
                  <a:pt x="310" y="271"/>
                  <a:pt x="312" y="277"/>
                  <a:pt x="316" y="282"/>
                </a:cubicBezTo>
                <a:close/>
                <a:moveTo>
                  <a:pt x="326" y="183"/>
                </a:moveTo>
                <a:cubicBezTo>
                  <a:pt x="323" y="184"/>
                  <a:pt x="321" y="185"/>
                  <a:pt x="319" y="186"/>
                </a:cubicBezTo>
                <a:cubicBezTo>
                  <a:pt x="318" y="188"/>
                  <a:pt x="316" y="190"/>
                  <a:pt x="315" y="192"/>
                </a:cubicBezTo>
                <a:cubicBezTo>
                  <a:pt x="314" y="194"/>
                  <a:pt x="314" y="197"/>
                  <a:pt x="314" y="200"/>
                </a:cubicBezTo>
                <a:cubicBezTo>
                  <a:pt x="314" y="204"/>
                  <a:pt x="315" y="208"/>
                  <a:pt x="318" y="210"/>
                </a:cubicBezTo>
                <a:cubicBezTo>
                  <a:pt x="321" y="213"/>
                  <a:pt x="326" y="215"/>
                  <a:pt x="333" y="216"/>
                </a:cubicBezTo>
                <a:cubicBezTo>
                  <a:pt x="333" y="182"/>
                  <a:pt x="333" y="182"/>
                  <a:pt x="333" y="182"/>
                </a:cubicBezTo>
                <a:cubicBezTo>
                  <a:pt x="330" y="182"/>
                  <a:pt x="328" y="182"/>
                  <a:pt x="326" y="183"/>
                </a:cubicBezTo>
                <a:close/>
                <a:moveTo>
                  <a:pt x="353" y="289"/>
                </a:moveTo>
                <a:cubicBezTo>
                  <a:pt x="356" y="288"/>
                  <a:pt x="358" y="287"/>
                  <a:pt x="360" y="285"/>
                </a:cubicBezTo>
                <a:cubicBezTo>
                  <a:pt x="363" y="283"/>
                  <a:pt x="364" y="281"/>
                  <a:pt x="366" y="279"/>
                </a:cubicBezTo>
                <a:cubicBezTo>
                  <a:pt x="367" y="276"/>
                  <a:pt x="368" y="273"/>
                  <a:pt x="368" y="270"/>
                </a:cubicBezTo>
                <a:cubicBezTo>
                  <a:pt x="368" y="264"/>
                  <a:pt x="366" y="260"/>
                  <a:pt x="363" y="258"/>
                </a:cubicBezTo>
                <a:cubicBezTo>
                  <a:pt x="359" y="255"/>
                  <a:pt x="353" y="252"/>
                  <a:pt x="345" y="250"/>
                </a:cubicBezTo>
                <a:cubicBezTo>
                  <a:pt x="345" y="291"/>
                  <a:pt x="345" y="291"/>
                  <a:pt x="345" y="291"/>
                </a:cubicBezTo>
                <a:cubicBezTo>
                  <a:pt x="348" y="290"/>
                  <a:pt x="350" y="290"/>
                  <a:pt x="353" y="289"/>
                </a:cubicBezTo>
                <a:close/>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79" y="514"/>
                </a:moveTo>
                <a:cubicBezTo>
                  <a:pt x="221" y="372"/>
                  <a:pt x="221" y="372"/>
                  <a:pt x="221" y="372"/>
                </a:cubicBezTo>
                <a:cubicBezTo>
                  <a:pt x="254" y="401"/>
                  <a:pt x="295" y="416"/>
                  <a:pt x="339" y="416"/>
                </a:cubicBezTo>
                <a:cubicBezTo>
                  <a:pt x="387" y="416"/>
                  <a:pt x="432" y="398"/>
                  <a:pt x="466" y="364"/>
                </a:cubicBezTo>
                <a:cubicBezTo>
                  <a:pt x="500" y="330"/>
                  <a:pt x="518" y="285"/>
                  <a:pt x="518" y="237"/>
                </a:cubicBezTo>
                <a:cubicBezTo>
                  <a:pt x="518" y="189"/>
                  <a:pt x="500" y="144"/>
                  <a:pt x="466" y="110"/>
                </a:cubicBezTo>
                <a:cubicBezTo>
                  <a:pt x="432" y="76"/>
                  <a:pt x="387" y="58"/>
                  <a:pt x="339" y="58"/>
                </a:cubicBezTo>
                <a:cubicBezTo>
                  <a:pt x="291" y="58"/>
                  <a:pt x="246" y="76"/>
                  <a:pt x="212" y="110"/>
                </a:cubicBezTo>
                <a:cubicBezTo>
                  <a:pt x="178" y="144"/>
                  <a:pt x="160" y="189"/>
                  <a:pt x="160" y="237"/>
                </a:cubicBezTo>
                <a:cubicBezTo>
                  <a:pt x="160" y="281"/>
                  <a:pt x="175" y="322"/>
                  <a:pt x="204" y="355"/>
                </a:cubicBezTo>
                <a:cubicBezTo>
                  <a:pt x="62" y="497"/>
                  <a:pt x="62" y="497"/>
                  <a:pt x="62" y="497"/>
                </a:cubicBezTo>
                <a:lnTo>
                  <a:pt x="79" y="514"/>
                </a:lnTo>
                <a:close/>
                <a:moveTo>
                  <a:pt x="230" y="128"/>
                </a:moveTo>
                <a:cubicBezTo>
                  <a:pt x="259" y="99"/>
                  <a:pt x="298" y="82"/>
                  <a:pt x="339" y="82"/>
                </a:cubicBezTo>
                <a:cubicBezTo>
                  <a:pt x="380" y="82"/>
                  <a:pt x="419" y="99"/>
                  <a:pt x="448" y="128"/>
                </a:cubicBezTo>
                <a:cubicBezTo>
                  <a:pt x="478" y="157"/>
                  <a:pt x="494" y="196"/>
                  <a:pt x="494" y="237"/>
                </a:cubicBezTo>
                <a:cubicBezTo>
                  <a:pt x="494" y="278"/>
                  <a:pt x="478" y="317"/>
                  <a:pt x="448" y="346"/>
                </a:cubicBezTo>
                <a:cubicBezTo>
                  <a:pt x="419" y="376"/>
                  <a:pt x="380" y="392"/>
                  <a:pt x="339" y="392"/>
                </a:cubicBezTo>
                <a:cubicBezTo>
                  <a:pt x="298" y="392"/>
                  <a:pt x="259" y="376"/>
                  <a:pt x="230" y="346"/>
                </a:cubicBezTo>
                <a:cubicBezTo>
                  <a:pt x="200" y="317"/>
                  <a:pt x="184" y="278"/>
                  <a:pt x="184" y="237"/>
                </a:cubicBezTo>
                <a:cubicBezTo>
                  <a:pt x="184" y="196"/>
                  <a:pt x="200" y="157"/>
                  <a:pt x="230" y="128"/>
                </a:cubicBezTo>
                <a:close/>
              </a:path>
            </a:pathLst>
          </a:custGeom>
          <a:solidFill>
            <a:srgbClr val="000000"/>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rgbClr val="D04A02"/>
              </a:solidFill>
              <a:latin typeface="Arial"/>
              <a:ea typeface="Arial"/>
              <a:cs typeface="Arial"/>
              <a:sym typeface="Arial"/>
            </a:endParaRPr>
          </a:p>
        </p:txBody>
      </p:sp>
      <p:sp>
        <p:nvSpPr>
          <p:cNvPr id="42" name="Google Shape;72;p1">
            <a:extLst>
              <a:ext uri="{FF2B5EF4-FFF2-40B4-BE49-F238E27FC236}">
                <a16:creationId xmlns:a16="http://schemas.microsoft.com/office/drawing/2014/main" id="{133C35FC-1E81-4EAE-BD89-2A6D19EA501D}"/>
              </a:ext>
            </a:extLst>
          </p:cNvPr>
          <p:cNvSpPr/>
          <p:nvPr/>
        </p:nvSpPr>
        <p:spPr>
          <a:xfrm>
            <a:off x="6343649" y="3722948"/>
            <a:ext cx="547311" cy="54731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25" y="335"/>
                </a:moveTo>
                <a:cubicBezTo>
                  <a:pt x="519" y="312"/>
                  <a:pt x="499" y="294"/>
                  <a:pt x="473" y="294"/>
                </a:cubicBezTo>
                <a:cubicBezTo>
                  <a:pt x="458" y="294"/>
                  <a:pt x="445" y="301"/>
                  <a:pt x="435" y="311"/>
                </a:cubicBezTo>
                <a:cubicBezTo>
                  <a:pt x="404" y="297"/>
                  <a:pt x="404" y="297"/>
                  <a:pt x="404" y="297"/>
                </a:cubicBezTo>
                <a:cubicBezTo>
                  <a:pt x="405" y="294"/>
                  <a:pt x="405" y="291"/>
                  <a:pt x="405" y="288"/>
                </a:cubicBezTo>
                <a:cubicBezTo>
                  <a:pt x="405" y="285"/>
                  <a:pt x="405" y="282"/>
                  <a:pt x="404" y="279"/>
                </a:cubicBezTo>
                <a:cubicBezTo>
                  <a:pt x="433" y="266"/>
                  <a:pt x="433" y="266"/>
                  <a:pt x="433" y="266"/>
                </a:cubicBezTo>
                <a:cubicBezTo>
                  <a:pt x="443" y="277"/>
                  <a:pt x="457" y="284"/>
                  <a:pt x="473" y="284"/>
                </a:cubicBezTo>
                <a:cubicBezTo>
                  <a:pt x="498" y="284"/>
                  <a:pt x="519" y="267"/>
                  <a:pt x="525" y="243"/>
                </a:cubicBezTo>
                <a:cubicBezTo>
                  <a:pt x="553" y="243"/>
                  <a:pt x="553" y="243"/>
                  <a:pt x="553" y="243"/>
                </a:cubicBezTo>
                <a:cubicBezTo>
                  <a:pt x="553" y="335"/>
                  <a:pt x="553" y="335"/>
                  <a:pt x="553" y="335"/>
                </a:cubicBezTo>
                <a:lnTo>
                  <a:pt x="525" y="335"/>
                </a:lnTo>
                <a:close/>
                <a:moveTo>
                  <a:pt x="51" y="335"/>
                </a:moveTo>
                <a:cubicBezTo>
                  <a:pt x="23" y="335"/>
                  <a:pt x="23" y="335"/>
                  <a:pt x="23" y="335"/>
                </a:cubicBezTo>
                <a:cubicBezTo>
                  <a:pt x="23" y="243"/>
                  <a:pt x="23" y="243"/>
                  <a:pt x="23" y="243"/>
                </a:cubicBezTo>
                <a:cubicBezTo>
                  <a:pt x="51" y="243"/>
                  <a:pt x="51" y="243"/>
                  <a:pt x="51" y="243"/>
                </a:cubicBezTo>
                <a:cubicBezTo>
                  <a:pt x="57" y="267"/>
                  <a:pt x="77" y="284"/>
                  <a:pt x="103" y="284"/>
                </a:cubicBezTo>
                <a:cubicBezTo>
                  <a:pt x="119" y="284"/>
                  <a:pt x="133" y="277"/>
                  <a:pt x="143" y="266"/>
                </a:cubicBezTo>
                <a:cubicBezTo>
                  <a:pt x="172" y="279"/>
                  <a:pt x="172" y="279"/>
                  <a:pt x="172" y="279"/>
                </a:cubicBezTo>
                <a:cubicBezTo>
                  <a:pt x="171" y="282"/>
                  <a:pt x="171" y="285"/>
                  <a:pt x="171" y="288"/>
                </a:cubicBezTo>
                <a:cubicBezTo>
                  <a:pt x="171" y="291"/>
                  <a:pt x="171" y="294"/>
                  <a:pt x="172" y="297"/>
                </a:cubicBezTo>
                <a:cubicBezTo>
                  <a:pt x="141" y="311"/>
                  <a:pt x="141" y="311"/>
                  <a:pt x="141" y="311"/>
                </a:cubicBezTo>
                <a:cubicBezTo>
                  <a:pt x="131" y="301"/>
                  <a:pt x="118" y="294"/>
                  <a:pt x="103" y="294"/>
                </a:cubicBezTo>
                <a:cubicBezTo>
                  <a:pt x="78" y="294"/>
                  <a:pt x="57" y="312"/>
                  <a:pt x="51" y="335"/>
                </a:cubicBezTo>
                <a:close/>
                <a:moveTo>
                  <a:pt x="422" y="361"/>
                </a:moveTo>
                <a:cubicBezTo>
                  <a:pt x="366" y="395"/>
                  <a:pt x="366" y="395"/>
                  <a:pt x="366" y="395"/>
                </a:cubicBezTo>
                <a:cubicBezTo>
                  <a:pt x="366" y="339"/>
                  <a:pt x="366" y="339"/>
                  <a:pt x="366" y="339"/>
                </a:cubicBezTo>
                <a:cubicBezTo>
                  <a:pt x="378" y="336"/>
                  <a:pt x="388" y="329"/>
                  <a:pt x="395" y="319"/>
                </a:cubicBezTo>
                <a:cubicBezTo>
                  <a:pt x="423" y="331"/>
                  <a:pt x="423" y="331"/>
                  <a:pt x="423" y="331"/>
                </a:cubicBezTo>
                <a:cubicBezTo>
                  <a:pt x="421" y="336"/>
                  <a:pt x="420" y="342"/>
                  <a:pt x="420" y="347"/>
                </a:cubicBezTo>
                <a:cubicBezTo>
                  <a:pt x="420" y="352"/>
                  <a:pt x="421" y="356"/>
                  <a:pt x="422" y="361"/>
                </a:cubicBezTo>
                <a:close/>
                <a:moveTo>
                  <a:pt x="153" y="331"/>
                </a:moveTo>
                <a:cubicBezTo>
                  <a:pt x="181" y="319"/>
                  <a:pt x="181" y="319"/>
                  <a:pt x="181" y="319"/>
                </a:cubicBezTo>
                <a:cubicBezTo>
                  <a:pt x="188" y="328"/>
                  <a:pt x="198" y="336"/>
                  <a:pt x="210" y="339"/>
                </a:cubicBezTo>
                <a:cubicBezTo>
                  <a:pt x="210" y="395"/>
                  <a:pt x="210" y="395"/>
                  <a:pt x="210" y="395"/>
                </a:cubicBezTo>
                <a:cubicBezTo>
                  <a:pt x="154" y="361"/>
                  <a:pt x="154" y="361"/>
                  <a:pt x="154" y="361"/>
                </a:cubicBezTo>
                <a:cubicBezTo>
                  <a:pt x="155" y="356"/>
                  <a:pt x="156" y="352"/>
                  <a:pt x="156" y="347"/>
                </a:cubicBezTo>
                <a:cubicBezTo>
                  <a:pt x="156" y="342"/>
                  <a:pt x="155" y="336"/>
                  <a:pt x="153" y="331"/>
                </a:cubicBezTo>
                <a:close/>
                <a:moveTo>
                  <a:pt x="153" y="215"/>
                </a:moveTo>
                <a:cubicBezTo>
                  <a:pt x="210" y="181"/>
                  <a:pt x="210" y="181"/>
                  <a:pt x="210" y="181"/>
                </a:cubicBezTo>
                <a:cubicBezTo>
                  <a:pt x="210" y="237"/>
                  <a:pt x="210" y="237"/>
                  <a:pt x="210" y="237"/>
                </a:cubicBezTo>
                <a:cubicBezTo>
                  <a:pt x="198" y="240"/>
                  <a:pt x="188" y="247"/>
                  <a:pt x="181" y="257"/>
                </a:cubicBezTo>
                <a:cubicBezTo>
                  <a:pt x="154" y="244"/>
                  <a:pt x="154" y="244"/>
                  <a:pt x="154" y="244"/>
                </a:cubicBezTo>
                <a:cubicBezTo>
                  <a:pt x="155" y="240"/>
                  <a:pt x="156" y="236"/>
                  <a:pt x="156" y="231"/>
                </a:cubicBezTo>
                <a:cubicBezTo>
                  <a:pt x="156" y="226"/>
                  <a:pt x="155" y="221"/>
                  <a:pt x="153" y="215"/>
                </a:cubicBezTo>
                <a:close/>
                <a:moveTo>
                  <a:pt x="352" y="317"/>
                </a:moveTo>
                <a:cubicBezTo>
                  <a:pt x="336" y="317"/>
                  <a:pt x="323" y="304"/>
                  <a:pt x="323" y="288"/>
                </a:cubicBezTo>
                <a:cubicBezTo>
                  <a:pt x="323" y="272"/>
                  <a:pt x="336" y="259"/>
                  <a:pt x="352" y="259"/>
                </a:cubicBezTo>
                <a:cubicBezTo>
                  <a:pt x="368" y="259"/>
                  <a:pt x="381" y="272"/>
                  <a:pt x="381" y="288"/>
                </a:cubicBezTo>
                <a:cubicBezTo>
                  <a:pt x="381" y="304"/>
                  <a:pt x="368" y="317"/>
                  <a:pt x="352" y="317"/>
                </a:cubicBezTo>
                <a:close/>
                <a:moveTo>
                  <a:pt x="224" y="259"/>
                </a:moveTo>
                <a:cubicBezTo>
                  <a:pt x="240" y="259"/>
                  <a:pt x="253" y="272"/>
                  <a:pt x="253" y="288"/>
                </a:cubicBezTo>
                <a:cubicBezTo>
                  <a:pt x="253" y="304"/>
                  <a:pt x="240" y="317"/>
                  <a:pt x="224" y="317"/>
                </a:cubicBezTo>
                <a:cubicBezTo>
                  <a:pt x="208" y="317"/>
                  <a:pt x="195" y="304"/>
                  <a:pt x="195" y="288"/>
                </a:cubicBezTo>
                <a:cubicBezTo>
                  <a:pt x="195" y="272"/>
                  <a:pt x="208" y="259"/>
                  <a:pt x="224" y="259"/>
                </a:cubicBezTo>
                <a:close/>
                <a:moveTo>
                  <a:pt x="259" y="248"/>
                </a:moveTo>
                <a:cubicBezTo>
                  <a:pt x="288" y="204"/>
                  <a:pt x="288" y="204"/>
                  <a:pt x="288" y="204"/>
                </a:cubicBezTo>
                <a:cubicBezTo>
                  <a:pt x="317" y="248"/>
                  <a:pt x="317" y="248"/>
                  <a:pt x="317" y="248"/>
                </a:cubicBezTo>
                <a:cubicBezTo>
                  <a:pt x="306" y="258"/>
                  <a:pt x="299" y="272"/>
                  <a:pt x="299" y="288"/>
                </a:cubicBezTo>
                <a:cubicBezTo>
                  <a:pt x="299" y="303"/>
                  <a:pt x="306" y="317"/>
                  <a:pt x="317" y="327"/>
                </a:cubicBezTo>
                <a:cubicBezTo>
                  <a:pt x="288" y="371"/>
                  <a:pt x="288" y="371"/>
                  <a:pt x="288" y="371"/>
                </a:cubicBezTo>
                <a:cubicBezTo>
                  <a:pt x="259" y="327"/>
                  <a:pt x="259" y="327"/>
                  <a:pt x="259" y="327"/>
                </a:cubicBezTo>
                <a:cubicBezTo>
                  <a:pt x="270" y="317"/>
                  <a:pt x="277" y="303"/>
                  <a:pt x="277" y="288"/>
                </a:cubicBezTo>
                <a:cubicBezTo>
                  <a:pt x="277" y="272"/>
                  <a:pt x="270" y="258"/>
                  <a:pt x="259" y="248"/>
                </a:cubicBezTo>
                <a:close/>
                <a:moveTo>
                  <a:pt x="342" y="236"/>
                </a:moveTo>
                <a:cubicBezTo>
                  <a:pt x="341" y="236"/>
                  <a:pt x="339" y="236"/>
                  <a:pt x="338" y="237"/>
                </a:cubicBezTo>
                <a:cubicBezTo>
                  <a:pt x="302" y="182"/>
                  <a:pt x="302" y="182"/>
                  <a:pt x="302" y="182"/>
                </a:cubicBezTo>
                <a:cubicBezTo>
                  <a:pt x="321" y="153"/>
                  <a:pt x="321" y="153"/>
                  <a:pt x="321" y="153"/>
                </a:cubicBezTo>
                <a:cubicBezTo>
                  <a:pt x="342" y="166"/>
                  <a:pt x="342" y="166"/>
                  <a:pt x="342" y="166"/>
                </a:cubicBezTo>
                <a:lnTo>
                  <a:pt x="342" y="236"/>
                </a:lnTo>
                <a:close/>
                <a:moveTo>
                  <a:pt x="300" y="141"/>
                </a:moveTo>
                <a:cubicBezTo>
                  <a:pt x="288" y="160"/>
                  <a:pt x="288" y="160"/>
                  <a:pt x="288" y="160"/>
                </a:cubicBezTo>
                <a:cubicBezTo>
                  <a:pt x="275" y="141"/>
                  <a:pt x="275" y="141"/>
                  <a:pt x="275" y="141"/>
                </a:cubicBezTo>
                <a:cubicBezTo>
                  <a:pt x="288" y="133"/>
                  <a:pt x="288" y="133"/>
                  <a:pt x="288" y="133"/>
                </a:cubicBezTo>
                <a:lnTo>
                  <a:pt x="300" y="141"/>
                </a:lnTo>
                <a:close/>
                <a:moveTo>
                  <a:pt x="255" y="153"/>
                </a:moveTo>
                <a:cubicBezTo>
                  <a:pt x="274" y="182"/>
                  <a:pt x="274" y="182"/>
                  <a:pt x="274" y="182"/>
                </a:cubicBezTo>
                <a:cubicBezTo>
                  <a:pt x="238" y="237"/>
                  <a:pt x="238" y="237"/>
                  <a:pt x="238" y="237"/>
                </a:cubicBezTo>
                <a:cubicBezTo>
                  <a:pt x="237" y="236"/>
                  <a:pt x="235" y="236"/>
                  <a:pt x="234" y="236"/>
                </a:cubicBezTo>
                <a:cubicBezTo>
                  <a:pt x="234" y="166"/>
                  <a:pt x="234" y="166"/>
                  <a:pt x="234" y="166"/>
                </a:cubicBezTo>
                <a:lnTo>
                  <a:pt x="255" y="153"/>
                </a:lnTo>
                <a:close/>
                <a:moveTo>
                  <a:pt x="234" y="340"/>
                </a:moveTo>
                <a:cubicBezTo>
                  <a:pt x="235" y="340"/>
                  <a:pt x="237" y="339"/>
                  <a:pt x="238" y="339"/>
                </a:cubicBezTo>
                <a:cubicBezTo>
                  <a:pt x="274" y="394"/>
                  <a:pt x="274" y="394"/>
                  <a:pt x="274" y="394"/>
                </a:cubicBezTo>
                <a:cubicBezTo>
                  <a:pt x="255" y="422"/>
                  <a:pt x="255" y="422"/>
                  <a:pt x="255" y="422"/>
                </a:cubicBezTo>
                <a:cubicBezTo>
                  <a:pt x="234" y="409"/>
                  <a:pt x="234" y="409"/>
                  <a:pt x="234" y="409"/>
                </a:cubicBezTo>
                <a:lnTo>
                  <a:pt x="234" y="340"/>
                </a:lnTo>
                <a:close/>
                <a:moveTo>
                  <a:pt x="276" y="435"/>
                </a:moveTo>
                <a:cubicBezTo>
                  <a:pt x="288" y="416"/>
                  <a:pt x="288" y="416"/>
                  <a:pt x="288" y="416"/>
                </a:cubicBezTo>
                <a:cubicBezTo>
                  <a:pt x="300" y="435"/>
                  <a:pt x="300" y="435"/>
                  <a:pt x="300" y="435"/>
                </a:cubicBezTo>
                <a:cubicBezTo>
                  <a:pt x="288" y="442"/>
                  <a:pt x="288" y="442"/>
                  <a:pt x="288" y="442"/>
                </a:cubicBezTo>
                <a:lnTo>
                  <a:pt x="276" y="435"/>
                </a:lnTo>
                <a:close/>
                <a:moveTo>
                  <a:pt x="321" y="422"/>
                </a:moveTo>
                <a:cubicBezTo>
                  <a:pt x="302" y="394"/>
                  <a:pt x="302" y="394"/>
                  <a:pt x="302" y="394"/>
                </a:cubicBezTo>
                <a:cubicBezTo>
                  <a:pt x="338" y="339"/>
                  <a:pt x="338" y="339"/>
                  <a:pt x="338" y="339"/>
                </a:cubicBezTo>
                <a:cubicBezTo>
                  <a:pt x="339" y="339"/>
                  <a:pt x="341" y="340"/>
                  <a:pt x="343" y="340"/>
                </a:cubicBezTo>
                <a:cubicBezTo>
                  <a:pt x="343" y="409"/>
                  <a:pt x="343" y="409"/>
                  <a:pt x="343" y="409"/>
                </a:cubicBezTo>
                <a:lnTo>
                  <a:pt x="321" y="422"/>
                </a:lnTo>
                <a:close/>
                <a:moveTo>
                  <a:pt x="366" y="237"/>
                </a:moveTo>
                <a:cubicBezTo>
                  <a:pt x="366" y="181"/>
                  <a:pt x="366" y="181"/>
                  <a:pt x="366" y="181"/>
                </a:cubicBezTo>
                <a:cubicBezTo>
                  <a:pt x="423" y="215"/>
                  <a:pt x="423" y="215"/>
                  <a:pt x="423" y="215"/>
                </a:cubicBezTo>
                <a:cubicBezTo>
                  <a:pt x="421" y="220"/>
                  <a:pt x="420" y="226"/>
                  <a:pt x="420" y="231"/>
                </a:cubicBezTo>
                <a:cubicBezTo>
                  <a:pt x="420" y="236"/>
                  <a:pt x="421" y="240"/>
                  <a:pt x="422" y="244"/>
                </a:cubicBezTo>
                <a:cubicBezTo>
                  <a:pt x="395" y="257"/>
                  <a:pt x="395" y="257"/>
                  <a:pt x="395" y="257"/>
                </a:cubicBezTo>
                <a:cubicBezTo>
                  <a:pt x="388" y="247"/>
                  <a:pt x="378" y="240"/>
                  <a:pt x="366" y="237"/>
                </a:cubicBezTo>
                <a:close/>
                <a:moveTo>
                  <a:pt x="444" y="231"/>
                </a:moveTo>
                <a:cubicBezTo>
                  <a:pt x="444" y="216"/>
                  <a:pt x="457" y="203"/>
                  <a:pt x="473" y="203"/>
                </a:cubicBezTo>
                <a:cubicBezTo>
                  <a:pt x="489" y="203"/>
                  <a:pt x="502" y="216"/>
                  <a:pt x="502" y="231"/>
                </a:cubicBezTo>
                <a:cubicBezTo>
                  <a:pt x="502" y="247"/>
                  <a:pt x="489" y="260"/>
                  <a:pt x="473" y="260"/>
                </a:cubicBezTo>
                <a:cubicBezTo>
                  <a:pt x="457" y="260"/>
                  <a:pt x="444" y="247"/>
                  <a:pt x="444" y="231"/>
                </a:cubicBezTo>
                <a:close/>
                <a:moveTo>
                  <a:pt x="366" y="153"/>
                </a:moveTo>
                <a:cubicBezTo>
                  <a:pt x="366" y="141"/>
                  <a:pt x="366" y="141"/>
                  <a:pt x="366" y="141"/>
                </a:cubicBezTo>
                <a:cubicBezTo>
                  <a:pt x="372" y="139"/>
                  <a:pt x="377" y="137"/>
                  <a:pt x="381" y="134"/>
                </a:cubicBezTo>
                <a:cubicBezTo>
                  <a:pt x="425" y="189"/>
                  <a:pt x="425" y="189"/>
                  <a:pt x="425" y="189"/>
                </a:cubicBezTo>
                <a:lnTo>
                  <a:pt x="366" y="153"/>
                </a:lnTo>
                <a:close/>
                <a:moveTo>
                  <a:pt x="352" y="119"/>
                </a:moveTo>
                <a:cubicBezTo>
                  <a:pt x="336" y="119"/>
                  <a:pt x="323" y="106"/>
                  <a:pt x="323" y="90"/>
                </a:cubicBezTo>
                <a:cubicBezTo>
                  <a:pt x="323" y="74"/>
                  <a:pt x="336" y="61"/>
                  <a:pt x="352" y="61"/>
                </a:cubicBezTo>
                <a:cubicBezTo>
                  <a:pt x="368" y="61"/>
                  <a:pt x="381" y="74"/>
                  <a:pt x="381" y="90"/>
                </a:cubicBezTo>
                <a:cubicBezTo>
                  <a:pt x="381" y="106"/>
                  <a:pt x="368" y="119"/>
                  <a:pt x="352" y="119"/>
                </a:cubicBezTo>
                <a:close/>
                <a:moveTo>
                  <a:pt x="300" y="98"/>
                </a:moveTo>
                <a:cubicBezTo>
                  <a:pt x="288" y="105"/>
                  <a:pt x="288" y="105"/>
                  <a:pt x="288" y="105"/>
                </a:cubicBezTo>
                <a:cubicBezTo>
                  <a:pt x="276" y="98"/>
                  <a:pt x="276" y="98"/>
                  <a:pt x="276" y="98"/>
                </a:cubicBezTo>
                <a:cubicBezTo>
                  <a:pt x="277" y="95"/>
                  <a:pt x="277" y="92"/>
                  <a:pt x="277" y="90"/>
                </a:cubicBezTo>
                <a:cubicBezTo>
                  <a:pt x="277" y="89"/>
                  <a:pt x="277" y="88"/>
                  <a:pt x="277" y="88"/>
                </a:cubicBezTo>
                <a:cubicBezTo>
                  <a:pt x="299" y="88"/>
                  <a:pt x="299" y="88"/>
                  <a:pt x="299" y="88"/>
                </a:cubicBezTo>
                <a:cubicBezTo>
                  <a:pt x="299" y="88"/>
                  <a:pt x="299" y="89"/>
                  <a:pt x="299" y="90"/>
                </a:cubicBezTo>
                <a:cubicBezTo>
                  <a:pt x="299" y="92"/>
                  <a:pt x="299" y="95"/>
                  <a:pt x="300" y="98"/>
                </a:cubicBezTo>
                <a:close/>
                <a:moveTo>
                  <a:pt x="224" y="119"/>
                </a:moveTo>
                <a:cubicBezTo>
                  <a:pt x="208" y="119"/>
                  <a:pt x="195" y="106"/>
                  <a:pt x="195" y="90"/>
                </a:cubicBezTo>
                <a:cubicBezTo>
                  <a:pt x="195" y="74"/>
                  <a:pt x="208" y="61"/>
                  <a:pt x="224" y="61"/>
                </a:cubicBezTo>
                <a:cubicBezTo>
                  <a:pt x="240" y="61"/>
                  <a:pt x="253" y="74"/>
                  <a:pt x="253" y="90"/>
                </a:cubicBezTo>
                <a:cubicBezTo>
                  <a:pt x="253" y="106"/>
                  <a:pt x="240" y="119"/>
                  <a:pt x="224" y="119"/>
                </a:cubicBezTo>
                <a:close/>
                <a:moveTo>
                  <a:pt x="195" y="134"/>
                </a:moveTo>
                <a:cubicBezTo>
                  <a:pt x="199" y="137"/>
                  <a:pt x="204" y="139"/>
                  <a:pt x="210" y="141"/>
                </a:cubicBezTo>
                <a:cubicBezTo>
                  <a:pt x="210" y="153"/>
                  <a:pt x="210" y="153"/>
                  <a:pt x="210" y="153"/>
                </a:cubicBezTo>
                <a:cubicBezTo>
                  <a:pt x="151" y="189"/>
                  <a:pt x="151" y="189"/>
                  <a:pt x="151" y="189"/>
                </a:cubicBezTo>
                <a:lnTo>
                  <a:pt x="195" y="134"/>
                </a:lnTo>
                <a:close/>
                <a:moveTo>
                  <a:pt x="132" y="231"/>
                </a:moveTo>
                <a:cubicBezTo>
                  <a:pt x="132" y="247"/>
                  <a:pt x="119" y="260"/>
                  <a:pt x="103" y="260"/>
                </a:cubicBezTo>
                <a:cubicBezTo>
                  <a:pt x="87" y="260"/>
                  <a:pt x="74" y="247"/>
                  <a:pt x="74" y="231"/>
                </a:cubicBezTo>
                <a:cubicBezTo>
                  <a:pt x="74" y="216"/>
                  <a:pt x="87" y="203"/>
                  <a:pt x="103" y="203"/>
                </a:cubicBezTo>
                <a:cubicBezTo>
                  <a:pt x="119" y="203"/>
                  <a:pt x="132" y="216"/>
                  <a:pt x="132" y="231"/>
                </a:cubicBezTo>
                <a:close/>
                <a:moveTo>
                  <a:pt x="103" y="318"/>
                </a:moveTo>
                <a:cubicBezTo>
                  <a:pt x="119" y="318"/>
                  <a:pt x="132" y="331"/>
                  <a:pt x="132" y="347"/>
                </a:cubicBezTo>
                <a:cubicBezTo>
                  <a:pt x="132" y="363"/>
                  <a:pt x="119" y="376"/>
                  <a:pt x="103" y="376"/>
                </a:cubicBezTo>
                <a:cubicBezTo>
                  <a:pt x="87" y="376"/>
                  <a:pt x="74" y="363"/>
                  <a:pt x="74" y="347"/>
                </a:cubicBezTo>
                <a:cubicBezTo>
                  <a:pt x="74" y="331"/>
                  <a:pt x="87" y="318"/>
                  <a:pt x="103" y="318"/>
                </a:cubicBezTo>
                <a:close/>
                <a:moveTo>
                  <a:pt x="210" y="423"/>
                </a:moveTo>
                <a:cubicBezTo>
                  <a:pt x="210" y="435"/>
                  <a:pt x="210" y="435"/>
                  <a:pt x="210" y="435"/>
                </a:cubicBezTo>
                <a:cubicBezTo>
                  <a:pt x="204" y="436"/>
                  <a:pt x="199" y="439"/>
                  <a:pt x="195" y="442"/>
                </a:cubicBezTo>
                <a:cubicBezTo>
                  <a:pt x="151" y="387"/>
                  <a:pt x="151" y="387"/>
                  <a:pt x="151" y="387"/>
                </a:cubicBezTo>
                <a:lnTo>
                  <a:pt x="210" y="423"/>
                </a:lnTo>
                <a:close/>
                <a:moveTo>
                  <a:pt x="224" y="457"/>
                </a:moveTo>
                <a:cubicBezTo>
                  <a:pt x="240" y="457"/>
                  <a:pt x="253" y="470"/>
                  <a:pt x="253" y="486"/>
                </a:cubicBezTo>
                <a:cubicBezTo>
                  <a:pt x="253" y="488"/>
                  <a:pt x="253" y="491"/>
                  <a:pt x="252" y="493"/>
                </a:cubicBezTo>
                <a:cubicBezTo>
                  <a:pt x="251" y="495"/>
                  <a:pt x="250" y="496"/>
                  <a:pt x="250" y="498"/>
                </a:cubicBezTo>
                <a:cubicBezTo>
                  <a:pt x="246" y="508"/>
                  <a:pt x="236" y="515"/>
                  <a:pt x="224" y="515"/>
                </a:cubicBezTo>
                <a:cubicBezTo>
                  <a:pt x="208" y="515"/>
                  <a:pt x="195" y="502"/>
                  <a:pt x="195" y="486"/>
                </a:cubicBezTo>
                <a:cubicBezTo>
                  <a:pt x="195" y="470"/>
                  <a:pt x="208" y="457"/>
                  <a:pt x="224" y="457"/>
                </a:cubicBezTo>
                <a:close/>
                <a:moveTo>
                  <a:pt x="276" y="478"/>
                </a:moveTo>
                <a:cubicBezTo>
                  <a:pt x="288" y="471"/>
                  <a:pt x="288" y="471"/>
                  <a:pt x="288" y="471"/>
                </a:cubicBezTo>
                <a:cubicBezTo>
                  <a:pt x="300" y="478"/>
                  <a:pt x="300" y="478"/>
                  <a:pt x="300" y="478"/>
                </a:cubicBezTo>
                <a:cubicBezTo>
                  <a:pt x="299" y="480"/>
                  <a:pt x="299" y="483"/>
                  <a:pt x="299" y="486"/>
                </a:cubicBezTo>
                <a:cubicBezTo>
                  <a:pt x="299" y="487"/>
                  <a:pt x="299" y="487"/>
                  <a:pt x="299" y="488"/>
                </a:cubicBezTo>
                <a:cubicBezTo>
                  <a:pt x="277" y="488"/>
                  <a:pt x="277" y="488"/>
                  <a:pt x="277" y="488"/>
                </a:cubicBezTo>
                <a:cubicBezTo>
                  <a:pt x="277" y="487"/>
                  <a:pt x="277" y="487"/>
                  <a:pt x="277" y="486"/>
                </a:cubicBezTo>
                <a:cubicBezTo>
                  <a:pt x="277" y="483"/>
                  <a:pt x="277" y="480"/>
                  <a:pt x="276" y="478"/>
                </a:cubicBezTo>
                <a:close/>
                <a:moveTo>
                  <a:pt x="352" y="457"/>
                </a:moveTo>
                <a:cubicBezTo>
                  <a:pt x="368" y="457"/>
                  <a:pt x="381" y="470"/>
                  <a:pt x="381" y="486"/>
                </a:cubicBezTo>
                <a:cubicBezTo>
                  <a:pt x="381" y="502"/>
                  <a:pt x="368" y="515"/>
                  <a:pt x="352" y="515"/>
                </a:cubicBezTo>
                <a:cubicBezTo>
                  <a:pt x="336" y="515"/>
                  <a:pt x="323" y="502"/>
                  <a:pt x="323" y="486"/>
                </a:cubicBezTo>
                <a:cubicBezTo>
                  <a:pt x="323" y="470"/>
                  <a:pt x="336" y="457"/>
                  <a:pt x="352" y="457"/>
                </a:cubicBezTo>
                <a:close/>
                <a:moveTo>
                  <a:pt x="381" y="442"/>
                </a:moveTo>
                <a:cubicBezTo>
                  <a:pt x="377" y="439"/>
                  <a:pt x="371" y="436"/>
                  <a:pt x="366" y="435"/>
                </a:cubicBezTo>
                <a:cubicBezTo>
                  <a:pt x="366" y="423"/>
                  <a:pt x="366" y="423"/>
                  <a:pt x="366" y="423"/>
                </a:cubicBezTo>
                <a:cubicBezTo>
                  <a:pt x="425" y="387"/>
                  <a:pt x="425" y="387"/>
                  <a:pt x="425" y="387"/>
                </a:cubicBezTo>
                <a:lnTo>
                  <a:pt x="381" y="442"/>
                </a:lnTo>
                <a:close/>
                <a:moveTo>
                  <a:pt x="444" y="347"/>
                </a:moveTo>
                <a:cubicBezTo>
                  <a:pt x="444" y="331"/>
                  <a:pt x="457" y="318"/>
                  <a:pt x="473" y="318"/>
                </a:cubicBezTo>
                <a:cubicBezTo>
                  <a:pt x="489" y="318"/>
                  <a:pt x="502" y="331"/>
                  <a:pt x="502" y="347"/>
                </a:cubicBezTo>
                <a:cubicBezTo>
                  <a:pt x="502" y="363"/>
                  <a:pt x="489" y="376"/>
                  <a:pt x="473" y="376"/>
                </a:cubicBezTo>
                <a:cubicBezTo>
                  <a:pt x="457" y="376"/>
                  <a:pt x="444" y="363"/>
                  <a:pt x="444" y="347"/>
                </a:cubicBezTo>
                <a:close/>
                <a:moveTo>
                  <a:pt x="553" y="22"/>
                </a:moveTo>
                <a:cubicBezTo>
                  <a:pt x="553" y="219"/>
                  <a:pt x="553" y="219"/>
                  <a:pt x="553" y="219"/>
                </a:cubicBezTo>
                <a:cubicBezTo>
                  <a:pt x="525" y="219"/>
                  <a:pt x="525" y="219"/>
                  <a:pt x="525" y="219"/>
                </a:cubicBezTo>
                <a:cubicBezTo>
                  <a:pt x="519" y="196"/>
                  <a:pt x="498" y="179"/>
                  <a:pt x="473" y="179"/>
                </a:cubicBezTo>
                <a:cubicBezTo>
                  <a:pt x="466" y="179"/>
                  <a:pt x="458" y="180"/>
                  <a:pt x="452" y="183"/>
                </a:cubicBezTo>
                <a:cubicBezTo>
                  <a:pt x="398" y="116"/>
                  <a:pt x="398" y="116"/>
                  <a:pt x="398" y="116"/>
                </a:cubicBezTo>
                <a:cubicBezTo>
                  <a:pt x="402" y="108"/>
                  <a:pt x="405" y="99"/>
                  <a:pt x="405" y="90"/>
                </a:cubicBezTo>
                <a:cubicBezTo>
                  <a:pt x="405" y="60"/>
                  <a:pt x="381" y="37"/>
                  <a:pt x="352" y="37"/>
                </a:cubicBezTo>
                <a:cubicBezTo>
                  <a:pt x="332" y="37"/>
                  <a:pt x="315" y="48"/>
                  <a:pt x="306" y="64"/>
                </a:cubicBezTo>
                <a:cubicBezTo>
                  <a:pt x="270" y="64"/>
                  <a:pt x="270" y="64"/>
                  <a:pt x="270" y="64"/>
                </a:cubicBezTo>
                <a:cubicBezTo>
                  <a:pt x="261" y="48"/>
                  <a:pt x="244" y="37"/>
                  <a:pt x="224" y="37"/>
                </a:cubicBezTo>
                <a:cubicBezTo>
                  <a:pt x="195" y="37"/>
                  <a:pt x="171" y="60"/>
                  <a:pt x="171" y="90"/>
                </a:cubicBezTo>
                <a:cubicBezTo>
                  <a:pt x="171" y="99"/>
                  <a:pt x="174" y="108"/>
                  <a:pt x="178" y="116"/>
                </a:cubicBezTo>
                <a:cubicBezTo>
                  <a:pt x="124" y="183"/>
                  <a:pt x="124" y="183"/>
                  <a:pt x="124" y="183"/>
                </a:cubicBezTo>
                <a:cubicBezTo>
                  <a:pt x="118" y="180"/>
                  <a:pt x="110" y="179"/>
                  <a:pt x="103" y="179"/>
                </a:cubicBezTo>
                <a:cubicBezTo>
                  <a:pt x="77" y="179"/>
                  <a:pt x="57" y="196"/>
                  <a:pt x="51" y="219"/>
                </a:cubicBezTo>
                <a:cubicBezTo>
                  <a:pt x="23" y="219"/>
                  <a:pt x="23" y="219"/>
                  <a:pt x="23" y="219"/>
                </a:cubicBezTo>
                <a:cubicBezTo>
                  <a:pt x="23" y="22"/>
                  <a:pt x="23" y="22"/>
                  <a:pt x="23" y="22"/>
                </a:cubicBezTo>
                <a:lnTo>
                  <a:pt x="553" y="22"/>
                </a:lnTo>
                <a:close/>
                <a:moveTo>
                  <a:pt x="23" y="553"/>
                </a:moveTo>
                <a:cubicBezTo>
                  <a:pt x="23" y="359"/>
                  <a:pt x="23" y="359"/>
                  <a:pt x="23" y="359"/>
                </a:cubicBezTo>
                <a:cubicBezTo>
                  <a:pt x="51" y="359"/>
                  <a:pt x="51" y="359"/>
                  <a:pt x="51" y="359"/>
                </a:cubicBezTo>
                <a:cubicBezTo>
                  <a:pt x="57" y="383"/>
                  <a:pt x="78" y="400"/>
                  <a:pt x="103" y="400"/>
                </a:cubicBezTo>
                <a:cubicBezTo>
                  <a:pt x="111" y="400"/>
                  <a:pt x="119" y="398"/>
                  <a:pt x="126" y="395"/>
                </a:cubicBezTo>
                <a:cubicBezTo>
                  <a:pt x="178" y="460"/>
                  <a:pt x="178" y="460"/>
                  <a:pt x="178" y="460"/>
                </a:cubicBezTo>
                <a:cubicBezTo>
                  <a:pt x="174" y="467"/>
                  <a:pt x="171" y="476"/>
                  <a:pt x="171" y="486"/>
                </a:cubicBezTo>
                <a:cubicBezTo>
                  <a:pt x="171" y="515"/>
                  <a:pt x="195" y="539"/>
                  <a:pt x="224" y="539"/>
                </a:cubicBezTo>
                <a:cubicBezTo>
                  <a:pt x="244" y="539"/>
                  <a:pt x="261" y="528"/>
                  <a:pt x="270" y="512"/>
                </a:cubicBezTo>
                <a:cubicBezTo>
                  <a:pt x="306" y="512"/>
                  <a:pt x="306" y="512"/>
                  <a:pt x="306" y="512"/>
                </a:cubicBezTo>
                <a:cubicBezTo>
                  <a:pt x="315" y="528"/>
                  <a:pt x="332" y="539"/>
                  <a:pt x="352" y="539"/>
                </a:cubicBezTo>
                <a:cubicBezTo>
                  <a:pt x="381" y="539"/>
                  <a:pt x="405" y="515"/>
                  <a:pt x="405" y="486"/>
                </a:cubicBezTo>
                <a:cubicBezTo>
                  <a:pt x="405" y="476"/>
                  <a:pt x="402" y="467"/>
                  <a:pt x="398" y="460"/>
                </a:cubicBezTo>
                <a:cubicBezTo>
                  <a:pt x="450" y="395"/>
                  <a:pt x="450" y="395"/>
                  <a:pt x="450" y="395"/>
                </a:cubicBezTo>
                <a:cubicBezTo>
                  <a:pt x="457" y="398"/>
                  <a:pt x="465" y="400"/>
                  <a:pt x="473" y="400"/>
                </a:cubicBezTo>
                <a:cubicBezTo>
                  <a:pt x="499" y="400"/>
                  <a:pt x="519" y="383"/>
                  <a:pt x="525" y="359"/>
                </a:cubicBezTo>
                <a:cubicBezTo>
                  <a:pt x="553" y="359"/>
                  <a:pt x="553" y="359"/>
                  <a:pt x="553" y="359"/>
                </a:cubicBezTo>
                <a:cubicBezTo>
                  <a:pt x="553" y="553"/>
                  <a:pt x="553" y="553"/>
                  <a:pt x="553" y="553"/>
                </a:cubicBezTo>
                <a:lnTo>
                  <a:pt x="23" y="553"/>
                </a:lnTo>
                <a:close/>
              </a:path>
            </a:pathLst>
          </a:custGeom>
          <a:solidFill>
            <a:schemeClr val="tx1"/>
          </a:solidFill>
          <a:ln>
            <a:noFill/>
          </a:ln>
        </p:spPr>
        <p:txBody>
          <a:bodyPr spcFirstLastPara="1" wrap="square" lIns="114300" tIns="57150" rIns="114300" bIns="57150" anchor="t" anchorCtr="0">
            <a:noAutofit/>
          </a:bodyPr>
          <a:lstStyle/>
          <a:p>
            <a:pPr marL="0" marR="0" lvl="0" indent="0" algn="l" rtl="0">
              <a:lnSpc>
                <a:spcPct val="100000"/>
              </a:lnSpc>
              <a:spcBef>
                <a:spcPts val="0"/>
              </a:spcBef>
              <a:spcAft>
                <a:spcPts val="0"/>
              </a:spcAft>
              <a:buClr>
                <a:srgbClr val="000000"/>
              </a:buClr>
              <a:buSzPts val="875"/>
              <a:buFont typeface="Arial"/>
              <a:buNone/>
            </a:pPr>
            <a:endParaRPr sz="875" b="0" i="0" u="none" strike="noStrike" cap="none" dirty="0">
              <a:solidFill>
                <a:schemeClr val="accent1"/>
              </a:solidFill>
              <a:latin typeface="Arial"/>
              <a:ea typeface="Arial"/>
              <a:cs typeface="Arial"/>
              <a:sym typeface="Arial"/>
            </a:endParaRPr>
          </a:p>
        </p:txBody>
      </p:sp>
      <p:sp>
        <p:nvSpPr>
          <p:cNvPr id="45" name="Google Shape;2191;p207">
            <a:extLst>
              <a:ext uri="{FF2B5EF4-FFF2-40B4-BE49-F238E27FC236}">
                <a16:creationId xmlns:a16="http://schemas.microsoft.com/office/drawing/2014/main" id="{D8F5BA7E-1936-4C66-BBC3-44ED6A96DA1D}"/>
              </a:ext>
            </a:extLst>
          </p:cNvPr>
          <p:cNvSpPr/>
          <p:nvPr/>
        </p:nvSpPr>
        <p:spPr>
          <a:xfrm>
            <a:off x="484442" y="6597046"/>
            <a:ext cx="10621665" cy="251578"/>
          </a:xfrm>
          <a:prstGeom prst="rect">
            <a:avLst/>
          </a:prstGeom>
          <a:no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US" sz="700" kern="0" dirty="0">
                <a:cs typeface="Arial"/>
              </a:rPr>
              <a:t>1 NDIS Annual Financial Sustainability Report 2020-21 </a:t>
            </a:r>
            <a:r>
              <a:rPr lang="en-AU" sz="700" kern="0" dirty="0">
                <a:cs typeface="Arial"/>
                <a:sym typeface="Arial"/>
              </a:rPr>
              <a:t>| </a:t>
            </a:r>
            <a:r>
              <a:rPr lang="en-US" sz="700" kern="0" dirty="0">
                <a:cs typeface="Arial"/>
              </a:rPr>
              <a:t>2 ABS Job Vacancies, Australia Sep 2022 </a:t>
            </a:r>
            <a:r>
              <a:rPr lang="en-US" sz="700" kern="0" dirty="0">
                <a:solidFill>
                  <a:srgbClr val="000000"/>
                </a:solidFill>
                <a:cs typeface="Arial"/>
                <a:sym typeface="Helvetica Neue"/>
              </a:rPr>
              <a:t>| 3 </a:t>
            </a:r>
            <a:r>
              <a:rPr lang="en-US" sz="700" kern="0" dirty="0">
                <a:cs typeface="Arial"/>
              </a:rPr>
              <a:t>https://www.edelman.com.au/trust-barometer-2022-australia</a:t>
            </a:r>
            <a:endParaRPr lang="en-AU" sz="700" kern="0" dirty="0">
              <a:cs typeface="Arial"/>
            </a:endParaRPr>
          </a:p>
        </p:txBody>
      </p:sp>
      <p:sp>
        <p:nvSpPr>
          <p:cNvPr id="8" name="Slide Number Placeholder 7">
            <a:extLst>
              <a:ext uri="{FF2B5EF4-FFF2-40B4-BE49-F238E27FC236}">
                <a16:creationId xmlns:a16="http://schemas.microsoft.com/office/drawing/2014/main" id="{AEB3DB4E-C6DD-E8D9-A1E6-D8EA4A134B39}"/>
              </a:ext>
            </a:extLst>
          </p:cNvPr>
          <p:cNvSpPr>
            <a:spLocks noGrp="1"/>
          </p:cNvSpPr>
          <p:nvPr>
            <p:ph type="sldNum" sz="quarter" idx="12"/>
          </p:nvPr>
        </p:nvSpPr>
        <p:spPr>
          <a:xfrm>
            <a:off x="10967668" y="6355784"/>
            <a:ext cx="362274" cy="180000"/>
          </a:xfrm>
        </p:spPr>
        <p:txBody>
          <a:bodyPr/>
          <a:lstStyle/>
          <a:p>
            <a:fld id="{C0F55C17-AF72-40D4-ADBD-B5505DEBF9BA}" type="slidenum">
              <a:rPr lang="en-AU" smtClean="0"/>
              <a:t>12</a:t>
            </a:fld>
            <a:endParaRPr lang="en-US" dirty="0"/>
          </a:p>
        </p:txBody>
      </p:sp>
      <p:sp>
        <p:nvSpPr>
          <p:cNvPr id="2" name="Footer Placeholder 1">
            <a:extLst>
              <a:ext uri="{FF2B5EF4-FFF2-40B4-BE49-F238E27FC236}">
                <a16:creationId xmlns:a16="http://schemas.microsoft.com/office/drawing/2014/main" id="{682EB032-3362-30F6-C0B0-B4C10FE25755}"/>
              </a:ext>
            </a:extLst>
          </p:cNvPr>
          <p:cNvSpPr>
            <a:spLocks noGrp="1"/>
          </p:cNvSpPr>
          <p:nvPr>
            <p:ph type="ftr" sz="quarter" idx="11"/>
          </p:nvPr>
        </p:nvSpPr>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537526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Google Shape;2191;p207">
            <a:extLst>
              <a:ext uri="{FF2B5EF4-FFF2-40B4-BE49-F238E27FC236}">
                <a16:creationId xmlns:a16="http://schemas.microsoft.com/office/drawing/2014/main" id="{34112726-B035-4CED-88A7-46942405E70B}"/>
              </a:ext>
            </a:extLst>
          </p:cNvPr>
          <p:cNvSpPr/>
          <p:nvPr/>
        </p:nvSpPr>
        <p:spPr>
          <a:xfrm>
            <a:off x="342597" y="6606050"/>
            <a:ext cx="10201578" cy="180000"/>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US" sz="700" b="1" kern="0" dirty="0">
                <a:cs typeface="Arial"/>
                <a:sym typeface="Helvetica Neue"/>
              </a:rPr>
              <a:t>1 </a:t>
            </a:r>
            <a:r>
              <a:rPr lang="en-US" sz="700" kern="0" dirty="0">
                <a:cs typeface="Arial"/>
                <a:sym typeface="Helvetica Neue"/>
              </a:rPr>
              <a:t>2021 ABS Census Second Release – October 2022 </a:t>
            </a:r>
            <a:r>
              <a:rPr lang="en-AU" sz="700" kern="0" dirty="0">
                <a:cs typeface="Arial"/>
                <a:sym typeface="Arial"/>
              </a:rPr>
              <a:t>| </a:t>
            </a:r>
            <a:r>
              <a:rPr lang="en-US" sz="700" kern="0" dirty="0">
                <a:solidFill>
                  <a:srgbClr val="000000"/>
                </a:solidFill>
                <a:cs typeface="Arial"/>
                <a:sym typeface="Helvetica Neue"/>
              </a:rPr>
              <a:t>2 </a:t>
            </a:r>
            <a:r>
              <a:rPr lang="en-US" sz="700" kern="0" dirty="0">
                <a:cs typeface="Arial"/>
                <a:hlinkClick r:id="rId3"/>
              </a:rPr>
              <a:t>PwC Care Sector Report </a:t>
            </a:r>
            <a:r>
              <a:rPr lang="en-US" sz="700" kern="0" dirty="0">
                <a:cs typeface="Arial"/>
              </a:rPr>
              <a:t>– The halo effect: Reimagining Australia's care workforce – September 2022 </a:t>
            </a:r>
            <a:r>
              <a:rPr lang="en-AU" sz="700" kern="0" dirty="0">
                <a:cs typeface="Arial"/>
                <a:sym typeface="Arial"/>
              </a:rPr>
              <a:t>| </a:t>
            </a:r>
            <a:r>
              <a:rPr lang="en-US" sz="800" kern="0" dirty="0">
                <a:solidFill>
                  <a:srgbClr val="000000"/>
                </a:solidFill>
                <a:cs typeface="Arial"/>
                <a:sym typeface="Helvetica Neue"/>
              </a:rPr>
              <a:t>3 </a:t>
            </a:r>
            <a:r>
              <a:rPr kumimoji="0" lang="en-AU" sz="700" i="0" u="none" strike="noStrike" kern="0" cap="none" spc="0" normalizeH="0" baseline="0" noProof="0" dirty="0">
                <a:ln>
                  <a:noFill/>
                </a:ln>
                <a:solidFill>
                  <a:prstClr val="black"/>
                </a:solidFill>
                <a:effectLst/>
                <a:uLnTx/>
                <a:uFillTx/>
                <a:latin typeface="Calibri" panose="020F0502020204030204"/>
                <a:ea typeface="+mn-ea"/>
                <a:cs typeface="Arial"/>
                <a:sym typeface="Arial"/>
              </a:rPr>
              <a:t>National Skills Commission, Labour market insights - 2022</a:t>
            </a:r>
            <a:r>
              <a:rPr lang="en-US" sz="700" kern="0" dirty="0">
                <a:cs typeface="Arial"/>
              </a:rPr>
              <a:t>; </a:t>
            </a:r>
            <a:r>
              <a:rPr lang="en-AU" sz="700" kern="0" dirty="0">
                <a:cs typeface="Arial"/>
                <a:sym typeface="Arial"/>
              </a:rPr>
              <a:t>*PAS - </a:t>
            </a:r>
            <a:r>
              <a:rPr lang="en-US" sz="700" dirty="0">
                <a:effectLst/>
              </a:rPr>
              <a:t>Public Administration and Safety </a:t>
            </a:r>
            <a:r>
              <a:rPr lang="en-AU" sz="700" kern="0" dirty="0">
                <a:cs typeface="Arial"/>
                <a:sym typeface="Arial"/>
              </a:rPr>
              <a:t> </a:t>
            </a:r>
            <a:endParaRPr lang="en-US" sz="700" kern="0" dirty="0">
              <a:cs typeface="Arial"/>
            </a:endParaRPr>
          </a:p>
        </p:txBody>
      </p:sp>
      <p:sp>
        <p:nvSpPr>
          <p:cNvPr id="2" name="Title 1">
            <a:extLst>
              <a:ext uri="{FF2B5EF4-FFF2-40B4-BE49-F238E27FC236}">
                <a16:creationId xmlns:a16="http://schemas.microsoft.com/office/drawing/2014/main" id="{0AA39C67-0F80-3C56-7AE1-BEEC24264F42}"/>
              </a:ext>
            </a:extLst>
          </p:cNvPr>
          <p:cNvSpPr>
            <a:spLocks noGrp="1"/>
          </p:cNvSpPr>
          <p:nvPr>
            <p:ph type="title"/>
          </p:nvPr>
        </p:nvSpPr>
        <p:spPr>
          <a:xfrm>
            <a:off x="481664" y="585506"/>
            <a:ext cx="8403789" cy="887320"/>
          </a:xfrm>
        </p:spPr>
        <p:txBody>
          <a:bodyPr>
            <a:normAutofit fontScale="90000"/>
          </a:bodyPr>
          <a:lstStyle/>
          <a:p>
            <a:r>
              <a:rPr lang="en-US" sz="2700" dirty="0">
                <a:solidFill>
                  <a:schemeClr val="tx2"/>
                </a:solidFill>
                <a:ea typeface="+mj-lt"/>
                <a:cs typeface="+mj-lt"/>
              </a:rPr>
              <a:t>Skills and capabilities</a:t>
            </a:r>
            <a:r>
              <a:rPr lang="en-AU" sz="2700" dirty="0">
                <a:solidFill>
                  <a:schemeClr val="tx2"/>
                </a:solidFill>
                <a:ea typeface="+mj-lt"/>
                <a:cs typeface="+mj-lt"/>
              </a:rPr>
              <a:t> specifically required by the Commission     are likely to remain in high demand</a:t>
            </a:r>
            <a:r>
              <a:rPr lang="en-AU" dirty="0">
                <a:ea typeface="+mj-lt"/>
                <a:cs typeface="+mj-lt"/>
              </a:rPr>
              <a:t/>
            </a:r>
            <a:br>
              <a:rPr lang="en-AU" dirty="0">
                <a:ea typeface="+mj-lt"/>
                <a:cs typeface="+mj-lt"/>
              </a:rPr>
            </a:br>
            <a:r>
              <a:rPr lang="en-US" dirty="0">
                <a:solidFill>
                  <a:schemeClr val="tx2"/>
                </a:solidFill>
                <a:ea typeface="+mj-lt"/>
                <a:cs typeface="+mj-lt"/>
              </a:rPr>
              <a:t> </a:t>
            </a:r>
          </a:p>
        </p:txBody>
      </p:sp>
      <p:graphicFrame>
        <p:nvGraphicFramePr>
          <p:cNvPr id="75" name="Table 74">
            <a:extLst>
              <a:ext uri="{FF2B5EF4-FFF2-40B4-BE49-F238E27FC236}">
                <a16:creationId xmlns:a16="http://schemas.microsoft.com/office/drawing/2014/main" id="{47B5753D-0FCA-1A5E-3A0C-EAD35BBAB039}"/>
              </a:ext>
            </a:extLst>
          </p:cNvPr>
          <p:cNvGraphicFramePr>
            <a:graphicFrameLocks noGrp="1"/>
          </p:cNvGraphicFramePr>
          <p:nvPr>
            <p:extLst>
              <p:ext uri="{D42A27DB-BD31-4B8C-83A1-F6EECF244321}">
                <p14:modId xmlns:p14="http://schemas.microsoft.com/office/powerpoint/2010/main" val="1181077922"/>
              </p:ext>
            </p:extLst>
          </p:nvPr>
        </p:nvGraphicFramePr>
        <p:xfrm>
          <a:off x="5130590" y="1877933"/>
          <a:ext cx="6579745" cy="2651760"/>
        </p:xfrm>
        <a:graphic>
          <a:graphicData uri="http://schemas.openxmlformats.org/drawingml/2006/table">
            <a:tbl>
              <a:tblPr firstRow="1" bandRow="1">
                <a:tableStyleId>{5C22544A-7EE6-4342-B048-85BDC9FD1C3A}</a:tableStyleId>
              </a:tblPr>
              <a:tblGrid>
                <a:gridCol w="2075544">
                  <a:extLst>
                    <a:ext uri="{9D8B030D-6E8A-4147-A177-3AD203B41FA5}">
                      <a16:colId xmlns:a16="http://schemas.microsoft.com/office/drawing/2014/main" val="862812771"/>
                    </a:ext>
                  </a:extLst>
                </a:gridCol>
                <a:gridCol w="1459035">
                  <a:extLst>
                    <a:ext uri="{9D8B030D-6E8A-4147-A177-3AD203B41FA5}">
                      <a16:colId xmlns:a16="http://schemas.microsoft.com/office/drawing/2014/main" val="1059077298"/>
                    </a:ext>
                  </a:extLst>
                </a:gridCol>
                <a:gridCol w="653814">
                  <a:extLst>
                    <a:ext uri="{9D8B030D-6E8A-4147-A177-3AD203B41FA5}">
                      <a16:colId xmlns:a16="http://schemas.microsoft.com/office/drawing/2014/main" val="2312931996"/>
                    </a:ext>
                  </a:extLst>
                </a:gridCol>
                <a:gridCol w="548386">
                  <a:extLst>
                    <a:ext uri="{9D8B030D-6E8A-4147-A177-3AD203B41FA5}">
                      <a16:colId xmlns:a16="http://schemas.microsoft.com/office/drawing/2014/main" val="1590345078"/>
                    </a:ext>
                  </a:extLst>
                </a:gridCol>
                <a:gridCol w="919536">
                  <a:extLst>
                    <a:ext uri="{9D8B030D-6E8A-4147-A177-3AD203B41FA5}">
                      <a16:colId xmlns:a16="http://schemas.microsoft.com/office/drawing/2014/main" val="3885682070"/>
                    </a:ext>
                  </a:extLst>
                </a:gridCol>
                <a:gridCol w="923430">
                  <a:extLst>
                    <a:ext uri="{9D8B030D-6E8A-4147-A177-3AD203B41FA5}">
                      <a16:colId xmlns:a16="http://schemas.microsoft.com/office/drawing/2014/main" val="639176664"/>
                    </a:ext>
                  </a:extLst>
                </a:gridCol>
              </a:tblGrid>
              <a:tr h="126287">
                <a:tc>
                  <a:txBody>
                    <a:bodyPr/>
                    <a:lstStyle/>
                    <a:p>
                      <a:pPr fontAlgn="base"/>
                      <a:r>
                        <a:rPr lang="en-US" sz="900" dirty="0">
                          <a:effectLst/>
                        </a:rPr>
                        <a:t>Occupation​</a:t>
                      </a:r>
                      <a:endParaRPr lang="en-US" sz="900" b="1" dirty="0">
                        <a:solidFill>
                          <a:srgbClr val="FFFFFF"/>
                        </a:solidFill>
                        <a:effectLst/>
                      </a:endParaRPr>
                    </a:p>
                  </a:txBody>
                  <a:tcPr>
                    <a:solidFill>
                      <a:schemeClr val="accent5"/>
                    </a:solidFill>
                  </a:tcPr>
                </a:tc>
                <a:tc>
                  <a:txBody>
                    <a:bodyPr/>
                    <a:lstStyle/>
                    <a:p>
                      <a:pPr fontAlgn="base"/>
                      <a:r>
                        <a:rPr lang="en-US" sz="900" dirty="0">
                          <a:effectLst/>
                        </a:rPr>
                        <a:t>Employment </a:t>
                      </a:r>
                      <a:endParaRPr lang="en-US" sz="900" b="1" dirty="0">
                        <a:solidFill>
                          <a:srgbClr val="FFFFFF"/>
                        </a:solidFill>
                        <a:effectLst/>
                      </a:endParaRPr>
                    </a:p>
                    <a:p>
                      <a:pPr lvl="0">
                        <a:buNone/>
                      </a:pPr>
                      <a:r>
                        <a:rPr lang="en-US" sz="900" dirty="0">
                          <a:effectLst/>
                        </a:rPr>
                        <a:t>predictions ​(FY21 to FY26)</a:t>
                      </a:r>
                      <a:endParaRPr lang="en-US" sz="900" b="1" dirty="0">
                        <a:solidFill>
                          <a:srgbClr val="FFFFFF"/>
                        </a:solidFill>
                        <a:effectLst/>
                      </a:endParaRPr>
                    </a:p>
                  </a:txBody>
                  <a:tcPr>
                    <a:solidFill>
                      <a:schemeClr val="accent5"/>
                    </a:solidFill>
                  </a:tcPr>
                </a:tc>
                <a:tc>
                  <a:txBody>
                    <a:bodyPr/>
                    <a:lstStyle/>
                    <a:p>
                      <a:pPr algn="r" fontAlgn="base"/>
                      <a:r>
                        <a:rPr lang="en-US" sz="900" dirty="0">
                          <a:effectLst/>
                        </a:rPr>
                        <a:t>Average Age​ (yrs)</a:t>
                      </a:r>
                      <a:endParaRPr lang="en-US" sz="900" b="1" dirty="0">
                        <a:solidFill>
                          <a:srgbClr val="FFFFFF"/>
                        </a:solidFill>
                        <a:effectLst/>
                      </a:endParaRPr>
                    </a:p>
                  </a:txBody>
                  <a:tcPr>
                    <a:solidFill>
                      <a:schemeClr val="accent5"/>
                    </a:solidFill>
                  </a:tcPr>
                </a:tc>
                <a:tc>
                  <a:txBody>
                    <a:bodyPr/>
                    <a:lstStyle/>
                    <a:p>
                      <a:pPr algn="r" fontAlgn="base"/>
                      <a:r>
                        <a:rPr lang="en-US" sz="900" dirty="0">
                          <a:effectLst/>
                        </a:rPr>
                        <a:t>% in PAS*</a:t>
                      </a:r>
                    </a:p>
                  </a:txBody>
                  <a:tcPr>
                    <a:solidFill>
                      <a:schemeClr val="accent5"/>
                    </a:solidFill>
                  </a:tcPr>
                </a:tc>
                <a:tc>
                  <a:txBody>
                    <a:bodyPr/>
                    <a:lstStyle/>
                    <a:p>
                      <a:pPr algn="r" fontAlgn="base"/>
                      <a:r>
                        <a:rPr lang="en-US" sz="900" dirty="0">
                          <a:effectLst/>
                        </a:rPr>
                        <a:t>Future Growth </a:t>
                      </a:r>
                    </a:p>
                  </a:txBody>
                  <a:tcPr>
                    <a:solidFill>
                      <a:schemeClr val="accent5"/>
                    </a:solidFill>
                  </a:tcPr>
                </a:tc>
                <a:tc>
                  <a:txBody>
                    <a:bodyPr/>
                    <a:lstStyle/>
                    <a:p>
                      <a:pPr algn="r" fontAlgn="base"/>
                      <a:r>
                        <a:rPr lang="en-US" sz="900" dirty="0">
                          <a:effectLst/>
                        </a:rPr>
                        <a:t>NSW candidate %</a:t>
                      </a:r>
                    </a:p>
                  </a:txBody>
                  <a:tcPr>
                    <a:solidFill>
                      <a:schemeClr val="accent5"/>
                    </a:solidFill>
                  </a:tcPr>
                </a:tc>
                <a:extLst>
                  <a:ext uri="{0D108BD9-81ED-4DB2-BD59-A6C34878D82A}">
                    <a16:rowId xmlns:a16="http://schemas.microsoft.com/office/drawing/2014/main" val="2393838102"/>
                  </a:ext>
                </a:extLst>
              </a:tr>
              <a:tr h="222967">
                <a:tc>
                  <a:txBody>
                    <a:bodyPr/>
                    <a:lstStyle/>
                    <a:p>
                      <a:pPr fontAlgn="base"/>
                      <a:r>
                        <a:rPr lang="en-US" sz="900" dirty="0">
                          <a:effectLst/>
                        </a:rPr>
                        <a:t>Contact and Call Centre Workers ​</a:t>
                      </a:r>
                    </a:p>
                  </a:txBody>
                  <a:tcPr/>
                </a:tc>
                <a:tc>
                  <a:txBody>
                    <a:bodyPr/>
                    <a:lstStyle/>
                    <a:p>
                      <a:pPr algn="r" fontAlgn="base"/>
                      <a:r>
                        <a:rPr lang="en-US" sz="900" dirty="0">
                          <a:effectLst/>
                        </a:rPr>
                        <a:t>33,600 to 33,800</a:t>
                      </a:r>
                    </a:p>
                  </a:txBody>
                  <a:tcPr/>
                </a:tc>
                <a:tc>
                  <a:txBody>
                    <a:bodyPr/>
                    <a:lstStyle/>
                    <a:p>
                      <a:pPr algn="r" fontAlgn="base"/>
                      <a:r>
                        <a:rPr lang="en-US" sz="900" dirty="0">
                          <a:effectLst/>
                        </a:rPr>
                        <a:t>34</a:t>
                      </a:r>
                    </a:p>
                  </a:txBody>
                  <a:tcPr/>
                </a:tc>
                <a:tc>
                  <a:txBody>
                    <a:bodyPr/>
                    <a:lstStyle/>
                    <a:p>
                      <a:pPr algn="r" fontAlgn="base"/>
                      <a:r>
                        <a:rPr lang="en-US" sz="900" dirty="0">
                          <a:effectLst/>
                        </a:rPr>
                        <a:t>20.8%​ </a:t>
                      </a:r>
                    </a:p>
                  </a:txBody>
                  <a:tcPr/>
                </a:tc>
                <a:tc>
                  <a:txBody>
                    <a:bodyPr/>
                    <a:lstStyle/>
                    <a:p>
                      <a:pPr algn="r" fontAlgn="base"/>
                      <a:r>
                        <a:rPr lang="en-US" sz="900" dirty="0">
                          <a:effectLst/>
                        </a:rPr>
                        <a:t>+0.7%​</a:t>
                      </a:r>
                    </a:p>
                  </a:txBody>
                  <a:tcPr/>
                </a:tc>
                <a:tc>
                  <a:txBody>
                    <a:bodyPr/>
                    <a:lstStyle/>
                    <a:p>
                      <a:pPr algn="r" fontAlgn="base"/>
                      <a:r>
                        <a:rPr lang="en-US" sz="900" dirty="0">
                          <a:effectLst/>
                        </a:rPr>
                        <a:t>29.6​</a:t>
                      </a:r>
                    </a:p>
                  </a:txBody>
                  <a:tcPr/>
                </a:tc>
                <a:extLst>
                  <a:ext uri="{0D108BD9-81ED-4DB2-BD59-A6C34878D82A}">
                    <a16:rowId xmlns:a16="http://schemas.microsoft.com/office/drawing/2014/main" val="2994246671"/>
                  </a:ext>
                </a:extLst>
              </a:tr>
              <a:tr h="222967">
                <a:tc>
                  <a:txBody>
                    <a:bodyPr/>
                    <a:lstStyle/>
                    <a:p>
                      <a:pPr fontAlgn="base"/>
                      <a:r>
                        <a:rPr lang="en-US" sz="900" dirty="0">
                          <a:effectLst/>
                        </a:rPr>
                        <a:t>Contract, Program, Project Admin ​</a:t>
                      </a:r>
                      <a:endParaRPr lang="en-US" dirty="0"/>
                    </a:p>
                  </a:txBody>
                  <a:tcPr/>
                </a:tc>
                <a:tc>
                  <a:txBody>
                    <a:bodyPr/>
                    <a:lstStyle/>
                    <a:p>
                      <a:pPr algn="r" fontAlgn="base"/>
                      <a:r>
                        <a:rPr lang="en-US" sz="900" dirty="0">
                          <a:effectLst/>
                        </a:rPr>
                        <a:t>127,800 to 139,700</a:t>
                      </a:r>
                    </a:p>
                  </a:txBody>
                  <a:tcPr/>
                </a:tc>
                <a:tc>
                  <a:txBody>
                    <a:bodyPr/>
                    <a:lstStyle/>
                    <a:p>
                      <a:pPr algn="r" fontAlgn="base"/>
                      <a:r>
                        <a:rPr lang="en-US" sz="900" dirty="0">
                          <a:effectLst/>
                        </a:rPr>
                        <a:t>42</a:t>
                      </a:r>
                    </a:p>
                  </a:txBody>
                  <a:tcPr/>
                </a:tc>
                <a:tc>
                  <a:txBody>
                    <a:bodyPr/>
                    <a:lstStyle/>
                    <a:p>
                      <a:pPr algn="r" fontAlgn="base"/>
                      <a:r>
                        <a:rPr lang="en-US" sz="900" dirty="0">
                          <a:effectLst/>
                        </a:rPr>
                        <a:t>27.3%​</a:t>
                      </a:r>
                    </a:p>
                  </a:txBody>
                  <a:tcPr/>
                </a:tc>
                <a:tc>
                  <a:txBody>
                    <a:bodyPr/>
                    <a:lstStyle/>
                    <a:p>
                      <a:pPr algn="r" fontAlgn="base"/>
                      <a:r>
                        <a:rPr lang="en-US" sz="900" dirty="0">
                          <a:effectLst/>
                        </a:rPr>
                        <a:t>+9.3%​</a:t>
                      </a:r>
                    </a:p>
                  </a:txBody>
                  <a:tcPr/>
                </a:tc>
                <a:tc>
                  <a:txBody>
                    <a:bodyPr/>
                    <a:lstStyle/>
                    <a:p>
                      <a:pPr algn="r" fontAlgn="base"/>
                      <a:r>
                        <a:rPr lang="en-US" sz="900" dirty="0">
                          <a:effectLst/>
                        </a:rPr>
                        <a:t>30.3%​</a:t>
                      </a:r>
                    </a:p>
                  </a:txBody>
                  <a:tcPr/>
                </a:tc>
                <a:extLst>
                  <a:ext uri="{0D108BD9-81ED-4DB2-BD59-A6C34878D82A}">
                    <a16:rowId xmlns:a16="http://schemas.microsoft.com/office/drawing/2014/main" val="891623141"/>
                  </a:ext>
                </a:extLst>
              </a:tr>
              <a:tr h="222967">
                <a:tc>
                  <a:txBody>
                    <a:bodyPr/>
                    <a:lstStyle/>
                    <a:p>
                      <a:pPr fontAlgn="base"/>
                      <a:r>
                        <a:rPr lang="en-US" sz="900" dirty="0">
                          <a:effectLst/>
                        </a:rPr>
                        <a:t>Health and Welfare Service Managers ​</a:t>
                      </a:r>
                    </a:p>
                  </a:txBody>
                  <a:tcPr/>
                </a:tc>
                <a:tc>
                  <a:txBody>
                    <a:bodyPr/>
                    <a:lstStyle/>
                    <a:p>
                      <a:pPr algn="r" fontAlgn="base"/>
                      <a:r>
                        <a:rPr lang="en-US" sz="900" dirty="0">
                          <a:effectLst/>
                        </a:rPr>
                        <a:t>35,800 to 45,300</a:t>
                      </a:r>
                    </a:p>
                  </a:txBody>
                  <a:tcPr/>
                </a:tc>
                <a:tc>
                  <a:txBody>
                    <a:bodyPr/>
                    <a:lstStyle/>
                    <a:p>
                      <a:pPr algn="r" fontAlgn="base"/>
                      <a:r>
                        <a:rPr lang="en-US" sz="900" dirty="0">
                          <a:effectLst/>
                        </a:rPr>
                        <a:t>48</a:t>
                      </a:r>
                    </a:p>
                  </a:txBody>
                  <a:tcPr/>
                </a:tc>
                <a:tc>
                  <a:txBody>
                    <a:bodyPr/>
                    <a:lstStyle/>
                    <a:p>
                      <a:pPr algn="r" fontAlgn="base"/>
                      <a:r>
                        <a:rPr lang="en-US" sz="900" dirty="0">
                          <a:effectLst/>
                        </a:rPr>
                        <a:t>9.3%​</a:t>
                      </a:r>
                    </a:p>
                  </a:txBody>
                  <a:tcPr/>
                </a:tc>
                <a:tc>
                  <a:txBody>
                    <a:bodyPr/>
                    <a:lstStyle/>
                    <a:p>
                      <a:pPr algn="r" fontAlgn="base"/>
                      <a:r>
                        <a:rPr lang="en-US" sz="900" dirty="0">
                          <a:effectLst/>
                        </a:rPr>
                        <a:t>+26.5%​</a:t>
                      </a:r>
                    </a:p>
                  </a:txBody>
                  <a:tcPr/>
                </a:tc>
                <a:tc>
                  <a:txBody>
                    <a:bodyPr/>
                    <a:lstStyle/>
                    <a:p>
                      <a:pPr algn="r" fontAlgn="base"/>
                      <a:r>
                        <a:rPr lang="en-US" sz="900" dirty="0">
                          <a:effectLst/>
                        </a:rPr>
                        <a:t>33.4%​</a:t>
                      </a:r>
                    </a:p>
                  </a:txBody>
                  <a:tcPr/>
                </a:tc>
                <a:extLst>
                  <a:ext uri="{0D108BD9-81ED-4DB2-BD59-A6C34878D82A}">
                    <a16:rowId xmlns:a16="http://schemas.microsoft.com/office/drawing/2014/main" val="2623620272"/>
                  </a:ext>
                </a:extLst>
              </a:tr>
              <a:tr h="200632">
                <a:tc>
                  <a:txBody>
                    <a:bodyPr/>
                    <a:lstStyle/>
                    <a:p>
                      <a:pPr fontAlgn="base"/>
                      <a:r>
                        <a:rPr lang="en-US" sz="900" dirty="0">
                          <a:effectLst/>
                        </a:rPr>
                        <a:t>Inspectors, Regulatory Officers ​</a:t>
                      </a:r>
                    </a:p>
                  </a:txBody>
                  <a:tcPr/>
                </a:tc>
                <a:tc>
                  <a:txBody>
                    <a:bodyPr/>
                    <a:lstStyle/>
                    <a:p>
                      <a:pPr algn="r" fontAlgn="base"/>
                      <a:r>
                        <a:rPr lang="en-US" sz="900" dirty="0">
                          <a:effectLst/>
                        </a:rPr>
                        <a:t>44,200 to 49,500</a:t>
                      </a:r>
                    </a:p>
                  </a:txBody>
                  <a:tcPr/>
                </a:tc>
                <a:tc>
                  <a:txBody>
                    <a:bodyPr/>
                    <a:lstStyle/>
                    <a:p>
                      <a:pPr algn="r" fontAlgn="base"/>
                      <a:r>
                        <a:rPr lang="en-US" sz="900" dirty="0">
                          <a:effectLst/>
                        </a:rPr>
                        <a:t>44</a:t>
                      </a:r>
                    </a:p>
                  </a:txBody>
                  <a:tcPr/>
                </a:tc>
                <a:tc>
                  <a:txBody>
                    <a:bodyPr/>
                    <a:lstStyle/>
                    <a:p>
                      <a:pPr marL="0" marR="0" indent="0" algn="r" fontAlgn="base"/>
                      <a:r>
                        <a:rPr lang="en-US" sz="900" dirty="0">
                          <a:effectLst/>
                        </a:rPr>
                        <a:t>68%​ </a:t>
                      </a:r>
                      <a:endParaRPr lang="en-US" sz="900" b="0" i="0" u="none" strike="noStrike" noProof="0" dirty="0">
                        <a:effectLst/>
                        <a:latin typeface="Calibri"/>
                      </a:endParaRPr>
                    </a:p>
                  </a:txBody>
                  <a:tcPr/>
                </a:tc>
                <a:tc>
                  <a:txBody>
                    <a:bodyPr/>
                    <a:lstStyle/>
                    <a:p>
                      <a:pPr algn="r" fontAlgn="base"/>
                      <a:r>
                        <a:rPr lang="en-US" sz="900" dirty="0">
                          <a:effectLst/>
                        </a:rPr>
                        <a:t>+11.8%​</a:t>
                      </a:r>
                    </a:p>
                  </a:txBody>
                  <a:tcPr/>
                </a:tc>
                <a:tc>
                  <a:txBody>
                    <a:bodyPr/>
                    <a:lstStyle/>
                    <a:p>
                      <a:pPr algn="r" fontAlgn="base"/>
                      <a:r>
                        <a:rPr lang="en-US" sz="900" dirty="0">
                          <a:effectLst/>
                        </a:rPr>
                        <a:t>30.9%​</a:t>
                      </a:r>
                    </a:p>
                  </a:txBody>
                  <a:tcPr/>
                </a:tc>
                <a:extLst>
                  <a:ext uri="{0D108BD9-81ED-4DB2-BD59-A6C34878D82A}">
                    <a16:rowId xmlns:a16="http://schemas.microsoft.com/office/drawing/2014/main" val="3890947890"/>
                  </a:ext>
                </a:extLst>
              </a:tr>
              <a:tr h="222967">
                <a:tc>
                  <a:txBody>
                    <a:bodyPr/>
                    <a:lstStyle/>
                    <a:p>
                      <a:pPr fontAlgn="base"/>
                      <a:r>
                        <a:rPr lang="en-US" sz="900" dirty="0">
                          <a:effectLst/>
                        </a:rPr>
                        <a:t>Judicial and Legal Professionals ​</a:t>
                      </a:r>
                    </a:p>
                  </a:txBody>
                  <a:tcPr/>
                </a:tc>
                <a:tc>
                  <a:txBody>
                    <a:bodyPr/>
                    <a:lstStyle/>
                    <a:p>
                      <a:pPr algn="r" fontAlgn="base"/>
                      <a:r>
                        <a:rPr lang="en-US" sz="900" dirty="0">
                          <a:effectLst/>
                        </a:rPr>
                        <a:t>12,400 to 13,800 ​</a:t>
                      </a:r>
                    </a:p>
                  </a:txBody>
                  <a:tcPr/>
                </a:tc>
                <a:tc>
                  <a:txBody>
                    <a:bodyPr/>
                    <a:lstStyle/>
                    <a:p>
                      <a:pPr algn="r" fontAlgn="base"/>
                      <a:r>
                        <a:rPr lang="en-US" sz="900" dirty="0">
                          <a:effectLst/>
                        </a:rPr>
                        <a:t>45</a:t>
                      </a:r>
                    </a:p>
                  </a:txBody>
                  <a:tcPr/>
                </a:tc>
                <a:tc>
                  <a:txBody>
                    <a:bodyPr/>
                    <a:lstStyle/>
                    <a:p>
                      <a:pPr algn="r" fontAlgn="base"/>
                      <a:r>
                        <a:rPr lang="en-US" sz="900" dirty="0">
                          <a:effectLst/>
                        </a:rPr>
                        <a:t>49.5%</a:t>
                      </a:r>
                      <a:endParaRPr lang="en-US" sz="900" b="0" i="0" u="none" strike="noStrike" noProof="0" dirty="0">
                        <a:effectLst/>
                        <a:latin typeface="Calibri"/>
                      </a:endParaRPr>
                    </a:p>
                  </a:txBody>
                  <a:tcPr/>
                </a:tc>
                <a:tc>
                  <a:txBody>
                    <a:bodyPr/>
                    <a:lstStyle/>
                    <a:p>
                      <a:pPr algn="r" fontAlgn="base"/>
                      <a:r>
                        <a:rPr lang="en-US" sz="900" dirty="0">
                          <a:effectLst/>
                        </a:rPr>
                        <a:t>+11%​</a:t>
                      </a:r>
                    </a:p>
                  </a:txBody>
                  <a:tcPr/>
                </a:tc>
                <a:tc>
                  <a:txBody>
                    <a:bodyPr/>
                    <a:lstStyle/>
                    <a:p>
                      <a:pPr algn="r" fontAlgn="base"/>
                      <a:r>
                        <a:rPr lang="en-US" sz="900" dirty="0">
                          <a:effectLst/>
                        </a:rPr>
                        <a:t>30.9%​</a:t>
                      </a:r>
                    </a:p>
                  </a:txBody>
                  <a:tcPr/>
                </a:tc>
                <a:extLst>
                  <a:ext uri="{0D108BD9-81ED-4DB2-BD59-A6C34878D82A}">
                    <a16:rowId xmlns:a16="http://schemas.microsoft.com/office/drawing/2014/main" val="2942622579"/>
                  </a:ext>
                </a:extLst>
              </a:tr>
              <a:tr h="216599">
                <a:tc>
                  <a:txBody>
                    <a:bodyPr/>
                    <a:lstStyle/>
                    <a:p>
                      <a:pPr fontAlgn="base"/>
                      <a:r>
                        <a:rPr lang="en-US" sz="900" dirty="0">
                          <a:effectLst/>
                        </a:rPr>
                        <a:t>Information Officer </a:t>
                      </a:r>
                    </a:p>
                  </a:txBody>
                  <a:tcPr/>
                </a:tc>
                <a:tc>
                  <a:txBody>
                    <a:bodyPr/>
                    <a:lstStyle/>
                    <a:p>
                      <a:pPr algn="r" fontAlgn="base"/>
                      <a:r>
                        <a:rPr lang="en-US" sz="900" dirty="0">
                          <a:effectLst/>
                        </a:rPr>
                        <a:t>59,600 to 61,400</a:t>
                      </a:r>
                    </a:p>
                  </a:txBody>
                  <a:tcPr/>
                </a:tc>
                <a:tc>
                  <a:txBody>
                    <a:bodyPr/>
                    <a:lstStyle/>
                    <a:p>
                      <a:pPr algn="r" fontAlgn="base"/>
                      <a:r>
                        <a:rPr lang="en-US" sz="900" dirty="0">
                          <a:effectLst/>
                        </a:rPr>
                        <a:t>39</a:t>
                      </a:r>
                    </a:p>
                  </a:txBody>
                  <a:tcPr/>
                </a:tc>
                <a:tc>
                  <a:txBody>
                    <a:bodyPr/>
                    <a:lstStyle/>
                    <a:p>
                      <a:pPr algn="r" fontAlgn="base"/>
                      <a:r>
                        <a:rPr lang="en-US" sz="900" dirty="0">
                          <a:effectLst/>
                        </a:rPr>
                        <a:t>23.6%</a:t>
                      </a:r>
                    </a:p>
                  </a:txBody>
                  <a:tcPr/>
                </a:tc>
                <a:tc>
                  <a:txBody>
                    <a:bodyPr/>
                    <a:lstStyle/>
                    <a:p>
                      <a:pPr algn="r" fontAlgn="base"/>
                      <a:r>
                        <a:rPr lang="en-US" sz="900" dirty="0">
                          <a:effectLst/>
                        </a:rPr>
                        <a:t>+3%</a:t>
                      </a:r>
                    </a:p>
                  </a:txBody>
                  <a:tcPr/>
                </a:tc>
                <a:tc>
                  <a:txBody>
                    <a:bodyPr/>
                    <a:lstStyle/>
                    <a:p>
                      <a:pPr algn="r" fontAlgn="base"/>
                      <a:r>
                        <a:rPr lang="en-US" sz="900" dirty="0">
                          <a:effectLst/>
                        </a:rPr>
                        <a:t>33.6%</a:t>
                      </a:r>
                    </a:p>
                  </a:txBody>
                  <a:tcPr/>
                </a:tc>
                <a:extLst>
                  <a:ext uri="{0D108BD9-81ED-4DB2-BD59-A6C34878D82A}">
                    <a16:rowId xmlns:a16="http://schemas.microsoft.com/office/drawing/2014/main" val="2100031936"/>
                  </a:ext>
                </a:extLst>
              </a:tr>
              <a:tr h="216599">
                <a:tc>
                  <a:txBody>
                    <a:bodyPr/>
                    <a:lstStyle/>
                    <a:p>
                      <a:pPr fontAlgn="base"/>
                      <a:r>
                        <a:rPr lang="en-US" sz="900" b="1" dirty="0">
                          <a:effectLst/>
                        </a:rPr>
                        <a:t>Intelligence and Policy Analyst </a:t>
                      </a:r>
                    </a:p>
                  </a:txBody>
                  <a:tcPr/>
                </a:tc>
                <a:tc>
                  <a:txBody>
                    <a:bodyPr/>
                    <a:lstStyle/>
                    <a:p>
                      <a:pPr algn="r" fontAlgn="base"/>
                      <a:r>
                        <a:rPr lang="en-US" sz="900" b="1" dirty="0">
                          <a:effectLst/>
                        </a:rPr>
                        <a:t>28,500 to 31,000</a:t>
                      </a:r>
                    </a:p>
                  </a:txBody>
                  <a:tcPr/>
                </a:tc>
                <a:tc>
                  <a:txBody>
                    <a:bodyPr/>
                    <a:lstStyle/>
                    <a:p>
                      <a:pPr algn="r" fontAlgn="base"/>
                      <a:r>
                        <a:rPr lang="en-US" sz="900" b="1" dirty="0">
                          <a:effectLst/>
                        </a:rPr>
                        <a:t>38</a:t>
                      </a:r>
                    </a:p>
                  </a:txBody>
                  <a:tcPr/>
                </a:tc>
                <a:tc>
                  <a:txBody>
                    <a:bodyPr/>
                    <a:lstStyle/>
                    <a:p>
                      <a:pPr algn="r" fontAlgn="base"/>
                      <a:r>
                        <a:rPr lang="en-US" sz="900" b="1" dirty="0">
                          <a:effectLst/>
                        </a:rPr>
                        <a:t>77.4%</a:t>
                      </a:r>
                    </a:p>
                  </a:txBody>
                  <a:tcPr/>
                </a:tc>
                <a:tc>
                  <a:txBody>
                    <a:bodyPr/>
                    <a:lstStyle/>
                    <a:p>
                      <a:pPr algn="r" fontAlgn="base"/>
                      <a:r>
                        <a:rPr lang="en-US" sz="900" b="1" dirty="0">
                          <a:effectLst/>
                        </a:rPr>
                        <a:t>+8.7%</a:t>
                      </a:r>
                    </a:p>
                  </a:txBody>
                  <a:tcPr/>
                </a:tc>
                <a:tc>
                  <a:txBody>
                    <a:bodyPr/>
                    <a:lstStyle/>
                    <a:p>
                      <a:pPr algn="r" fontAlgn="base"/>
                      <a:r>
                        <a:rPr lang="en-US" sz="900" b="1" dirty="0">
                          <a:effectLst/>
                        </a:rPr>
                        <a:t>20.5%</a:t>
                      </a:r>
                    </a:p>
                  </a:txBody>
                  <a:tcPr/>
                </a:tc>
                <a:extLst>
                  <a:ext uri="{0D108BD9-81ED-4DB2-BD59-A6C34878D82A}">
                    <a16:rowId xmlns:a16="http://schemas.microsoft.com/office/drawing/2014/main" val="1935611747"/>
                  </a:ext>
                </a:extLst>
              </a:tr>
              <a:tr h="206451">
                <a:tc>
                  <a:txBody>
                    <a:bodyPr/>
                    <a:lstStyle/>
                    <a:p>
                      <a:pPr fontAlgn="base"/>
                      <a:r>
                        <a:rPr lang="en-US" sz="900" b="1" dirty="0">
                          <a:effectLst/>
                        </a:rPr>
                        <a:t>Policy Analyst </a:t>
                      </a:r>
                    </a:p>
                  </a:txBody>
                  <a:tcPr/>
                </a:tc>
                <a:tc>
                  <a:txBody>
                    <a:bodyPr/>
                    <a:lstStyle/>
                    <a:p>
                      <a:pPr algn="r" fontAlgn="base"/>
                      <a:r>
                        <a:rPr lang="en-US" sz="900" b="1" dirty="0">
                          <a:effectLst/>
                        </a:rPr>
                        <a:t>13,300</a:t>
                      </a:r>
                    </a:p>
                  </a:txBody>
                  <a:tcPr/>
                </a:tc>
                <a:tc>
                  <a:txBody>
                    <a:bodyPr/>
                    <a:lstStyle/>
                    <a:p>
                      <a:pPr algn="r" fontAlgn="base"/>
                      <a:r>
                        <a:rPr lang="en-US" sz="900" b="1" dirty="0">
                          <a:effectLst/>
                        </a:rPr>
                        <a:t>38</a:t>
                      </a:r>
                    </a:p>
                  </a:txBody>
                  <a:tcPr/>
                </a:tc>
                <a:tc>
                  <a:txBody>
                    <a:bodyPr/>
                    <a:lstStyle/>
                    <a:p>
                      <a:pPr algn="r" fontAlgn="base"/>
                      <a:r>
                        <a:rPr lang="en-US" sz="900" b="1" dirty="0">
                          <a:effectLst/>
                        </a:rPr>
                        <a:t>79.8%</a:t>
                      </a:r>
                    </a:p>
                  </a:txBody>
                  <a:tcPr/>
                </a:tc>
                <a:tc>
                  <a:txBody>
                    <a:bodyPr/>
                    <a:lstStyle/>
                    <a:p>
                      <a:pPr algn="r" fontAlgn="base"/>
                      <a:r>
                        <a:rPr lang="en-US" sz="900" b="1" dirty="0">
                          <a:effectLst/>
                        </a:rPr>
                        <a:t>N/A</a:t>
                      </a:r>
                    </a:p>
                  </a:txBody>
                  <a:tcPr/>
                </a:tc>
                <a:tc>
                  <a:txBody>
                    <a:bodyPr/>
                    <a:lstStyle/>
                    <a:p>
                      <a:pPr algn="r" fontAlgn="base"/>
                      <a:r>
                        <a:rPr lang="en-US" sz="900" b="1" dirty="0">
                          <a:effectLst/>
                        </a:rPr>
                        <a:t>20.5%</a:t>
                      </a:r>
                    </a:p>
                  </a:txBody>
                  <a:tcPr/>
                </a:tc>
                <a:extLst>
                  <a:ext uri="{0D108BD9-81ED-4DB2-BD59-A6C34878D82A}">
                    <a16:rowId xmlns:a16="http://schemas.microsoft.com/office/drawing/2014/main" val="4013791533"/>
                  </a:ext>
                </a:extLst>
              </a:tr>
              <a:tr h="206451">
                <a:tc>
                  <a:txBody>
                    <a:bodyPr/>
                    <a:lstStyle/>
                    <a:p>
                      <a:pPr fontAlgn="base"/>
                      <a:r>
                        <a:rPr lang="en-US" sz="900" dirty="0">
                          <a:effectLst/>
                        </a:rPr>
                        <a:t>Policy and Planning Manager</a:t>
                      </a:r>
                    </a:p>
                  </a:txBody>
                  <a:tcPr/>
                </a:tc>
                <a:tc>
                  <a:txBody>
                    <a:bodyPr/>
                    <a:lstStyle/>
                    <a:p>
                      <a:pPr algn="r" fontAlgn="base"/>
                      <a:r>
                        <a:rPr lang="en-US" sz="900" dirty="0">
                          <a:effectLst/>
                        </a:rPr>
                        <a:t>26,400 to 28,000</a:t>
                      </a:r>
                    </a:p>
                  </a:txBody>
                  <a:tcPr/>
                </a:tc>
                <a:tc>
                  <a:txBody>
                    <a:bodyPr/>
                    <a:lstStyle/>
                    <a:p>
                      <a:pPr algn="r" fontAlgn="base"/>
                      <a:r>
                        <a:rPr lang="en-US" sz="900" dirty="0">
                          <a:effectLst/>
                        </a:rPr>
                        <a:t>44</a:t>
                      </a:r>
                    </a:p>
                  </a:txBody>
                  <a:tcPr/>
                </a:tc>
                <a:tc>
                  <a:txBody>
                    <a:bodyPr/>
                    <a:lstStyle/>
                    <a:p>
                      <a:pPr algn="r" fontAlgn="base"/>
                      <a:r>
                        <a:rPr lang="en-US" sz="900" dirty="0">
                          <a:effectLst/>
                        </a:rPr>
                        <a:t>52.5%</a:t>
                      </a:r>
                    </a:p>
                  </a:txBody>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900" dirty="0">
                          <a:effectLst/>
                        </a:rPr>
                        <a:t>+5.7%</a:t>
                      </a:r>
                    </a:p>
                  </a:txBody>
                  <a:tcPr/>
                </a:tc>
                <a:tc>
                  <a:txBody>
                    <a:bodyPr/>
                    <a:lstStyle/>
                    <a:p>
                      <a:pPr algn="r" fontAlgn="base"/>
                      <a:r>
                        <a:rPr lang="en-US" sz="900" dirty="0">
                          <a:effectLst/>
                        </a:rPr>
                        <a:t>27.9%</a:t>
                      </a:r>
                    </a:p>
                  </a:txBody>
                  <a:tcPr/>
                </a:tc>
                <a:extLst>
                  <a:ext uri="{0D108BD9-81ED-4DB2-BD59-A6C34878D82A}">
                    <a16:rowId xmlns:a16="http://schemas.microsoft.com/office/drawing/2014/main" val="1116548134"/>
                  </a:ext>
                </a:extLst>
              </a:tr>
              <a:tr h="206451">
                <a:tc>
                  <a:txBody>
                    <a:bodyPr/>
                    <a:lstStyle/>
                    <a:p>
                      <a:pPr fontAlgn="base"/>
                      <a:r>
                        <a:rPr lang="en-US" sz="900" dirty="0">
                          <a:effectLst/>
                        </a:rPr>
                        <a:t>Community Worker</a:t>
                      </a:r>
                    </a:p>
                  </a:txBody>
                  <a:tcPr/>
                </a:tc>
                <a:tc>
                  <a:txBody>
                    <a:bodyPr/>
                    <a:lstStyle/>
                    <a:p>
                      <a:pPr algn="r" fontAlgn="base"/>
                      <a:r>
                        <a:rPr lang="en-US" sz="900" dirty="0">
                          <a:effectLst/>
                        </a:rPr>
                        <a:t>24,400</a:t>
                      </a:r>
                    </a:p>
                  </a:txBody>
                  <a:tcPr/>
                </a:tc>
                <a:tc>
                  <a:txBody>
                    <a:bodyPr/>
                    <a:lstStyle/>
                    <a:p>
                      <a:pPr algn="r" fontAlgn="base"/>
                      <a:r>
                        <a:rPr lang="en-US" sz="900" dirty="0">
                          <a:effectLst/>
                        </a:rPr>
                        <a:t>45</a:t>
                      </a:r>
                    </a:p>
                  </a:txBody>
                  <a:tcPr/>
                </a:tc>
                <a:tc>
                  <a:txBody>
                    <a:bodyPr/>
                    <a:lstStyle/>
                    <a:p>
                      <a:pPr algn="r" fontAlgn="base"/>
                      <a:r>
                        <a:rPr lang="en-US" sz="900" dirty="0">
                          <a:effectLst/>
                        </a:rPr>
                        <a:t>17.3%</a:t>
                      </a:r>
                    </a:p>
                  </a:txBody>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900" dirty="0">
                          <a:effectLst/>
                        </a:rPr>
                        <a:t>N/A</a:t>
                      </a:r>
                    </a:p>
                  </a:txBody>
                  <a:tcPr/>
                </a:tc>
                <a:tc>
                  <a:txBody>
                    <a:bodyPr/>
                    <a:lstStyle/>
                    <a:p>
                      <a:pPr algn="r" fontAlgn="base"/>
                      <a:r>
                        <a:rPr lang="en-US" sz="900" dirty="0">
                          <a:effectLst/>
                        </a:rPr>
                        <a:t>29.4%</a:t>
                      </a:r>
                    </a:p>
                  </a:txBody>
                  <a:tcPr/>
                </a:tc>
                <a:extLst>
                  <a:ext uri="{0D108BD9-81ED-4DB2-BD59-A6C34878D82A}">
                    <a16:rowId xmlns:a16="http://schemas.microsoft.com/office/drawing/2014/main" val="3440456698"/>
                  </a:ext>
                </a:extLst>
              </a:tr>
            </a:tbl>
          </a:graphicData>
        </a:graphic>
      </p:graphicFrame>
      <p:sp>
        <p:nvSpPr>
          <p:cNvPr id="15" name="Google Shape;6575;p424">
            <a:extLst>
              <a:ext uri="{FF2B5EF4-FFF2-40B4-BE49-F238E27FC236}">
                <a16:creationId xmlns:a16="http://schemas.microsoft.com/office/drawing/2014/main" id="{2B89B941-393E-337C-7FB6-F4AAE11B9D5B}"/>
              </a:ext>
            </a:extLst>
          </p:cNvPr>
          <p:cNvSpPr/>
          <p:nvPr/>
        </p:nvSpPr>
        <p:spPr>
          <a:xfrm>
            <a:off x="481661" y="1877933"/>
            <a:ext cx="4546291" cy="4566410"/>
          </a:xfrm>
          <a:prstGeom prst="rect">
            <a:avLst/>
          </a:prstGeom>
          <a:solidFill>
            <a:schemeClr val="bg1">
              <a:lumMod val="95000"/>
            </a:schemeClr>
          </a:solidFill>
          <a:ln>
            <a:noFill/>
          </a:ln>
        </p:spPr>
        <p:txBody>
          <a:bodyPr spcFirstLastPara="1" wrap="square" lIns="120000" tIns="96000" rIns="48000" bIns="121900" anchor="t" anchorCtr="0">
            <a:noAutofit/>
          </a:bodyPr>
          <a:lstStyle/>
          <a:p>
            <a:pPr>
              <a:defRPr/>
            </a:pPr>
            <a:r>
              <a:rPr lang="en-AU" sz="1000" kern="0" dirty="0">
                <a:ea typeface="+mn-lt"/>
                <a:cs typeface="+mn-lt"/>
                <a:sym typeface="Arial"/>
              </a:rPr>
              <a:t>Continuing to build and access diverse talent pipelines will be critical to meeting demand and providing high-quality outcomes for participants and providers.</a:t>
            </a:r>
            <a:endParaRPr lang="en-AU" sz="1000" kern="0" dirty="0">
              <a:ea typeface="+mn-lt"/>
              <a:cs typeface="+mn-lt"/>
            </a:endParaRPr>
          </a:p>
          <a:p>
            <a:pPr>
              <a:defRPr/>
            </a:pPr>
            <a:r>
              <a:rPr lang="en-US" sz="1000" kern="0" dirty="0">
                <a:ea typeface="+mn-lt"/>
                <a:cs typeface="+mn-lt"/>
              </a:rPr>
              <a:t>As the Commission transitions from </a:t>
            </a:r>
            <a:r>
              <a:rPr lang="en-US" sz="1000" kern="0" dirty="0" smtClean="0">
                <a:ea typeface="+mn-lt"/>
                <a:cs typeface="+mn-lt"/>
              </a:rPr>
              <a:t>start-up </a:t>
            </a:r>
            <a:r>
              <a:rPr lang="en-US" sz="1000" kern="0" dirty="0">
                <a:ea typeface="+mn-lt"/>
                <a:cs typeface="+mn-lt"/>
              </a:rPr>
              <a:t>to </a:t>
            </a:r>
            <a:r>
              <a:rPr lang="en-US" sz="1000" kern="0" dirty="0" smtClean="0">
                <a:ea typeface="+mn-lt"/>
                <a:cs typeface="+mn-lt"/>
              </a:rPr>
              <a:t>scale-up</a:t>
            </a:r>
            <a:r>
              <a:rPr lang="en-US" sz="1000" kern="0" dirty="0">
                <a:ea typeface="+mn-lt"/>
                <a:cs typeface="+mn-lt"/>
              </a:rPr>
              <a:t>, it will need to understand the current and future state workforce, the skills and capabilities needed and the challenges it faces. The Commission </a:t>
            </a:r>
            <a:r>
              <a:rPr lang="en-US" sz="1000" kern="0" dirty="0" smtClean="0">
                <a:ea typeface="+mn-lt"/>
                <a:cs typeface="+mn-lt"/>
              </a:rPr>
              <a:t>faces </a:t>
            </a:r>
            <a:r>
              <a:rPr lang="en-US" sz="1000" kern="0" dirty="0">
                <a:ea typeface="+mn-lt"/>
                <a:cs typeface="+mn-lt"/>
              </a:rPr>
              <a:t>workforce supply challenges of a tight and highly competitive labour market. The opportunity to access new and different labour markets together with existing talent pipelines will enable the Commission to contribute to </a:t>
            </a:r>
            <a:r>
              <a:rPr lang="en-US" sz="1000" kern="0" dirty="0" smtClean="0">
                <a:ea typeface="+mn-lt"/>
                <a:cs typeface="+mn-lt"/>
              </a:rPr>
              <a:t>Australia’s </a:t>
            </a:r>
            <a:r>
              <a:rPr lang="en-US" sz="1000" kern="0" dirty="0">
                <a:ea typeface="+mn-lt"/>
                <a:cs typeface="+mn-lt"/>
              </a:rPr>
              <a:t>overall economic recovery and ensuring that all Australians receive the care they need and deserve.  </a:t>
            </a:r>
          </a:p>
          <a:p>
            <a:pPr>
              <a:spcBef>
                <a:spcPts val="400"/>
              </a:spcBef>
              <a:defRPr/>
            </a:pPr>
            <a:r>
              <a:rPr lang="en-US" sz="1000" kern="0" dirty="0">
                <a:ea typeface="+mn-lt"/>
                <a:cs typeface="+mn-lt"/>
              </a:rPr>
              <a:t>Equally, as the demand for disability care services continues to </a:t>
            </a:r>
            <a:r>
              <a:rPr lang="en-US" sz="1000" kern="0" dirty="0" smtClean="0">
                <a:ea typeface="+mn-lt"/>
                <a:cs typeface="+mn-lt"/>
              </a:rPr>
              <a:t>grow, </a:t>
            </a:r>
            <a:r>
              <a:rPr lang="en-US" sz="1000" kern="0" dirty="0">
                <a:ea typeface="+mn-lt"/>
                <a:cs typeface="+mn-lt"/>
              </a:rPr>
              <a:t>so too will the demand for regulatory services from the Commission. </a:t>
            </a:r>
          </a:p>
          <a:p>
            <a:pPr marL="180975" indent="-180975">
              <a:spcBef>
                <a:spcPts val="600"/>
              </a:spcBef>
              <a:buFont typeface="Arial"/>
              <a:buChar char="•"/>
              <a:defRPr/>
            </a:pPr>
            <a:r>
              <a:rPr lang="en-US" sz="1000" b="1" kern="0" dirty="0">
                <a:cs typeface="Calibri"/>
              </a:rPr>
              <a:t>One in seven workers are now employed in healthcare or social services</a:t>
            </a:r>
            <a:r>
              <a:rPr lang="en-US" sz="1000" kern="0" dirty="0">
                <a:cs typeface="Calibri"/>
              </a:rPr>
              <a:t>. In the decade to August 2021, the health and community services workforce grew by 50 per cent — almost 600,000 extra employees</a:t>
            </a:r>
            <a:r>
              <a:rPr lang="en-US" sz="800" kern="0" dirty="0">
                <a:cs typeface="Arial"/>
                <a:sym typeface="Helvetica Neue"/>
              </a:rPr>
              <a:t>¹</a:t>
            </a:r>
            <a:endParaRPr lang="en-US" sz="1000" kern="0" dirty="0">
              <a:cs typeface="Calibri"/>
            </a:endParaRPr>
          </a:p>
          <a:p>
            <a:pPr marL="180975" indent="-180975">
              <a:spcBef>
                <a:spcPts val="600"/>
              </a:spcBef>
              <a:buFont typeface="Arial"/>
              <a:buChar char="•"/>
              <a:defRPr/>
            </a:pPr>
            <a:r>
              <a:rPr lang="en-US" sz="1000" kern="0" dirty="0">
                <a:cs typeface="Calibri"/>
              </a:rPr>
              <a:t>Across </a:t>
            </a:r>
            <a:r>
              <a:rPr lang="en-US" sz="1000" b="1" kern="0" dirty="0">
                <a:cs typeface="Calibri"/>
              </a:rPr>
              <a:t>disability care the estimated shortage of NDIS workers last year alone was 120,000</a:t>
            </a:r>
            <a:r>
              <a:rPr lang="en-US" sz="800" kern="0" dirty="0">
                <a:solidFill>
                  <a:srgbClr val="000000"/>
                </a:solidFill>
                <a:cs typeface="Arial"/>
                <a:sym typeface="Helvetica Neue"/>
              </a:rPr>
              <a:t> ²</a:t>
            </a:r>
            <a:endParaRPr lang="en-US" sz="1000" b="1" kern="0" dirty="0">
              <a:cs typeface="Calibri"/>
            </a:endParaRPr>
          </a:p>
          <a:p>
            <a:pPr marL="180975" indent="-180975">
              <a:spcBef>
                <a:spcPts val="600"/>
              </a:spcBef>
              <a:buFont typeface="Arial"/>
              <a:buChar char="•"/>
              <a:defRPr/>
            </a:pPr>
            <a:r>
              <a:rPr lang="en-US" sz="1000" kern="0" dirty="0">
                <a:ea typeface="+mn-lt"/>
                <a:cs typeface="Calibri"/>
              </a:rPr>
              <a:t>There are currently </a:t>
            </a:r>
            <a:r>
              <a:rPr lang="en-US" sz="1000" b="1" kern="0" dirty="0">
                <a:ea typeface="+mn-lt"/>
                <a:cs typeface="Calibri"/>
              </a:rPr>
              <a:t>10,000 people employed in regulatory services</a:t>
            </a:r>
            <a:r>
              <a:rPr lang="en-US" sz="1000" kern="0" dirty="0">
                <a:ea typeface="+mn-lt"/>
                <a:cs typeface="Calibri"/>
              </a:rPr>
              <a:t>, within Public Administration and Safety industry. The industry has </a:t>
            </a:r>
            <a:r>
              <a:rPr lang="en-US" sz="1000" b="1" kern="0" dirty="0">
                <a:ea typeface="+mn-lt"/>
                <a:cs typeface="Calibri"/>
              </a:rPr>
              <a:t>a projected employment growth of 6.4% </a:t>
            </a:r>
            <a:r>
              <a:rPr lang="en-US" sz="1000" kern="0" dirty="0">
                <a:ea typeface="+mn-lt"/>
                <a:cs typeface="Calibri"/>
              </a:rPr>
              <a:t>over the next five years</a:t>
            </a:r>
            <a:r>
              <a:rPr lang="en-US" sz="1000" kern="0" dirty="0">
                <a:solidFill>
                  <a:srgbClr val="000000"/>
                </a:solidFill>
                <a:cs typeface="Arial"/>
                <a:sym typeface="Helvetica Neue"/>
              </a:rPr>
              <a:t>³</a:t>
            </a:r>
            <a:r>
              <a:rPr lang="en-US" sz="1000" kern="0" dirty="0">
                <a:ea typeface="+mn-lt"/>
                <a:cs typeface="Calibri"/>
              </a:rPr>
              <a:t>.</a:t>
            </a:r>
            <a:endParaRPr lang="en-US" sz="1000" kern="0" dirty="0">
              <a:ea typeface="+mn-lt"/>
              <a:cs typeface="+mn-lt"/>
            </a:endParaRPr>
          </a:p>
          <a:p>
            <a:pPr>
              <a:spcBef>
                <a:spcPts val="600"/>
              </a:spcBef>
              <a:defRPr/>
            </a:pPr>
            <a:r>
              <a:rPr lang="en-US" sz="1000" kern="0" dirty="0">
                <a:cs typeface="Calibri"/>
              </a:rPr>
              <a:t>For the Commission this means investing in early career programs, tapping into adjacent </a:t>
            </a:r>
            <a:r>
              <a:rPr lang="en-US" sz="1000" kern="0" dirty="0" smtClean="0">
                <a:cs typeface="Calibri"/>
              </a:rPr>
              <a:t>sectors, </a:t>
            </a:r>
            <a:r>
              <a:rPr lang="en-US" sz="1000" kern="0" dirty="0">
                <a:cs typeface="Calibri"/>
              </a:rPr>
              <a:t>existing APS diversity employment programs and reimagining the geographic footprint. This could also include; exploring secondment and transition to retirement programs, as well as; hiring for potential not only experience and proven capability. These opportunities will all assist in building the Commission’s talent pipeline for the future. </a:t>
            </a:r>
            <a:r>
              <a:rPr lang="en-US" sz="1000" dirty="0">
                <a:cs typeface="Calibri"/>
              </a:rPr>
              <a:t>This together with ongoing monitoring of labour </a:t>
            </a:r>
            <a:r>
              <a:rPr lang="en-US" sz="1000" dirty="0" smtClean="0">
                <a:cs typeface="Calibri"/>
              </a:rPr>
              <a:t>market changes</a:t>
            </a:r>
            <a:r>
              <a:rPr lang="en-US" sz="1000" dirty="0">
                <a:cs typeface="Calibri"/>
              </a:rPr>
              <a:t>, will ensure the Commission is equipped to respond to economic changes and also build and acquire the skills needed most.</a:t>
            </a:r>
          </a:p>
          <a:p>
            <a:pPr>
              <a:spcBef>
                <a:spcPts val="600"/>
              </a:spcBef>
              <a:defRPr/>
            </a:pPr>
            <a:endParaRPr lang="en-US" sz="1000" dirty="0">
              <a:ea typeface="+mn-lt"/>
              <a:cs typeface="+mn-lt"/>
            </a:endParaRPr>
          </a:p>
        </p:txBody>
      </p:sp>
      <p:sp>
        <p:nvSpPr>
          <p:cNvPr id="173" name="TextBox 172">
            <a:extLst>
              <a:ext uri="{FF2B5EF4-FFF2-40B4-BE49-F238E27FC236}">
                <a16:creationId xmlns:a16="http://schemas.microsoft.com/office/drawing/2014/main" id="{BC3FF89F-6A70-44D4-A764-53EFCA179C40}"/>
              </a:ext>
            </a:extLst>
          </p:cNvPr>
          <p:cNvSpPr txBox="1"/>
          <p:nvPr/>
        </p:nvSpPr>
        <p:spPr>
          <a:xfrm>
            <a:off x="481663" y="1526874"/>
            <a:ext cx="4546289" cy="307778"/>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dirty="0">
                <a:solidFill>
                  <a:schemeClr val="bg1"/>
                </a:solidFill>
                <a:latin typeface="Calibri"/>
                <a:sym typeface="Arial"/>
              </a:rPr>
              <a:t>C</a:t>
            </a:r>
            <a:r>
              <a:rPr lang="en-AU" sz="1100" b="1" dirty="0">
                <a:solidFill>
                  <a:schemeClr val="bg1"/>
                </a:solidFill>
                <a:latin typeface="Calibri"/>
                <a:sym typeface="Arial"/>
              </a:rPr>
              <a:t>ontinuing to build and access diverse talent pipelines</a:t>
            </a:r>
            <a:endParaRPr lang="en-AU" dirty="0">
              <a:solidFill>
                <a:schemeClr val="bg1"/>
              </a:solidFill>
              <a:latin typeface="Calibri"/>
            </a:endParaRPr>
          </a:p>
        </p:txBody>
      </p:sp>
      <p:sp>
        <p:nvSpPr>
          <p:cNvPr id="184" name="Footer Placeholder 7">
            <a:extLst>
              <a:ext uri="{FF2B5EF4-FFF2-40B4-BE49-F238E27FC236}">
                <a16:creationId xmlns:a16="http://schemas.microsoft.com/office/drawing/2014/main" id="{27B2437A-46DA-4E56-A60C-13F35B7C2061}"/>
              </a:ext>
            </a:extLst>
          </p:cNvPr>
          <p:cNvSpPr>
            <a:spLocks noGrp="1"/>
          </p:cNvSpPr>
          <p:nvPr>
            <p:ph type="ftr" sz="quarter" idx="11"/>
          </p:nvPr>
        </p:nvSpPr>
        <p:spPr>
          <a:xfrm>
            <a:off x="1007248" y="6427821"/>
            <a:ext cx="6783813" cy="180000"/>
          </a:xfrm>
        </p:spPr>
        <p:txBody>
          <a:bodyPr/>
          <a:lstStyle/>
          <a:p>
            <a:pPr algn="ctr"/>
            <a:r>
              <a:rPr lang="en-AU" smtClean="0"/>
              <a:t>NDIS Commission Workforce Plan 2023-2028</a:t>
            </a:r>
            <a:endParaRPr lang="en-US" dirty="0"/>
          </a:p>
        </p:txBody>
      </p:sp>
      <p:sp>
        <p:nvSpPr>
          <p:cNvPr id="8" name="Slide Number Placeholder 7">
            <a:extLst>
              <a:ext uri="{FF2B5EF4-FFF2-40B4-BE49-F238E27FC236}">
                <a16:creationId xmlns:a16="http://schemas.microsoft.com/office/drawing/2014/main" id="{6B2079D1-8E61-E49F-000C-E9614273DD09}"/>
              </a:ext>
            </a:extLst>
          </p:cNvPr>
          <p:cNvSpPr>
            <a:spLocks noGrp="1"/>
          </p:cNvSpPr>
          <p:nvPr>
            <p:ph type="sldNum" sz="quarter" idx="12"/>
          </p:nvPr>
        </p:nvSpPr>
        <p:spPr>
          <a:xfrm>
            <a:off x="11069001" y="6308725"/>
            <a:ext cx="362274" cy="180000"/>
          </a:xfrm>
        </p:spPr>
        <p:txBody>
          <a:bodyPr/>
          <a:lstStyle/>
          <a:p>
            <a:fld id="{C0F55C17-AF72-40D4-ADBD-B5505DEBF9BA}" type="slidenum">
              <a:rPr lang="en-AU" smtClean="0"/>
              <a:t>13</a:t>
            </a:fld>
            <a:endParaRPr lang="en-US" dirty="0"/>
          </a:p>
        </p:txBody>
      </p:sp>
      <p:sp>
        <p:nvSpPr>
          <p:cNvPr id="73" name="TextBox 72">
            <a:extLst>
              <a:ext uri="{FF2B5EF4-FFF2-40B4-BE49-F238E27FC236}">
                <a16:creationId xmlns:a16="http://schemas.microsoft.com/office/drawing/2014/main" id="{B616006C-4610-4E70-A272-24E368C64A4D}"/>
              </a:ext>
            </a:extLst>
          </p:cNvPr>
          <p:cNvSpPr txBox="1"/>
          <p:nvPr/>
        </p:nvSpPr>
        <p:spPr>
          <a:xfrm>
            <a:off x="5114829" y="4567967"/>
            <a:ext cx="6595505" cy="265876"/>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dirty="0">
                <a:solidFill>
                  <a:schemeClr val="bg1"/>
                </a:solidFill>
                <a:latin typeface="Calibri"/>
                <a:sym typeface="Arial"/>
              </a:rPr>
              <a:t>Occupation spotlight – tapping into adjacent sectors and roles</a:t>
            </a:r>
            <a:endParaRPr lang="en-AU" dirty="0">
              <a:solidFill>
                <a:schemeClr val="bg1"/>
              </a:solidFill>
              <a:latin typeface="Calibri"/>
            </a:endParaRPr>
          </a:p>
        </p:txBody>
      </p:sp>
      <p:sp>
        <p:nvSpPr>
          <p:cNvPr id="81" name="TextBox 80">
            <a:extLst>
              <a:ext uri="{FF2B5EF4-FFF2-40B4-BE49-F238E27FC236}">
                <a16:creationId xmlns:a16="http://schemas.microsoft.com/office/drawing/2014/main" id="{6F235437-CC81-47E7-A476-3E703E953D21}"/>
              </a:ext>
            </a:extLst>
          </p:cNvPr>
          <p:cNvSpPr txBox="1"/>
          <p:nvPr/>
        </p:nvSpPr>
        <p:spPr>
          <a:xfrm>
            <a:off x="5114829" y="5073430"/>
            <a:ext cx="3090175" cy="1318355"/>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marL="171450" indent="-171450">
              <a:spcBef>
                <a:spcPts val="300"/>
              </a:spcBef>
              <a:buFont typeface="Arial" panose="020B0604020202020204" pitchFamily="34" charset="0"/>
              <a:buChar char="•"/>
            </a:pPr>
            <a:r>
              <a:rPr lang="en-US" sz="800" dirty="0"/>
              <a:t>Liaises and consults with program administrators and other interested parties to identify policy needs</a:t>
            </a:r>
          </a:p>
          <a:p>
            <a:pPr marL="171450" indent="-171450">
              <a:spcBef>
                <a:spcPts val="300"/>
              </a:spcBef>
              <a:buFont typeface="Arial" panose="020B0604020202020204" pitchFamily="34" charset="0"/>
              <a:buChar char="•"/>
            </a:pPr>
            <a:r>
              <a:rPr lang="en-US" sz="800" dirty="0"/>
              <a:t>Reviews existing policies and legislation </a:t>
            </a:r>
          </a:p>
          <a:p>
            <a:pPr marL="171450" indent="-171450">
              <a:spcBef>
                <a:spcPts val="300"/>
              </a:spcBef>
              <a:buFont typeface="Arial" panose="020B0604020202020204" pitchFamily="34" charset="0"/>
              <a:buChar char="•"/>
            </a:pPr>
            <a:r>
              <a:rPr lang="en-US" sz="800" dirty="0"/>
              <a:t>Researches social, economic and industrial trends, and client expectations of programs and services provided</a:t>
            </a:r>
          </a:p>
          <a:p>
            <a:pPr marL="171450" indent="-171450">
              <a:spcBef>
                <a:spcPts val="300"/>
              </a:spcBef>
              <a:buFont typeface="Arial" panose="020B0604020202020204" pitchFamily="34" charset="0"/>
              <a:buChar char="•"/>
            </a:pPr>
            <a:r>
              <a:rPr lang="en-US" sz="800" dirty="0"/>
              <a:t>Formulates and analyses policy options, prepares briefing papers  and recommendations for policy changes, advises on options</a:t>
            </a:r>
          </a:p>
          <a:p>
            <a:pPr marL="171450" indent="-171450">
              <a:spcBef>
                <a:spcPts val="300"/>
              </a:spcBef>
              <a:buFont typeface="Arial" panose="020B0604020202020204" pitchFamily="34" charset="0"/>
              <a:buChar char="•"/>
            </a:pPr>
            <a:r>
              <a:rPr lang="en-US" sz="800" dirty="0"/>
              <a:t>Assesses impacts, financial implications, interactions with other programs and political and administrative feasibility of policies</a:t>
            </a:r>
          </a:p>
        </p:txBody>
      </p:sp>
      <p:sp>
        <p:nvSpPr>
          <p:cNvPr id="82" name="Rectangle 81">
            <a:extLst>
              <a:ext uri="{FF2B5EF4-FFF2-40B4-BE49-F238E27FC236}">
                <a16:creationId xmlns:a16="http://schemas.microsoft.com/office/drawing/2014/main" id="{4C92ACEE-A021-4EE4-8609-BDA72C5686EE}"/>
              </a:ext>
            </a:extLst>
          </p:cNvPr>
          <p:cNvSpPr/>
          <p:nvPr/>
        </p:nvSpPr>
        <p:spPr>
          <a:xfrm>
            <a:off x="5115284" y="4850879"/>
            <a:ext cx="3044942" cy="226556"/>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200" dirty="0"/>
              <a:t>Strategy and Policy – </a:t>
            </a:r>
            <a:r>
              <a:rPr lang="en-AU" sz="1200" b="1" dirty="0"/>
              <a:t>Policy Analyst</a:t>
            </a:r>
          </a:p>
        </p:txBody>
      </p:sp>
      <p:sp>
        <p:nvSpPr>
          <p:cNvPr id="83" name="Rectangle 82">
            <a:extLst>
              <a:ext uri="{FF2B5EF4-FFF2-40B4-BE49-F238E27FC236}">
                <a16:creationId xmlns:a16="http://schemas.microsoft.com/office/drawing/2014/main" id="{D922296F-CB78-4527-8543-47D04108E5C2}"/>
              </a:ext>
            </a:extLst>
          </p:cNvPr>
          <p:cNvSpPr/>
          <p:nvPr/>
        </p:nvSpPr>
        <p:spPr>
          <a:xfrm>
            <a:off x="8247103" y="4846874"/>
            <a:ext cx="3463231" cy="226556"/>
          </a:xfrm>
          <a:prstGeom prst="rect">
            <a:avLst/>
          </a:prstGeom>
          <a:solidFill>
            <a:schemeClr val="accent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200" dirty="0"/>
              <a:t>Investigations – </a:t>
            </a:r>
            <a:r>
              <a:rPr lang="en-AU" sz="1200" b="1" dirty="0"/>
              <a:t>Intelligence and Policy Analysts</a:t>
            </a:r>
          </a:p>
        </p:txBody>
      </p:sp>
      <p:sp>
        <p:nvSpPr>
          <p:cNvPr id="84" name="TextBox 83">
            <a:extLst>
              <a:ext uri="{FF2B5EF4-FFF2-40B4-BE49-F238E27FC236}">
                <a16:creationId xmlns:a16="http://schemas.microsoft.com/office/drawing/2014/main" id="{94F91667-4EB5-4903-8933-E1C68DB94DA6}"/>
              </a:ext>
            </a:extLst>
          </p:cNvPr>
          <p:cNvSpPr txBox="1"/>
          <p:nvPr/>
        </p:nvSpPr>
        <p:spPr>
          <a:xfrm>
            <a:off x="8247102" y="5088913"/>
            <a:ext cx="3463231" cy="1318356"/>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marL="171450" indent="-171450">
              <a:spcBef>
                <a:spcPts val="300"/>
              </a:spcBef>
              <a:buFont typeface="Arial" panose="020B0604020202020204" pitchFamily="34" charset="0"/>
              <a:buChar char="•"/>
            </a:pPr>
            <a:r>
              <a:rPr lang="en-US" sz="800" dirty="0"/>
              <a:t>Determining organisational and client intelligence requirements</a:t>
            </a:r>
          </a:p>
          <a:p>
            <a:pPr marL="171450" indent="-171450">
              <a:spcBef>
                <a:spcPts val="300"/>
              </a:spcBef>
              <a:buFont typeface="Arial" panose="020B0604020202020204" pitchFamily="34" charset="0"/>
              <a:buChar char="•"/>
            </a:pPr>
            <a:r>
              <a:rPr lang="en-US" sz="800" dirty="0"/>
              <a:t>Organising, collecting, collating and analysing data, and developing intelligence information such as electronic surveillance</a:t>
            </a:r>
          </a:p>
          <a:p>
            <a:pPr marL="171450" indent="-171450">
              <a:spcBef>
                <a:spcPts val="300"/>
              </a:spcBef>
              <a:buFont typeface="Arial" panose="020B0604020202020204" pitchFamily="34" charset="0"/>
              <a:buChar char="•"/>
            </a:pPr>
            <a:r>
              <a:rPr lang="en-US" sz="800" dirty="0"/>
              <a:t>Compiling and disseminating intelligence information using briefings, maps, charts, reports and other methods</a:t>
            </a:r>
          </a:p>
          <a:p>
            <a:pPr marL="171450" indent="-171450">
              <a:spcBef>
                <a:spcPts val="300"/>
              </a:spcBef>
              <a:buFont typeface="Arial" panose="020B0604020202020204" pitchFamily="34" charset="0"/>
              <a:buChar char="•"/>
            </a:pPr>
            <a:r>
              <a:rPr lang="en-US" sz="800" dirty="0"/>
              <a:t>Ascertaining the accuracy of data collected and reliability of sources</a:t>
            </a:r>
          </a:p>
          <a:p>
            <a:pPr marL="171450" indent="-171450">
              <a:spcBef>
                <a:spcPts val="300"/>
              </a:spcBef>
              <a:buFont typeface="Arial" panose="020B0604020202020204" pitchFamily="34" charset="0"/>
              <a:buChar char="•"/>
            </a:pPr>
            <a:r>
              <a:rPr lang="en-US" sz="800" dirty="0"/>
              <a:t>Conducting threat and risk assessments and developing responses</a:t>
            </a:r>
            <a:r>
              <a:rPr lang="en-AU" sz="800" dirty="0"/>
              <a:t> </a:t>
            </a:r>
          </a:p>
        </p:txBody>
      </p:sp>
      <p:sp>
        <p:nvSpPr>
          <p:cNvPr id="3" name="Star: 6 Points 2">
            <a:extLst>
              <a:ext uri="{FF2B5EF4-FFF2-40B4-BE49-F238E27FC236}">
                <a16:creationId xmlns:a16="http://schemas.microsoft.com/office/drawing/2014/main" id="{DFBC016C-9A7D-4AE6-8DFA-A13B9534D036}"/>
              </a:ext>
            </a:extLst>
          </p:cNvPr>
          <p:cNvSpPr/>
          <p:nvPr/>
        </p:nvSpPr>
        <p:spPr>
          <a:xfrm>
            <a:off x="6682194" y="3686127"/>
            <a:ext cx="122797" cy="115329"/>
          </a:xfrm>
          <a:prstGeom prst="star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6" name="Star: 6 Points 85">
            <a:extLst>
              <a:ext uri="{FF2B5EF4-FFF2-40B4-BE49-F238E27FC236}">
                <a16:creationId xmlns:a16="http://schemas.microsoft.com/office/drawing/2014/main" id="{FE574BD2-456F-46E8-A456-EF5AA9014DE8}"/>
              </a:ext>
            </a:extLst>
          </p:cNvPr>
          <p:cNvSpPr/>
          <p:nvPr/>
        </p:nvSpPr>
        <p:spPr>
          <a:xfrm>
            <a:off x="6474337" y="4608351"/>
            <a:ext cx="108793" cy="170796"/>
          </a:xfrm>
          <a:prstGeom prst="star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7" name="Speech Bubble: Rectangle with Corners Rounded 86">
            <a:extLst>
              <a:ext uri="{FF2B5EF4-FFF2-40B4-BE49-F238E27FC236}">
                <a16:creationId xmlns:a16="http://schemas.microsoft.com/office/drawing/2014/main" id="{821D305E-6C89-44DA-A084-7118CE87F16B}"/>
              </a:ext>
            </a:extLst>
          </p:cNvPr>
          <p:cNvSpPr/>
          <p:nvPr/>
        </p:nvSpPr>
        <p:spPr>
          <a:xfrm flipV="1">
            <a:off x="10131991" y="6215387"/>
            <a:ext cx="1552009" cy="584775"/>
          </a:xfrm>
          <a:prstGeom prst="wedgeRoundRectCallout">
            <a:avLst/>
          </a:prstGeom>
          <a:solidFill>
            <a:schemeClr val="bg1">
              <a:lumMod val="9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A45FE16-D3BE-4EDD-8EB0-12CBADE3762C}"/>
              </a:ext>
            </a:extLst>
          </p:cNvPr>
          <p:cNvSpPr txBox="1"/>
          <p:nvPr/>
        </p:nvSpPr>
        <p:spPr>
          <a:xfrm>
            <a:off x="10147753" y="6210449"/>
            <a:ext cx="1520484" cy="584775"/>
          </a:xfrm>
          <a:prstGeom prst="rect">
            <a:avLst/>
          </a:prstGeom>
          <a:noFill/>
        </p:spPr>
        <p:txBody>
          <a:bodyPr wrap="square" rtlCol="0">
            <a:spAutoFit/>
          </a:bodyPr>
          <a:lstStyle/>
          <a:p>
            <a:r>
              <a:rPr lang="en-AU" sz="800" dirty="0"/>
              <a:t>These roles are geographically dispersed across the country consistent with your footprint. </a:t>
            </a:r>
          </a:p>
          <a:p>
            <a:r>
              <a:rPr lang="en-US" sz="800" dirty="0"/>
              <a:t>(See Appendix C)</a:t>
            </a:r>
          </a:p>
        </p:txBody>
      </p:sp>
      <p:sp>
        <p:nvSpPr>
          <p:cNvPr id="89" name="TextBox 88">
            <a:extLst>
              <a:ext uri="{FF2B5EF4-FFF2-40B4-BE49-F238E27FC236}">
                <a16:creationId xmlns:a16="http://schemas.microsoft.com/office/drawing/2014/main" id="{992DCD7D-3EFF-4B02-A055-BEBD16733008}"/>
              </a:ext>
            </a:extLst>
          </p:cNvPr>
          <p:cNvSpPr txBox="1"/>
          <p:nvPr/>
        </p:nvSpPr>
        <p:spPr>
          <a:xfrm>
            <a:off x="5114829" y="1529429"/>
            <a:ext cx="6595507" cy="312999"/>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dirty="0">
                <a:solidFill>
                  <a:schemeClr val="bg1"/>
                </a:solidFill>
                <a:latin typeface="Calibri"/>
              </a:rPr>
              <a:t>Labour market scan</a:t>
            </a:r>
          </a:p>
        </p:txBody>
      </p:sp>
      <p:sp>
        <p:nvSpPr>
          <p:cNvPr id="90" name="Star: 6 Points 89">
            <a:extLst>
              <a:ext uri="{FF2B5EF4-FFF2-40B4-BE49-F238E27FC236}">
                <a16:creationId xmlns:a16="http://schemas.microsoft.com/office/drawing/2014/main" id="{314BA1AE-32BE-4CD4-A191-F19FD530DA48}"/>
              </a:ext>
            </a:extLst>
          </p:cNvPr>
          <p:cNvSpPr/>
          <p:nvPr/>
        </p:nvSpPr>
        <p:spPr>
          <a:xfrm>
            <a:off x="5900315" y="3898819"/>
            <a:ext cx="122797" cy="115329"/>
          </a:xfrm>
          <a:prstGeom prst="star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5935273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noAutofit/>
          </a:bodyPr>
          <a:lstStyle/>
          <a:p>
            <a:pPr>
              <a:lnSpc>
                <a:spcPct val="100000"/>
              </a:lnSpc>
            </a:pPr>
            <a:r>
              <a:rPr lang="en-AU" dirty="0"/>
              <a:t>4. Future State View</a:t>
            </a:r>
            <a:br>
              <a:rPr lang="en-AU" dirty="0"/>
            </a:br>
            <a:endParaRPr lang="en-AU" dirty="0"/>
          </a:p>
        </p:txBody>
      </p:sp>
      <p:sp>
        <p:nvSpPr>
          <p:cNvPr id="5" name="Slide Number Placeholder 4">
            <a:extLst>
              <a:ext uri="{FF2B5EF4-FFF2-40B4-BE49-F238E27FC236}">
                <a16:creationId xmlns:a16="http://schemas.microsoft.com/office/drawing/2014/main" id="{300EDD93-3F17-9C5C-0B37-30D33BD5150B}"/>
              </a:ext>
            </a:extLst>
          </p:cNvPr>
          <p:cNvSpPr>
            <a:spLocks noGrp="1"/>
          </p:cNvSpPr>
          <p:nvPr>
            <p:ph type="sldNum" sz="quarter" idx="12"/>
          </p:nvPr>
        </p:nvSpPr>
        <p:spPr/>
        <p:txBody>
          <a:bodyPr/>
          <a:lstStyle/>
          <a:p>
            <a:fld id="{C0F55C17-AF72-40D4-ADBD-B5505DEBF9BA}" type="slidenum">
              <a:rPr lang="en-AU" smtClean="0"/>
              <a:pPr/>
              <a:t>14</a:t>
            </a:fld>
            <a:endParaRPr lang="en-US" dirty="0"/>
          </a:p>
        </p:txBody>
      </p:sp>
    </p:spTree>
    <p:extLst>
      <p:ext uri="{BB962C8B-B14F-4D97-AF65-F5344CB8AC3E}">
        <p14:creationId xmlns:p14="http://schemas.microsoft.com/office/powerpoint/2010/main" val="25301529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 name="Group 183">
            <a:extLst>
              <a:ext uri="{FF2B5EF4-FFF2-40B4-BE49-F238E27FC236}">
                <a16:creationId xmlns:a16="http://schemas.microsoft.com/office/drawing/2014/main" id="{353FD5BE-8DD0-4B5B-AE1C-B2C82DE1FDE4}"/>
              </a:ext>
            </a:extLst>
          </p:cNvPr>
          <p:cNvGrpSpPr/>
          <p:nvPr/>
        </p:nvGrpSpPr>
        <p:grpSpPr>
          <a:xfrm>
            <a:off x="2829274" y="1609835"/>
            <a:ext cx="6016233" cy="4943215"/>
            <a:chOff x="2715056" y="1622535"/>
            <a:chExt cx="6016233" cy="4943215"/>
          </a:xfrm>
        </p:grpSpPr>
        <p:grpSp>
          <p:nvGrpSpPr>
            <p:cNvPr id="185" name="Group 184">
              <a:extLst>
                <a:ext uri="{FF2B5EF4-FFF2-40B4-BE49-F238E27FC236}">
                  <a16:creationId xmlns:a16="http://schemas.microsoft.com/office/drawing/2014/main" id="{D0175198-9A6D-43AF-9A87-053125A0F8FC}"/>
                </a:ext>
              </a:extLst>
            </p:cNvPr>
            <p:cNvGrpSpPr/>
            <p:nvPr/>
          </p:nvGrpSpPr>
          <p:grpSpPr>
            <a:xfrm>
              <a:off x="2715056" y="1622535"/>
              <a:ext cx="6016233" cy="4943215"/>
              <a:chOff x="5369383" y="1522135"/>
              <a:chExt cx="6898624" cy="5668228"/>
            </a:xfrm>
          </p:grpSpPr>
          <p:sp>
            <p:nvSpPr>
              <p:cNvPr id="195" name="Rectangle 194">
                <a:extLst>
                  <a:ext uri="{FF2B5EF4-FFF2-40B4-BE49-F238E27FC236}">
                    <a16:creationId xmlns:a16="http://schemas.microsoft.com/office/drawing/2014/main" id="{8106C1CE-CCCE-4EC0-A886-2CAC57E701E3}"/>
                  </a:ext>
                </a:extLst>
              </p:cNvPr>
              <p:cNvSpPr/>
              <p:nvPr/>
            </p:nvSpPr>
            <p:spPr>
              <a:xfrm>
                <a:off x="5866887" y="1522135"/>
                <a:ext cx="6329670" cy="56682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6" name="Google Shape;5477;p137">
                <a:extLst>
                  <a:ext uri="{FF2B5EF4-FFF2-40B4-BE49-F238E27FC236}">
                    <a16:creationId xmlns:a16="http://schemas.microsoft.com/office/drawing/2014/main" id="{20F5BC3E-7E75-422C-8901-D4C7C630B718}"/>
                  </a:ext>
                </a:extLst>
              </p:cNvPr>
              <p:cNvSpPr/>
              <p:nvPr/>
            </p:nvSpPr>
            <p:spPr>
              <a:xfrm>
                <a:off x="6718882" y="1822412"/>
                <a:ext cx="4932230" cy="4737652"/>
              </a:xfrm>
              <a:prstGeom prst="ellipse">
                <a:avLst/>
              </a:prstGeom>
              <a:solidFill>
                <a:schemeClr val="bg1">
                  <a:lumMod val="85000"/>
                </a:schemeClr>
              </a:solidFill>
              <a:ln w="406400" cap="flat" cmpd="sng">
                <a:solidFill>
                  <a:srgbClr val="FFFFFF">
                    <a:alpha val="29803"/>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chemeClr val="lt1"/>
                  </a:solidFill>
                  <a:latin typeface="Arial"/>
                  <a:ea typeface="Arial"/>
                  <a:cs typeface="Arial"/>
                  <a:sym typeface="Arial"/>
                </a:endParaRPr>
              </a:p>
            </p:txBody>
          </p:sp>
          <p:grpSp>
            <p:nvGrpSpPr>
              <p:cNvPr id="197" name="Google Shape;1836;p81">
                <a:extLst>
                  <a:ext uri="{FF2B5EF4-FFF2-40B4-BE49-F238E27FC236}">
                    <a16:creationId xmlns:a16="http://schemas.microsoft.com/office/drawing/2014/main" id="{870198FB-039C-4863-87A0-46C83B291F24}"/>
                  </a:ext>
                </a:extLst>
              </p:cNvPr>
              <p:cNvGrpSpPr/>
              <p:nvPr/>
            </p:nvGrpSpPr>
            <p:grpSpPr>
              <a:xfrm>
                <a:off x="7569611" y="2635811"/>
                <a:ext cx="3290578" cy="3132410"/>
                <a:chOff x="3545480" y="2708035"/>
                <a:chExt cx="3661035" cy="3495510"/>
              </a:xfrm>
            </p:grpSpPr>
            <p:sp>
              <p:nvSpPr>
                <p:cNvPr id="208" name="Google Shape;1837;p81">
                  <a:extLst>
                    <a:ext uri="{FF2B5EF4-FFF2-40B4-BE49-F238E27FC236}">
                      <a16:creationId xmlns:a16="http://schemas.microsoft.com/office/drawing/2014/main" id="{48A467A3-34A5-4BCF-9F9A-7B6F16D71B70}"/>
                    </a:ext>
                  </a:extLst>
                </p:cNvPr>
                <p:cNvSpPr/>
                <p:nvPr/>
              </p:nvSpPr>
              <p:spPr>
                <a:xfrm>
                  <a:off x="3545480" y="2708035"/>
                  <a:ext cx="3661035" cy="3495510"/>
                </a:xfrm>
                <a:prstGeom prst="rect">
                  <a:avLst/>
                </a:prstGeom>
                <a:noFill/>
                <a:ln w="9525" cap="flat" cmpd="sng">
                  <a:noFill/>
                  <a:prstDash val="solid"/>
                  <a:miter lim="800000"/>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900" dirty="0">
                    <a:solidFill>
                      <a:schemeClr val="dk1"/>
                    </a:solidFill>
                    <a:latin typeface="Arial"/>
                    <a:ea typeface="Arial"/>
                    <a:cs typeface="Arial"/>
                    <a:sym typeface="Arial"/>
                  </a:endParaRPr>
                </a:p>
              </p:txBody>
            </p:sp>
            <p:sp>
              <p:nvSpPr>
                <p:cNvPr id="209" name="Google Shape;1845;p81">
                  <a:extLst>
                    <a:ext uri="{FF2B5EF4-FFF2-40B4-BE49-F238E27FC236}">
                      <a16:creationId xmlns:a16="http://schemas.microsoft.com/office/drawing/2014/main" id="{CEC0B4D8-4B94-49DE-B25B-A8BD3C13E6CF}"/>
                    </a:ext>
                  </a:extLst>
                </p:cNvPr>
                <p:cNvSpPr/>
                <p:nvPr/>
              </p:nvSpPr>
              <p:spPr>
                <a:xfrm>
                  <a:off x="5290801" y="3749872"/>
                  <a:ext cx="170394" cy="849535"/>
                </a:xfrm>
                <a:custGeom>
                  <a:avLst/>
                  <a:gdLst/>
                  <a:ahLst/>
                  <a:cxnLst/>
                  <a:rect l="l" t="t" r="r" b="b"/>
                  <a:pathLst>
                    <a:path w="140" h="698" extrusionOk="0">
                      <a:moveTo>
                        <a:pt x="70" y="0"/>
                      </a:moveTo>
                      <a:lnTo>
                        <a:pt x="70" y="0"/>
                      </a:lnTo>
                      <a:lnTo>
                        <a:pt x="56" y="2"/>
                      </a:lnTo>
                      <a:lnTo>
                        <a:pt x="42" y="6"/>
                      </a:lnTo>
                      <a:lnTo>
                        <a:pt x="30" y="12"/>
                      </a:lnTo>
                      <a:lnTo>
                        <a:pt x="20" y="20"/>
                      </a:lnTo>
                      <a:lnTo>
                        <a:pt x="12" y="32"/>
                      </a:lnTo>
                      <a:lnTo>
                        <a:pt x="4" y="44"/>
                      </a:lnTo>
                      <a:lnTo>
                        <a:pt x="0" y="56"/>
                      </a:lnTo>
                      <a:lnTo>
                        <a:pt x="0" y="70"/>
                      </a:lnTo>
                      <a:lnTo>
                        <a:pt x="0" y="628"/>
                      </a:lnTo>
                      <a:lnTo>
                        <a:pt x="0" y="628"/>
                      </a:lnTo>
                      <a:lnTo>
                        <a:pt x="0" y="642"/>
                      </a:lnTo>
                      <a:lnTo>
                        <a:pt x="4" y="656"/>
                      </a:lnTo>
                      <a:lnTo>
                        <a:pt x="12" y="668"/>
                      </a:lnTo>
                      <a:lnTo>
                        <a:pt x="20" y="678"/>
                      </a:lnTo>
                      <a:lnTo>
                        <a:pt x="30" y="686"/>
                      </a:lnTo>
                      <a:lnTo>
                        <a:pt x="42" y="694"/>
                      </a:lnTo>
                      <a:lnTo>
                        <a:pt x="56" y="698"/>
                      </a:lnTo>
                      <a:lnTo>
                        <a:pt x="70" y="698"/>
                      </a:lnTo>
                      <a:lnTo>
                        <a:pt x="70" y="698"/>
                      </a:lnTo>
                      <a:lnTo>
                        <a:pt x="84" y="698"/>
                      </a:lnTo>
                      <a:lnTo>
                        <a:pt x="96" y="694"/>
                      </a:lnTo>
                      <a:lnTo>
                        <a:pt x="108" y="686"/>
                      </a:lnTo>
                      <a:lnTo>
                        <a:pt x="118" y="678"/>
                      </a:lnTo>
                      <a:lnTo>
                        <a:pt x="128" y="668"/>
                      </a:lnTo>
                      <a:lnTo>
                        <a:pt x="134" y="656"/>
                      </a:lnTo>
                      <a:lnTo>
                        <a:pt x="138" y="642"/>
                      </a:lnTo>
                      <a:lnTo>
                        <a:pt x="140" y="628"/>
                      </a:lnTo>
                      <a:lnTo>
                        <a:pt x="140" y="70"/>
                      </a:lnTo>
                      <a:lnTo>
                        <a:pt x="140" y="70"/>
                      </a:lnTo>
                      <a:lnTo>
                        <a:pt x="138" y="56"/>
                      </a:lnTo>
                      <a:lnTo>
                        <a:pt x="134" y="44"/>
                      </a:lnTo>
                      <a:lnTo>
                        <a:pt x="128" y="32"/>
                      </a:lnTo>
                      <a:lnTo>
                        <a:pt x="118" y="20"/>
                      </a:lnTo>
                      <a:lnTo>
                        <a:pt x="108" y="12"/>
                      </a:lnTo>
                      <a:lnTo>
                        <a:pt x="96" y="6"/>
                      </a:lnTo>
                      <a:lnTo>
                        <a:pt x="84" y="2"/>
                      </a:lnTo>
                      <a:lnTo>
                        <a:pt x="70" y="0"/>
                      </a:lnTo>
                    </a:path>
                  </a:pathLst>
                </a:custGeom>
                <a:no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900" dirty="0">
                    <a:solidFill>
                      <a:schemeClr val="dk1"/>
                    </a:solidFill>
                    <a:latin typeface="Arial"/>
                    <a:ea typeface="Arial"/>
                    <a:cs typeface="Arial"/>
                    <a:sym typeface="Arial"/>
                  </a:endParaRPr>
                </a:p>
              </p:txBody>
            </p:sp>
            <p:sp>
              <p:nvSpPr>
                <p:cNvPr id="210" name="Google Shape;1846;p81">
                  <a:extLst>
                    <a:ext uri="{FF2B5EF4-FFF2-40B4-BE49-F238E27FC236}">
                      <a16:creationId xmlns:a16="http://schemas.microsoft.com/office/drawing/2014/main" id="{73F4E37D-053F-4C0E-BC5E-75302AC25758}"/>
                    </a:ext>
                  </a:extLst>
                </p:cNvPr>
                <p:cNvSpPr/>
                <p:nvPr/>
              </p:nvSpPr>
              <p:spPr>
                <a:xfrm>
                  <a:off x="4745540" y="4302435"/>
                  <a:ext cx="783812" cy="311577"/>
                </a:xfrm>
                <a:custGeom>
                  <a:avLst/>
                  <a:gdLst/>
                  <a:ahLst/>
                  <a:cxnLst/>
                  <a:rect l="l" t="t" r="r" b="b"/>
                  <a:pathLst>
                    <a:path w="644" h="256" extrusionOk="0">
                      <a:moveTo>
                        <a:pt x="608" y="38"/>
                      </a:moveTo>
                      <a:lnTo>
                        <a:pt x="608" y="38"/>
                      </a:lnTo>
                      <a:lnTo>
                        <a:pt x="588" y="22"/>
                      </a:lnTo>
                      <a:lnTo>
                        <a:pt x="578" y="16"/>
                      </a:lnTo>
                      <a:lnTo>
                        <a:pt x="566" y="10"/>
                      </a:lnTo>
                      <a:lnTo>
                        <a:pt x="556" y="6"/>
                      </a:lnTo>
                      <a:lnTo>
                        <a:pt x="542" y="2"/>
                      </a:lnTo>
                      <a:lnTo>
                        <a:pt x="530" y="2"/>
                      </a:lnTo>
                      <a:lnTo>
                        <a:pt x="518" y="0"/>
                      </a:lnTo>
                      <a:lnTo>
                        <a:pt x="518" y="0"/>
                      </a:lnTo>
                      <a:lnTo>
                        <a:pt x="504" y="2"/>
                      </a:lnTo>
                      <a:lnTo>
                        <a:pt x="492" y="2"/>
                      </a:lnTo>
                      <a:lnTo>
                        <a:pt x="480" y="6"/>
                      </a:lnTo>
                      <a:lnTo>
                        <a:pt x="468" y="10"/>
                      </a:lnTo>
                      <a:lnTo>
                        <a:pt x="456" y="16"/>
                      </a:lnTo>
                      <a:lnTo>
                        <a:pt x="446" y="22"/>
                      </a:lnTo>
                      <a:lnTo>
                        <a:pt x="428" y="38"/>
                      </a:lnTo>
                      <a:lnTo>
                        <a:pt x="428" y="38"/>
                      </a:lnTo>
                      <a:lnTo>
                        <a:pt x="418" y="48"/>
                      </a:lnTo>
                      <a:lnTo>
                        <a:pt x="412" y="58"/>
                      </a:lnTo>
                      <a:lnTo>
                        <a:pt x="72" y="58"/>
                      </a:lnTo>
                      <a:lnTo>
                        <a:pt x="72" y="58"/>
                      </a:lnTo>
                      <a:lnTo>
                        <a:pt x="56" y="60"/>
                      </a:lnTo>
                      <a:lnTo>
                        <a:pt x="44" y="64"/>
                      </a:lnTo>
                      <a:lnTo>
                        <a:pt x="32" y="70"/>
                      </a:lnTo>
                      <a:lnTo>
                        <a:pt x="22" y="78"/>
                      </a:lnTo>
                      <a:lnTo>
                        <a:pt x="12" y="88"/>
                      </a:lnTo>
                      <a:lnTo>
                        <a:pt x="6" y="100"/>
                      </a:lnTo>
                      <a:lnTo>
                        <a:pt x="2" y="114"/>
                      </a:lnTo>
                      <a:lnTo>
                        <a:pt x="0" y="128"/>
                      </a:lnTo>
                      <a:lnTo>
                        <a:pt x="0" y="128"/>
                      </a:lnTo>
                      <a:lnTo>
                        <a:pt x="2" y="142"/>
                      </a:lnTo>
                      <a:lnTo>
                        <a:pt x="6" y="156"/>
                      </a:lnTo>
                      <a:lnTo>
                        <a:pt x="12" y="168"/>
                      </a:lnTo>
                      <a:lnTo>
                        <a:pt x="22" y="178"/>
                      </a:lnTo>
                      <a:lnTo>
                        <a:pt x="32" y="186"/>
                      </a:lnTo>
                      <a:lnTo>
                        <a:pt x="44" y="192"/>
                      </a:lnTo>
                      <a:lnTo>
                        <a:pt x="56" y="196"/>
                      </a:lnTo>
                      <a:lnTo>
                        <a:pt x="72" y="198"/>
                      </a:lnTo>
                      <a:lnTo>
                        <a:pt x="412" y="198"/>
                      </a:lnTo>
                      <a:lnTo>
                        <a:pt x="412" y="198"/>
                      </a:lnTo>
                      <a:lnTo>
                        <a:pt x="418" y="208"/>
                      </a:lnTo>
                      <a:lnTo>
                        <a:pt x="428" y="218"/>
                      </a:lnTo>
                      <a:lnTo>
                        <a:pt x="428" y="218"/>
                      </a:lnTo>
                      <a:lnTo>
                        <a:pt x="446" y="234"/>
                      </a:lnTo>
                      <a:lnTo>
                        <a:pt x="456" y="240"/>
                      </a:lnTo>
                      <a:lnTo>
                        <a:pt x="468" y="246"/>
                      </a:lnTo>
                      <a:lnTo>
                        <a:pt x="480" y="250"/>
                      </a:lnTo>
                      <a:lnTo>
                        <a:pt x="492" y="252"/>
                      </a:lnTo>
                      <a:lnTo>
                        <a:pt x="504" y="254"/>
                      </a:lnTo>
                      <a:lnTo>
                        <a:pt x="518" y="256"/>
                      </a:lnTo>
                      <a:lnTo>
                        <a:pt x="518" y="256"/>
                      </a:lnTo>
                      <a:lnTo>
                        <a:pt x="530" y="254"/>
                      </a:lnTo>
                      <a:lnTo>
                        <a:pt x="542" y="252"/>
                      </a:lnTo>
                      <a:lnTo>
                        <a:pt x="556" y="250"/>
                      </a:lnTo>
                      <a:lnTo>
                        <a:pt x="566" y="246"/>
                      </a:lnTo>
                      <a:lnTo>
                        <a:pt x="578" y="240"/>
                      </a:lnTo>
                      <a:lnTo>
                        <a:pt x="588" y="234"/>
                      </a:lnTo>
                      <a:lnTo>
                        <a:pt x="608" y="218"/>
                      </a:lnTo>
                      <a:lnTo>
                        <a:pt x="608" y="218"/>
                      </a:lnTo>
                      <a:lnTo>
                        <a:pt x="622" y="200"/>
                      </a:lnTo>
                      <a:lnTo>
                        <a:pt x="630" y="188"/>
                      </a:lnTo>
                      <a:lnTo>
                        <a:pt x="634" y="178"/>
                      </a:lnTo>
                      <a:lnTo>
                        <a:pt x="638" y="166"/>
                      </a:lnTo>
                      <a:lnTo>
                        <a:pt x="642" y="154"/>
                      </a:lnTo>
                      <a:lnTo>
                        <a:pt x="644" y="140"/>
                      </a:lnTo>
                      <a:lnTo>
                        <a:pt x="644" y="128"/>
                      </a:lnTo>
                      <a:lnTo>
                        <a:pt x="644" y="128"/>
                      </a:lnTo>
                      <a:lnTo>
                        <a:pt x="644" y="114"/>
                      </a:lnTo>
                      <a:lnTo>
                        <a:pt x="642" y="102"/>
                      </a:lnTo>
                      <a:lnTo>
                        <a:pt x="638" y="90"/>
                      </a:lnTo>
                      <a:lnTo>
                        <a:pt x="634" y="78"/>
                      </a:lnTo>
                      <a:lnTo>
                        <a:pt x="630" y="68"/>
                      </a:lnTo>
                      <a:lnTo>
                        <a:pt x="622" y="56"/>
                      </a:lnTo>
                      <a:lnTo>
                        <a:pt x="608" y="38"/>
                      </a:lnTo>
                    </a:path>
                  </a:pathLst>
                </a:custGeom>
                <a:no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900" dirty="0">
                    <a:solidFill>
                      <a:schemeClr val="dk1"/>
                    </a:solidFill>
                    <a:latin typeface="Arial"/>
                    <a:ea typeface="Arial"/>
                    <a:cs typeface="Arial"/>
                    <a:sym typeface="Arial"/>
                  </a:endParaRPr>
                </a:p>
              </p:txBody>
            </p:sp>
          </p:grpSp>
          <p:sp>
            <p:nvSpPr>
              <p:cNvPr id="198" name="Oval 197">
                <a:extLst>
                  <a:ext uri="{FF2B5EF4-FFF2-40B4-BE49-F238E27FC236}">
                    <a16:creationId xmlns:a16="http://schemas.microsoft.com/office/drawing/2014/main" id="{1E33EBB0-F3F7-4321-9911-36D78AA55C96}"/>
                  </a:ext>
                </a:extLst>
              </p:cNvPr>
              <p:cNvSpPr/>
              <p:nvPr/>
            </p:nvSpPr>
            <p:spPr>
              <a:xfrm>
                <a:off x="8412788" y="3399418"/>
                <a:ext cx="1559018" cy="15639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rtl="0">
                  <a:spcBef>
                    <a:spcPts val="0"/>
                  </a:spcBef>
                  <a:spcAft>
                    <a:spcPts val="400"/>
                  </a:spcAft>
                  <a:buNone/>
                </a:pPr>
                <a:r>
                  <a:rPr lang="en-US" sz="900" b="1" dirty="0">
                    <a:solidFill>
                      <a:schemeClr val="tx1"/>
                    </a:solidFill>
                    <a:latin typeface="Arial"/>
                    <a:ea typeface="Arial"/>
                    <a:cs typeface="Arial"/>
                    <a:sym typeface="Arial"/>
                  </a:rPr>
                  <a:t>Vision</a:t>
                </a:r>
              </a:p>
              <a:p>
                <a:pPr algn="ctr">
                  <a:spcAft>
                    <a:spcPts val="600"/>
                  </a:spcAft>
                </a:pPr>
                <a:r>
                  <a:rPr lang="en-AU" sz="780" dirty="0">
                    <a:solidFill>
                      <a:schemeClr val="bg2">
                        <a:lumMod val="10000"/>
                      </a:schemeClr>
                    </a:solidFill>
                  </a:rPr>
                  <a:t>A highly capable and diverse workforce with a clear understanding of our organisation's purpose and the confidence to meaningfully engage with participants and providers.</a:t>
                </a:r>
              </a:p>
            </p:txBody>
          </p:sp>
          <p:sp>
            <p:nvSpPr>
              <p:cNvPr id="199" name="Oval 198">
                <a:extLst>
                  <a:ext uri="{FF2B5EF4-FFF2-40B4-BE49-F238E27FC236}">
                    <a16:creationId xmlns:a16="http://schemas.microsoft.com/office/drawing/2014/main" id="{2950FD79-6C2B-43A1-90A5-513FB85E5696}"/>
                  </a:ext>
                </a:extLst>
              </p:cNvPr>
              <p:cNvSpPr/>
              <p:nvPr/>
            </p:nvSpPr>
            <p:spPr>
              <a:xfrm>
                <a:off x="6510177" y="1632615"/>
                <a:ext cx="5437981" cy="5149186"/>
              </a:xfrm>
              <a:prstGeom prst="ellipse">
                <a:avLst/>
              </a:prstGeom>
              <a:noFill/>
              <a:ln w="31750" cap="rnd" cmpd="sng">
                <a:solidFill>
                  <a:srgbClr val="B1B1B1"/>
                </a:solidFill>
                <a:prstDash val="dot"/>
                <a:miter lim="800000"/>
                <a:headEnd type="none" w="sm" len="sm"/>
                <a:tailEnd type="triangle" w="med" len="med"/>
              </a:ln>
            </p:spPr>
            <p:txBody>
              <a:bodyPr rtlCol="0" anchor="ctr"/>
              <a:lstStyle/>
              <a:p>
                <a:pPr algn="ctr"/>
                <a:endParaRPr lang="en-AU" dirty="0"/>
              </a:p>
            </p:txBody>
          </p:sp>
          <p:sp>
            <p:nvSpPr>
              <p:cNvPr id="200" name="Oval 199">
                <a:extLst>
                  <a:ext uri="{FF2B5EF4-FFF2-40B4-BE49-F238E27FC236}">
                    <a16:creationId xmlns:a16="http://schemas.microsoft.com/office/drawing/2014/main" id="{212095D6-88CB-4211-99F4-62B680E4C025}"/>
                  </a:ext>
                </a:extLst>
              </p:cNvPr>
              <p:cNvSpPr/>
              <p:nvPr/>
            </p:nvSpPr>
            <p:spPr>
              <a:xfrm>
                <a:off x="6489310" y="4677248"/>
                <a:ext cx="194300" cy="19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1" name="Oval 200">
                <a:extLst>
                  <a:ext uri="{FF2B5EF4-FFF2-40B4-BE49-F238E27FC236}">
                    <a16:creationId xmlns:a16="http://schemas.microsoft.com/office/drawing/2014/main" id="{E5ED6960-F3E3-4816-9BC9-B0F27A48C301}"/>
                  </a:ext>
                </a:extLst>
              </p:cNvPr>
              <p:cNvSpPr/>
              <p:nvPr/>
            </p:nvSpPr>
            <p:spPr>
              <a:xfrm>
                <a:off x="10945160" y="2188985"/>
                <a:ext cx="194299" cy="1942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2" name="Oval 201">
                <a:extLst>
                  <a:ext uri="{FF2B5EF4-FFF2-40B4-BE49-F238E27FC236}">
                    <a16:creationId xmlns:a16="http://schemas.microsoft.com/office/drawing/2014/main" id="{2D94B859-9AF6-4051-8AD6-C24B450B78C7}"/>
                  </a:ext>
                </a:extLst>
              </p:cNvPr>
              <p:cNvSpPr/>
              <p:nvPr/>
            </p:nvSpPr>
            <p:spPr>
              <a:xfrm>
                <a:off x="9117751" y="6695147"/>
                <a:ext cx="194299" cy="1942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3" name="Google Shape;7679;p161">
                <a:extLst>
                  <a:ext uri="{FF2B5EF4-FFF2-40B4-BE49-F238E27FC236}">
                    <a16:creationId xmlns:a16="http://schemas.microsoft.com/office/drawing/2014/main" id="{2196852F-5388-47F5-956E-E54A3EC4D314}"/>
                  </a:ext>
                </a:extLst>
              </p:cNvPr>
              <p:cNvSpPr/>
              <p:nvPr/>
            </p:nvSpPr>
            <p:spPr>
              <a:xfrm>
                <a:off x="5369383" y="4635896"/>
                <a:ext cx="1153124" cy="2770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GB" sz="1200" b="1" dirty="0">
                    <a:solidFill>
                      <a:schemeClr val="accent4"/>
                    </a:solidFill>
                    <a:ea typeface="Arial"/>
                    <a:cs typeface="Arial"/>
                    <a:sym typeface="Arial"/>
                  </a:rPr>
                  <a:t>Attract</a:t>
                </a:r>
                <a:endParaRPr sz="1200" b="1" dirty="0">
                  <a:solidFill>
                    <a:schemeClr val="accent4"/>
                  </a:solidFill>
                  <a:ea typeface="Arial"/>
                  <a:cs typeface="Arial"/>
                  <a:sym typeface="Arial"/>
                </a:endParaRPr>
              </a:p>
            </p:txBody>
          </p:sp>
          <p:sp>
            <p:nvSpPr>
              <p:cNvPr id="204" name="Google Shape;7679;p161">
                <a:extLst>
                  <a:ext uri="{FF2B5EF4-FFF2-40B4-BE49-F238E27FC236}">
                    <a16:creationId xmlns:a16="http://schemas.microsoft.com/office/drawing/2014/main" id="{4908C562-0E86-4E8A-B1E1-B33BAE6BCD09}"/>
                  </a:ext>
                </a:extLst>
              </p:cNvPr>
              <p:cNvSpPr/>
              <p:nvPr/>
            </p:nvSpPr>
            <p:spPr>
              <a:xfrm>
                <a:off x="11114883" y="2142211"/>
                <a:ext cx="1153124" cy="276999"/>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GB" sz="1200" b="1" dirty="0">
                    <a:solidFill>
                      <a:schemeClr val="accent4"/>
                    </a:solidFill>
                    <a:ea typeface="Arial"/>
                    <a:cs typeface="Arial"/>
                    <a:sym typeface="Arial"/>
                  </a:rPr>
                  <a:t>Develop</a:t>
                </a:r>
                <a:endParaRPr sz="1200" b="1" dirty="0">
                  <a:solidFill>
                    <a:schemeClr val="accent4"/>
                  </a:solidFill>
                  <a:ea typeface="Arial"/>
                  <a:cs typeface="Arial"/>
                  <a:sym typeface="Arial"/>
                </a:endParaRPr>
              </a:p>
            </p:txBody>
          </p:sp>
          <p:sp>
            <p:nvSpPr>
              <p:cNvPr id="205" name="Google Shape;7679;p161">
                <a:extLst>
                  <a:ext uri="{FF2B5EF4-FFF2-40B4-BE49-F238E27FC236}">
                    <a16:creationId xmlns:a16="http://schemas.microsoft.com/office/drawing/2014/main" id="{BA54718D-D1DB-4881-9148-04B58F947939}"/>
                  </a:ext>
                </a:extLst>
              </p:cNvPr>
              <p:cNvSpPr/>
              <p:nvPr/>
            </p:nvSpPr>
            <p:spPr>
              <a:xfrm>
                <a:off x="8886560" y="6877129"/>
                <a:ext cx="1153124" cy="276999"/>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GB" sz="1200" b="1" dirty="0">
                    <a:solidFill>
                      <a:schemeClr val="accent4"/>
                    </a:solidFill>
                    <a:ea typeface="Arial"/>
                    <a:cs typeface="Arial"/>
                    <a:sym typeface="Arial"/>
                  </a:rPr>
                  <a:t>Retain</a:t>
                </a:r>
                <a:endParaRPr sz="1200" b="1" dirty="0">
                  <a:solidFill>
                    <a:schemeClr val="accent4"/>
                  </a:solidFill>
                  <a:ea typeface="Arial"/>
                  <a:cs typeface="Arial"/>
                  <a:sym typeface="Arial"/>
                </a:endParaRPr>
              </a:p>
            </p:txBody>
          </p:sp>
          <p:sp>
            <p:nvSpPr>
              <p:cNvPr id="206" name="Google Shape;5044;p130">
                <a:extLst>
                  <a:ext uri="{FF2B5EF4-FFF2-40B4-BE49-F238E27FC236}">
                    <a16:creationId xmlns:a16="http://schemas.microsoft.com/office/drawing/2014/main" id="{42212DC0-C0BC-4232-9BE7-407FC16E1658}"/>
                  </a:ext>
                </a:extLst>
              </p:cNvPr>
              <p:cNvSpPr/>
              <p:nvPr/>
            </p:nvSpPr>
            <p:spPr>
              <a:xfrm rot="16143060">
                <a:off x="6695611" y="2708968"/>
                <a:ext cx="3701222" cy="2922329"/>
              </a:xfrm>
              <a:prstGeom prst="rect">
                <a:avLst/>
              </a:prstGeom>
              <a:noFill/>
              <a:ln>
                <a:noFill/>
              </a:ln>
            </p:spPr>
            <p:txBody>
              <a:bodyPr spcFirstLastPara="1" wrap="square" lIns="91425" tIns="45700" rIns="91425" bIns="45700" anchor="t" anchorCtr="0">
                <a:prstTxWarp prst="textArchUp">
                  <a:avLst>
                    <a:gd name="adj" fmla="val 11485407"/>
                  </a:avLst>
                </a:prstTxWarp>
                <a:noAutofit/>
              </a:bodyPr>
              <a:lstStyle/>
              <a:p>
                <a:pPr marL="0" marR="0" lvl="0" indent="0" algn="ctr" rtl="0">
                  <a:spcBef>
                    <a:spcPts val="0"/>
                  </a:spcBef>
                  <a:spcAft>
                    <a:spcPts val="0"/>
                  </a:spcAft>
                  <a:buNone/>
                </a:pPr>
                <a:r>
                  <a:rPr lang="en-GB" sz="1600" b="1" dirty="0">
                    <a:solidFill>
                      <a:schemeClr val="bg1"/>
                    </a:solidFill>
                    <a:highlight>
                      <a:srgbClr val="98C11D"/>
                    </a:highlight>
                    <a:latin typeface="Helvetica Neue" panose="020B0604020202020204" charset="0"/>
                    <a:cs typeface="Arial"/>
                    <a:sym typeface="Arial"/>
                  </a:rPr>
                  <a:t>Enabled by diversity, inclusion and wellbeing </a:t>
                </a:r>
                <a:endParaRPr lang="en-GB" sz="2400" b="1" dirty="0">
                  <a:solidFill>
                    <a:schemeClr val="bg1"/>
                  </a:solidFill>
                  <a:highlight>
                    <a:srgbClr val="98C11D"/>
                  </a:highlight>
                  <a:latin typeface="Helvetica Neue" panose="020B0604020202020204" charset="0"/>
                </a:endParaRPr>
              </a:p>
            </p:txBody>
          </p:sp>
          <p:sp>
            <p:nvSpPr>
              <p:cNvPr id="207" name="Google Shape;5044;p130">
                <a:extLst>
                  <a:ext uri="{FF2B5EF4-FFF2-40B4-BE49-F238E27FC236}">
                    <a16:creationId xmlns:a16="http://schemas.microsoft.com/office/drawing/2014/main" id="{FA01675C-9BC9-4894-9F17-0833BA864EFB}"/>
                  </a:ext>
                </a:extLst>
              </p:cNvPr>
              <p:cNvSpPr/>
              <p:nvPr/>
            </p:nvSpPr>
            <p:spPr>
              <a:xfrm rot="4908166">
                <a:off x="8232484" y="2730098"/>
                <a:ext cx="3480508" cy="2755622"/>
              </a:xfrm>
              <a:prstGeom prst="rect">
                <a:avLst/>
              </a:prstGeom>
              <a:noFill/>
              <a:ln>
                <a:noFill/>
              </a:ln>
            </p:spPr>
            <p:txBody>
              <a:bodyPr spcFirstLastPara="1" wrap="square" lIns="91425" tIns="45700" rIns="91425" bIns="45700" anchor="t" anchorCtr="0">
                <a:prstTxWarp prst="textArchUp">
                  <a:avLst>
                    <a:gd name="adj" fmla="val 10782523"/>
                  </a:avLst>
                </a:prstTxWarp>
                <a:noAutofit/>
              </a:bodyPr>
              <a:lstStyle/>
              <a:p>
                <a:pPr marL="0" marR="0" lvl="0" indent="0" algn="ctr" rtl="0">
                  <a:spcBef>
                    <a:spcPts val="0"/>
                  </a:spcBef>
                  <a:spcAft>
                    <a:spcPts val="0"/>
                  </a:spcAft>
                  <a:buNone/>
                </a:pPr>
                <a:r>
                  <a:rPr lang="en-GB" sz="1600" b="1" dirty="0">
                    <a:solidFill>
                      <a:schemeClr val="bg1"/>
                    </a:solidFill>
                    <a:highlight>
                      <a:srgbClr val="933C91"/>
                    </a:highlight>
                    <a:latin typeface="Helvetica Neue" panose="020B0604020202020204" charset="0"/>
                    <a:ea typeface="Arial"/>
                    <a:cs typeface="Arial"/>
                    <a:sym typeface="Arial"/>
                  </a:rPr>
                  <a:t>Underpinned by our Cultural Principles</a:t>
                </a:r>
                <a:endParaRPr lang="en-GB" sz="2400" b="1" dirty="0">
                  <a:solidFill>
                    <a:schemeClr val="bg1"/>
                  </a:solidFill>
                  <a:highlight>
                    <a:srgbClr val="933C91"/>
                  </a:highlight>
                  <a:latin typeface="Helvetica Neue" panose="020B0604020202020204" charset="0"/>
                </a:endParaRPr>
              </a:p>
            </p:txBody>
          </p:sp>
        </p:grpSp>
        <p:grpSp>
          <p:nvGrpSpPr>
            <p:cNvPr id="186" name="Group 185">
              <a:extLst>
                <a:ext uri="{FF2B5EF4-FFF2-40B4-BE49-F238E27FC236}">
                  <a16:creationId xmlns:a16="http://schemas.microsoft.com/office/drawing/2014/main" id="{51B0B6FF-9DB4-42C0-A81E-28F8B9D5FD8B}"/>
                </a:ext>
              </a:extLst>
            </p:cNvPr>
            <p:cNvGrpSpPr/>
            <p:nvPr/>
          </p:nvGrpSpPr>
          <p:grpSpPr>
            <a:xfrm rot="5400000">
              <a:off x="4369201" y="2271652"/>
              <a:ext cx="3387031" cy="3375966"/>
              <a:chOff x="4480543" y="2340599"/>
              <a:chExt cx="3089564" cy="3079469"/>
            </a:xfrm>
          </p:grpSpPr>
          <p:sp>
            <p:nvSpPr>
              <p:cNvPr id="191" name="Google Shape;2791;p95">
                <a:extLst>
                  <a:ext uri="{FF2B5EF4-FFF2-40B4-BE49-F238E27FC236}">
                    <a16:creationId xmlns:a16="http://schemas.microsoft.com/office/drawing/2014/main" id="{E8D3FBCF-A575-4959-8CE8-F50A83DB539E}"/>
                  </a:ext>
                </a:extLst>
              </p:cNvPr>
              <p:cNvSpPr/>
              <p:nvPr/>
            </p:nvSpPr>
            <p:spPr>
              <a:xfrm>
                <a:off x="5844215" y="2340599"/>
                <a:ext cx="1697484" cy="1503971"/>
              </a:xfrm>
              <a:custGeom>
                <a:avLst/>
                <a:gdLst/>
                <a:ahLst/>
                <a:cxnLst/>
                <a:rect l="l" t="t" r="r" b="b"/>
                <a:pathLst>
                  <a:path w="285" h="253" extrusionOk="0">
                    <a:moveTo>
                      <a:pt x="28" y="0"/>
                    </a:moveTo>
                    <a:cubicBezTo>
                      <a:pt x="19" y="0"/>
                      <a:pt x="9" y="0"/>
                      <a:pt x="0" y="1"/>
                    </a:cubicBezTo>
                    <a:cubicBezTo>
                      <a:pt x="22" y="43"/>
                      <a:pt x="34" y="90"/>
                      <a:pt x="35" y="140"/>
                    </a:cubicBezTo>
                    <a:cubicBezTo>
                      <a:pt x="74" y="142"/>
                      <a:pt x="112" y="163"/>
                      <a:pt x="133" y="200"/>
                    </a:cubicBezTo>
                    <a:cubicBezTo>
                      <a:pt x="143" y="217"/>
                      <a:pt x="148" y="235"/>
                      <a:pt x="149" y="253"/>
                    </a:cubicBezTo>
                    <a:cubicBezTo>
                      <a:pt x="198" y="252"/>
                      <a:pt x="244" y="239"/>
                      <a:pt x="285" y="217"/>
                    </a:cubicBezTo>
                    <a:cubicBezTo>
                      <a:pt x="264" y="94"/>
                      <a:pt x="157" y="0"/>
                      <a:pt x="28" y="0"/>
                    </a:cubicBezTo>
                    <a:close/>
                  </a:path>
                </a:pathLst>
              </a:custGeom>
              <a:solidFill>
                <a:schemeClr val="accent3"/>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192" name="Google Shape;2792;p95">
                <a:extLst>
                  <a:ext uri="{FF2B5EF4-FFF2-40B4-BE49-F238E27FC236}">
                    <a16:creationId xmlns:a16="http://schemas.microsoft.com/office/drawing/2014/main" id="{DFA211A1-4A28-4680-A714-5B53E14700CA}"/>
                  </a:ext>
                </a:extLst>
              </p:cNvPr>
              <p:cNvSpPr/>
              <p:nvPr/>
            </p:nvSpPr>
            <p:spPr>
              <a:xfrm>
                <a:off x="6053735" y="3725938"/>
                <a:ext cx="1516372" cy="1687663"/>
              </a:xfrm>
              <a:custGeom>
                <a:avLst/>
                <a:gdLst/>
                <a:ahLst/>
                <a:cxnLst/>
                <a:rect l="l" t="t" r="r" b="b"/>
                <a:pathLst>
                  <a:path w="254" h="285" extrusionOk="0">
                    <a:moveTo>
                      <a:pt x="53" y="133"/>
                    </a:moveTo>
                    <a:cubicBezTo>
                      <a:pt x="37" y="142"/>
                      <a:pt x="18" y="148"/>
                      <a:pt x="0" y="149"/>
                    </a:cubicBezTo>
                    <a:cubicBezTo>
                      <a:pt x="1" y="198"/>
                      <a:pt x="14" y="244"/>
                      <a:pt x="36" y="285"/>
                    </a:cubicBezTo>
                    <a:cubicBezTo>
                      <a:pt x="159" y="264"/>
                      <a:pt x="254" y="157"/>
                      <a:pt x="254" y="27"/>
                    </a:cubicBezTo>
                    <a:cubicBezTo>
                      <a:pt x="254" y="18"/>
                      <a:pt x="253" y="9"/>
                      <a:pt x="252" y="0"/>
                    </a:cubicBezTo>
                    <a:cubicBezTo>
                      <a:pt x="211" y="21"/>
                      <a:pt x="164" y="34"/>
                      <a:pt x="114" y="34"/>
                    </a:cubicBezTo>
                    <a:cubicBezTo>
                      <a:pt x="112" y="74"/>
                      <a:pt x="90" y="111"/>
                      <a:pt x="53" y="133"/>
                    </a:cubicBezTo>
                    <a:close/>
                  </a:path>
                </a:pathLst>
              </a:custGeom>
              <a:solidFill>
                <a:schemeClr val="accent4"/>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193" name="Google Shape;2793;p95">
                <a:extLst>
                  <a:ext uri="{FF2B5EF4-FFF2-40B4-BE49-F238E27FC236}">
                    <a16:creationId xmlns:a16="http://schemas.microsoft.com/office/drawing/2014/main" id="{DAE146B6-60E1-4330-B194-4E4295C19D0D}"/>
                  </a:ext>
                </a:extLst>
              </p:cNvPr>
              <p:cNvSpPr/>
              <p:nvPr/>
            </p:nvSpPr>
            <p:spPr>
              <a:xfrm>
                <a:off x="4485871" y="3916095"/>
                <a:ext cx="1693934" cy="1503973"/>
              </a:xfrm>
              <a:custGeom>
                <a:avLst/>
                <a:gdLst/>
                <a:ahLst/>
                <a:cxnLst/>
                <a:rect l="l" t="t" r="r" b="b"/>
                <a:pathLst>
                  <a:path w="285" h="254" extrusionOk="0">
                    <a:moveTo>
                      <a:pt x="152" y="54"/>
                    </a:moveTo>
                    <a:cubicBezTo>
                      <a:pt x="142" y="37"/>
                      <a:pt x="137" y="19"/>
                      <a:pt x="136" y="0"/>
                    </a:cubicBezTo>
                    <a:cubicBezTo>
                      <a:pt x="86" y="1"/>
                      <a:pt x="40" y="14"/>
                      <a:pt x="0" y="36"/>
                    </a:cubicBezTo>
                    <a:cubicBezTo>
                      <a:pt x="20" y="160"/>
                      <a:pt x="127" y="254"/>
                      <a:pt x="257" y="254"/>
                    </a:cubicBezTo>
                    <a:cubicBezTo>
                      <a:pt x="266" y="254"/>
                      <a:pt x="276" y="254"/>
                      <a:pt x="285" y="253"/>
                    </a:cubicBezTo>
                    <a:cubicBezTo>
                      <a:pt x="263" y="211"/>
                      <a:pt x="251" y="164"/>
                      <a:pt x="250" y="115"/>
                    </a:cubicBezTo>
                    <a:cubicBezTo>
                      <a:pt x="210" y="112"/>
                      <a:pt x="173" y="91"/>
                      <a:pt x="152" y="54"/>
                    </a:cubicBezTo>
                    <a:close/>
                  </a:path>
                </a:pathLst>
              </a:custGeom>
              <a:solidFill>
                <a:srgbClr val="A6A6A6"/>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194" name="Google Shape;2794;p95">
                <a:extLst>
                  <a:ext uri="{FF2B5EF4-FFF2-40B4-BE49-F238E27FC236}">
                    <a16:creationId xmlns:a16="http://schemas.microsoft.com/office/drawing/2014/main" id="{C1B3B947-B49A-408A-A22E-83BE96D805A0}"/>
                  </a:ext>
                </a:extLst>
              </p:cNvPr>
              <p:cNvSpPr/>
              <p:nvPr/>
            </p:nvSpPr>
            <p:spPr>
              <a:xfrm>
                <a:off x="4480543" y="2359732"/>
                <a:ext cx="1487962" cy="1691490"/>
              </a:xfrm>
              <a:custGeom>
                <a:avLst/>
                <a:gdLst/>
                <a:ahLst/>
                <a:cxnLst/>
                <a:rect l="l" t="t" r="r" b="b"/>
                <a:pathLst>
                  <a:path w="254" h="285" extrusionOk="0">
                    <a:moveTo>
                      <a:pt x="200" y="153"/>
                    </a:moveTo>
                    <a:cubicBezTo>
                      <a:pt x="217" y="143"/>
                      <a:pt x="236" y="137"/>
                      <a:pt x="254" y="136"/>
                    </a:cubicBezTo>
                    <a:cubicBezTo>
                      <a:pt x="253" y="87"/>
                      <a:pt x="240" y="41"/>
                      <a:pt x="218" y="0"/>
                    </a:cubicBezTo>
                    <a:cubicBezTo>
                      <a:pt x="95" y="20"/>
                      <a:pt x="0" y="128"/>
                      <a:pt x="0" y="257"/>
                    </a:cubicBezTo>
                    <a:cubicBezTo>
                      <a:pt x="0" y="267"/>
                      <a:pt x="1" y="276"/>
                      <a:pt x="1" y="285"/>
                    </a:cubicBezTo>
                    <a:cubicBezTo>
                      <a:pt x="43" y="263"/>
                      <a:pt x="90" y="251"/>
                      <a:pt x="140" y="250"/>
                    </a:cubicBezTo>
                    <a:cubicBezTo>
                      <a:pt x="142" y="211"/>
                      <a:pt x="164" y="174"/>
                      <a:pt x="200" y="153"/>
                    </a:cubicBezTo>
                    <a:close/>
                  </a:path>
                </a:pathLst>
              </a:custGeom>
              <a:solidFill>
                <a:schemeClr val="tx2"/>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rgbClr val="000000"/>
                  </a:solidFill>
                  <a:latin typeface="Arial"/>
                  <a:ea typeface="Arial"/>
                  <a:cs typeface="Arial"/>
                  <a:sym typeface="Arial"/>
                </a:endParaRPr>
              </a:p>
            </p:txBody>
          </p:sp>
        </p:grpSp>
        <p:sp>
          <p:nvSpPr>
            <p:cNvPr id="187" name="TextBox 186">
              <a:extLst>
                <a:ext uri="{FF2B5EF4-FFF2-40B4-BE49-F238E27FC236}">
                  <a16:creationId xmlns:a16="http://schemas.microsoft.com/office/drawing/2014/main" id="{E835DADD-66BB-4A03-A319-68FF850E765C}"/>
                </a:ext>
              </a:extLst>
            </p:cNvPr>
            <p:cNvSpPr txBox="1"/>
            <p:nvPr/>
          </p:nvSpPr>
          <p:spPr>
            <a:xfrm rot="2765203">
              <a:off x="6252711" y="3002781"/>
              <a:ext cx="1655166" cy="584775"/>
            </a:xfrm>
            <a:prstGeom prst="rect">
              <a:avLst/>
            </a:prstGeom>
            <a:noFill/>
          </p:spPr>
          <p:txBody>
            <a:bodyPr wrap="square" rtlCol="0">
              <a:spAutoFit/>
            </a:bodyPr>
            <a:lstStyle/>
            <a:p>
              <a:r>
                <a:rPr lang="en-AU" sz="1600" b="1" dirty="0">
                  <a:solidFill>
                    <a:schemeClr val="bg1"/>
                  </a:solidFill>
                </a:rPr>
                <a:t>Workforce Sustainability</a:t>
              </a:r>
            </a:p>
          </p:txBody>
        </p:sp>
        <p:sp>
          <p:nvSpPr>
            <p:cNvPr id="188" name="TextBox 187">
              <a:extLst>
                <a:ext uri="{FF2B5EF4-FFF2-40B4-BE49-F238E27FC236}">
                  <a16:creationId xmlns:a16="http://schemas.microsoft.com/office/drawing/2014/main" id="{F9E905E6-7209-49E1-9A76-1CD05681FA14}"/>
                </a:ext>
              </a:extLst>
            </p:cNvPr>
            <p:cNvSpPr txBox="1"/>
            <p:nvPr/>
          </p:nvSpPr>
          <p:spPr>
            <a:xfrm rot="18861091">
              <a:off x="6323418" y="4335421"/>
              <a:ext cx="1655166" cy="338554"/>
            </a:xfrm>
            <a:prstGeom prst="rect">
              <a:avLst/>
            </a:prstGeom>
            <a:noFill/>
          </p:spPr>
          <p:txBody>
            <a:bodyPr wrap="square" rtlCol="0">
              <a:spAutoFit/>
            </a:bodyPr>
            <a:lstStyle/>
            <a:p>
              <a:r>
                <a:rPr lang="en-AU" sz="1600" b="1" dirty="0">
                  <a:solidFill>
                    <a:schemeClr val="bg1"/>
                  </a:solidFill>
                </a:rPr>
                <a:t>Capability </a:t>
              </a:r>
            </a:p>
          </p:txBody>
        </p:sp>
        <p:sp>
          <p:nvSpPr>
            <p:cNvPr id="189" name="TextBox 188">
              <a:extLst>
                <a:ext uri="{FF2B5EF4-FFF2-40B4-BE49-F238E27FC236}">
                  <a16:creationId xmlns:a16="http://schemas.microsoft.com/office/drawing/2014/main" id="{9DE8FE7F-B4D2-4046-B867-B493521ECD6A}"/>
                </a:ext>
              </a:extLst>
            </p:cNvPr>
            <p:cNvSpPr txBox="1"/>
            <p:nvPr/>
          </p:nvSpPr>
          <p:spPr>
            <a:xfrm rot="2856016">
              <a:off x="4763601" y="5036367"/>
              <a:ext cx="1655166" cy="338554"/>
            </a:xfrm>
            <a:prstGeom prst="rect">
              <a:avLst/>
            </a:prstGeom>
            <a:noFill/>
          </p:spPr>
          <p:txBody>
            <a:bodyPr wrap="square" rtlCol="0">
              <a:spAutoFit/>
            </a:bodyPr>
            <a:lstStyle/>
            <a:p>
              <a:r>
                <a:rPr lang="en-AU" sz="1600" b="1" dirty="0">
                  <a:solidFill>
                    <a:schemeClr val="bg1"/>
                  </a:solidFill>
                </a:rPr>
                <a:t>Growth </a:t>
              </a:r>
            </a:p>
          </p:txBody>
        </p:sp>
        <p:sp>
          <p:nvSpPr>
            <p:cNvPr id="190" name="TextBox 189">
              <a:extLst>
                <a:ext uri="{FF2B5EF4-FFF2-40B4-BE49-F238E27FC236}">
                  <a16:creationId xmlns:a16="http://schemas.microsoft.com/office/drawing/2014/main" id="{66C281CA-5D9E-4C3F-8235-F68A59F6063B}"/>
                </a:ext>
              </a:extLst>
            </p:cNvPr>
            <p:cNvSpPr txBox="1"/>
            <p:nvPr/>
          </p:nvSpPr>
          <p:spPr>
            <a:xfrm rot="18862886">
              <a:off x="4345654" y="2942783"/>
              <a:ext cx="1655166" cy="338554"/>
            </a:xfrm>
            <a:prstGeom prst="rect">
              <a:avLst/>
            </a:prstGeom>
            <a:noFill/>
          </p:spPr>
          <p:txBody>
            <a:bodyPr wrap="square" rtlCol="0">
              <a:spAutoFit/>
            </a:bodyPr>
            <a:lstStyle/>
            <a:p>
              <a:pPr algn="ctr"/>
              <a:r>
                <a:rPr lang="en-AU" sz="1600" b="1" dirty="0">
                  <a:solidFill>
                    <a:schemeClr val="bg1"/>
                  </a:solidFill>
                </a:rPr>
                <a:t>Performance </a:t>
              </a:r>
            </a:p>
          </p:txBody>
        </p:sp>
      </p:grpSp>
      <p:sp>
        <p:nvSpPr>
          <p:cNvPr id="97" name="TextBox 96">
            <a:extLst>
              <a:ext uri="{FF2B5EF4-FFF2-40B4-BE49-F238E27FC236}">
                <a16:creationId xmlns:a16="http://schemas.microsoft.com/office/drawing/2014/main" id="{C53712ED-F7B4-4B42-AC6F-7F85400B530A}"/>
              </a:ext>
            </a:extLst>
          </p:cNvPr>
          <p:cNvSpPr txBox="1"/>
          <p:nvPr/>
        </p:nvSpPr>
        <p:spPr>
          <a:xfrm>
            <a:off x="8997574" y="3243165"/>
            <a:ext cx="2816092" cy="987450"/>
          </a:xfrm>
          <a:prstGeom prst="rect">
            <a:avLst/>
          </a:prstGeom>
          <a:solidFill>
            <a:schemeClr val="bg2"/>
          </a:solidFill>
        </p:spPr>
        <p:txBody>
          <a:bodyPr wrap="square">
            <a:spAutoFit/>
          </a:bodyPr>
          <a:lstStyle/>
          <a:p>
            <a:pPr marL="12700" marR="0" lvl="0" indent="0" defTabSz="914400"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25" normalizeH="0" baseline="0" noProof="0" dirty="0">
              <a:ln>
                <a:noFill/>
              </a:ln>
              <a:solidFill>
                <a:prstClr val="black"/>
              </a:solidFill>
              <a:effectLst/>
              <a:uLnTx/>
              <a:uFillTx/>
              <a:ea typeface="+mn-ea"/>
              <a:cs typeface="Arial"/>
            </a:endParaRPr>
          </a:p>
          <a:p>
            <a:pPr marL="12700" marR="0" lvl="0" indent="0" defTabSz="914400" rtl="0" eaLnBrk="1" fontAlgn="auto" latinLnBrk="0" hangingPunct="1">
              <a:lnSpc>
                <a:spcPct val="100000"/>
              </a:lnSpc>
              <a:spcBef>
                <a:spcPts val="0"/>
              </a:spcBef>
              <a:spcAft>
                <a:spcPts val="0"/>
              </a:spcAft>
              <a:buClrTx/>
              <a:buSzTx/>
              <a:buFontTx/>
              <a:buNone/>
              <a:tabLst/>
              <a:defRPr/>
            </a:pPr>
            <a:endParaRPr lang="en-AU" sz="900" spc="-25" dirty="0">
              <a:solidFill>
                <a:prstClr val="black"/>
              </a:solidFill>
              <a:cs typeface="Arial"/>
            </a:endParaRPr>
          </a:p>
          <a:p>
            <a:pPr marL="12700" marR="0" lvl="0" indent="0" defTabSz="914400" rtl="0" eaLnBrk="1" fontAlgn="auto" latinLnBrk="0" hangingPunct="1">
              <a:lnSpc>
                <a:spcPct val="100000"/>
              </a:lnSpc>
              <a:spcBef>
                <a:spcPts val="500"/>
              </a:spcBef>
              <a:spcAft>
                <a:spcPts val="0"/>
              </a:spcAft>
              <a:buClrTx/>
              <a:buSzTx/>
              <a:buFontTx/>
              <a:buNone/>
              <a:tabLst/>
              <a:defRPr/>
            </a:pPr>
            <a:r>
              <a:rPr kumimoji="0" lang="en-AU" sz="900" b="0" i="0" u="none" strike="noStrike" kern="1200" cap="none" spc="-25" normalizeH="0" baseline="0" noProof="0" dirty="0">
                <a:ln>
                  <a:noFill/>
                </a:ln>
                <a:solidFill>
                  <a:prstClr val="black"/>
                </a:solidFill>
                <a:effectLst/>
                <a:uLnTx/>
                <a:uFillTx/>
                <a:ea typeface="+mn-ea"/>
                <a:cs typeface="Arial"/>
              </a:rPr>
              <a:t>Our cultural characteristics supplement the APS values (Impartial; Committed to service; Accountable; Respectful; Ethical) and describe the elements of our culture that make the NDIS Commission unique. </a:t>
            </a:r>
            <a:endParaRPr kumimoji="0" lang="en-AU" sz="900" b="0" i="0" u="none" strike="noStrike" kern="1200" cap="none" spc="0" normalizeH="0" baseline="0" noProof="0" dirty="0">
              <a:ln>
                <a:noFill/>
              </a:ln>
              <a:solidFill>
                <a:prstClr val="black"/>
              </a:solidFill>
              <a:effectLst/>
              <a:uLnTx/>
              <a:uFillTx/>
              <a:ea typeface="+mn-ea"/>
              <a:cs typeface="+mn-cs"/>
            </a:endParaRPr>
          </a:p>
        </p:txBody>
      </p:sp>
      <p:sp>
        <p:nvSpPr>
          <p:cNvPr id="98" name="Google Shape;7620;p161">
            <a:extLst>
              <a:ext uri="{FF2B5EF4-FFF2-40B4-BE49-F238E27FC236}">
                <a16:creationId xmlns:a16="http://schemas.microsoft.com/office/drawing/2014/main" id="{709D2C1C-6D16-42D7-885F-71BEF7043BF4}"/>
              </a:ext>
            </a:extLst>
          </p:cNvPr>
          <p:cNvSpPr/>
          <p:nvPr/>
        </p:nvSpPr>
        <p:spPr>
          <a:xfrm rot="5400000">
            <a:off x="8121733" y="4338367"/>
            <a:ext cx="0" cy="1586779"/>
          </a:xfrm>
          <a:custGeom>
            <a:avLst/>
            <a:gdLst/>
            <a:ahLst/>
            <a:cxnLst/>
            <a:rect l="l" t="t" r="r" b="b"/>
            <a:pathLst>
              <a:path w="120000" h="604" extrusionOk="0">
                <a:moveTo>
                  <a:pt x="0" y="0"/>
                </a:moveTo>
                <a:lnTo>
                  <a:pt x="0" y="604"/>
                </a:lnTo>
                <a:lnTo>
                  <a:pt x="0" y="0"/>
                </a:lnTo>
                <a:close/>
              </a:path>
            </a:pathLst>
          </a:custGeom>
          <a:solidFill>
            <a:srgbClr val="FFFFFF"/>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cxnSp>
        <p:nvCxnSpPr>
          <p:cNvPr id="99" name="Google Shape;7621;p161">
            <a:extLst>
              <a:ext uri="{FF2B5EF4-FFF2-40B4-BE49-F238E27FC236}">
                <a16:creationId xmlns:a16="http://schemas.microsoft.com/office/drawing/2014/main" id="{79AD39BD-CE8D-4403-816E-2900C4290814}"/>
              </a:ext>
            </a:extLst>
          </p:cNvPr>
          <p:cNvCxnSpPr/>
          <p:nvPr/>
        </p:nvCxnSpPr>
        <p:spPr>
          <a:xfrm rot="5400000">
            <a:off x="8121733" y="4338367"/>
            <a:ext cx="0" cy="1586779"/>
          </a:xfrm>
          <a:prstGeom prst="straightConnector1">
            <a:avLst/>
          </a:prstGeom>
          <a:noFill/>
          <a:ln>
            <a:noFill/>
          </a:ln>
        </p:spPr>
      </p:cxnSp>
      <p:sp>
        <p:nvSpPr>
          <p:cNvPr id="117" name="TextBox 116">
            <a:extLst>
              <a:ext uri="{FF2B5EF4-FFF2-40B4-BE49-F238E27FC236}">
                <a16:creationId xmlns:a16="http://schemas.microsoft.com/office/drawing/2014/main" id="{D9DDC1FF-C831-465D-A846-F9F1D717B138}"/>
              </a:ext>
            </a:extLst>
          </p:cNvPr>
          <p:cNvSpPr txBox="1"/>
          <p:nvPr/>
        </p:nvSpPr>
        <p:spPr>
          <a:xfrm>
            <a:off x="8981027" y="1593928"/>
            <a:ext cx="2842750" cy="1615827"/>
          </a:xfrm>
          <a:prstGeom prst="rect">
            <a:avLst/>
          </a:prstGeom>
          <a:solidFill>
            <a:schemeClr val="bg2"/>
          </a:solidFill>
        </p:spPr>
        <p:txBody>
          <a:bodyPr wrap="square">
            <a:spAutoFit/>
          </a:bodyPr>
          <a:lstStyle/>
          <a:p>
            <a:pPr>
              <a:lnSpc>
                <a:spcPct val="100000"/>
              </a:lnSpc>
              <a:spcBef>
                <a:spcPts val="300"/>
              </a:spcBef>
              <a:defRPr/>
            </a:pPr>
            <a:r>
              <a:rPr lang="en-AU" sz="900" b="0" dirty="0">
                <a:cs typeface="Calibri Light"/>
              </a:rPr>
              <a:t>We have a sustainable workforce model that is intentional and aligned </a:t>
            </a:r>
            <a:r>
              <a:rPr lang="en-AU" sz="900" b="0" dirty="0" smtClean="0">
                <a:cs typeface="Calibri Light"/>
              </a:rPr>
              <a:t>to our workforce </a:t>
            </a:r>
            <a:r>
              <a:rPr lang="en-AU" sz="900" b="0" dirty="0">
                <a:cs typeface="Calibri Light"/>
              </a:rPr>
              <a:t>design and composition. </a:t>
            </a:r>
            <a:r>
              <a:rPr lang="en-AU" sz="900" b="0" dirty="0">
                <a:latin typeface="Calibri" panose="020F0502020204030204"/>
                <a:cs typeface="Calibri Light"/>
              </a:rPr>
              <a:t>This means we have enough people to do the work at the right time.</a:t>
            </a:r>
            <a:r>
              <a:rPr lang="en-AU" sz="900" dirty="0">
                <a:latin typeface="Calibri" panose="020F0502020204030204"/>
                <a:cs typeface="Calibri Light"/>
              </a:rPr>
              <a:t> </a:t>
            </a:r>
            <a:r>
              <a:rPr lang="en-AU" sz="900" b="0" dirty="0">
                <a:cs typeface="Calibri Light"/>
              </a:rPr>
              <a:t>We have engaging, sustainable and supportive </a:t>
            </a:r>
            <a:r>
              <a:rPr kumimoji="0" lang="en-AU" sz="900" b="0" i="0" u="none" strike="noStrike" kern="1200" cap="none" spc="0" normalizeH="0" baseline="0" noProof="0" dirty="0">
                <a:ln>
                  <a:noFill/>
                </a:ln>
                <a:effectLst/>
                <a:uLnTx/>
                <a:uFillTx/>
                <a:ea typeface="+mn-ea"/>
                <a:cs typeface="Calibri Light"/>
              </a:rPr>
              <a:t>ways of working that foster wellbeing and enable impact across the workforce </a:t>
            </a:r>
            <a:r>
              <a:rPr lang="en-AU" sz="900" b="0" dirty="0"/>
              <a:t>to </a:t>
            </a:r>
            <a:r>
              <a:rPr lang="en-AU" sz="900" b="0" dirty="0">
                <a:cs typeface="Calibri Light"/>
              </a:rPr>
              <a:t>deliver on our vision, purpose and ambition. </a:t>
            </a:r>
            <a:r>
              <a:rPr kumimoji="0" lang="en-US" sz="900" b="0" i="0" u="none" strike="noStrike" kern="1200" cap="none" spc="0" normalizeH="0" baseline="0" noProof="0" dirty="0">
                <a:ln>
                  <a:noFill/>
                </a:ln>
                <a:effectLst/>
                <a:uLnTx/>
                <a:uFillTx/>
                <a:ea typeface="+mn-ea"/>
                <a:cs typeface="+mn-cs"/>
              </a:rPr>
              <a:t>We </a:t>
            </a:r>
            <a:r>
              <a:rPr kumimoji="0" lang="en-US" sz="900" b="0" i="0" u="none" strike="noStrike" kern="1200" cap="none" spc="0" normalizeH="0" baseline="0" noProof="0" dirty="0" smtClean="0">
                <a:ln>
                  <a:noFill/>
                </a:ln>
                <a:effectLst/>
                <a:uLnTx/>
                <a:uFillTx/>
                <a:ea typeface="+mn-ea"/>
                <a:cs typeface="+mn-cs"/>
              </a:rPr>
              <a:t>empower </a:t>
            </a:r>
            <a:r>
              <a:rPr kumimoji="0" lang="en-US" sz="900" b="0" i="0" u="none" strike="noStrike" kern="1200" cap="none" spc="0" normalizeH="0" baseline="0" noProof="0" dirty="0">
                <a:ln>
                  <a:noFill/>
                </a:ln>
                <a:effectLst/>
                <a:uLnTx/>
                <a:uFillTx/>
                <a:ea typeface="+mn-ea"/>
                <a:cs typeface="+mn-cs"/>
              </a:rPr>
              <a:t>our workforce to succeed by equipping them with the structures, information, systems and tools they need today while also positioning them to meet the evolving demands of the future.</a:t>
            </a:r>
            <a:endParaRPr lang="en-US" sz="900" b="0" i="0" u="none" strike="noStrike" kern="1200" cap="none" spc="0" normalizeH="0" baseline="0" noProof="0" dirty="0">
              <a:ln>
                <a:noFill/>
              </a:ln>
              <a:effectLst/>
              <a:uLnTx/>
              <a:uFillTx/>
              <a:cs typeface="Calibri"/>
            </a:endParaRPr>
          </a:p>
        </p:txBody>
      </p:sp>
      <p:sp>
        <p:nvSpPr>
          <p:cNvPr id="118" name="TextBox 117">
            <a:extLst>
              <a:ext uri="{FF2B5EF4-FFF2-40B4-BE49-F238E27FC236}">
                <a16:creationId xmlns:a16="http://schemas.microsoft.com/office/drawing/2014/main" id="{B4B4F12A-2B36-4953-897C-09BA68100CC4}"/>
              </a:ext>
            </a:extLst>
          </p:cNvPr>
          <p:cNvSpPr txBox="1"/>
          <p:nvPr/>
        </p:nvSpPr>
        <p:spPr>
          <a:xfrm>
            <a:off x="8997574" y="4315098"/>
            <a:ext cx="2816092" cy="2031325"/>
          </a:xfrm>
          <a:prstGeom prst="rect">
            <a:avLst/>
          </a:prstGeom>
          <a:solidFill>
            <a:schemeClr val="bg2"/>
          </a:solidFill>
        </p:spPr>
        <p:txBody>
          <a:bodyPr wrap="square">
            <a:spAutoFit/>
          </a:bodyPr>
          <a:lstStyle/>
          <a:p>
            <a:pPr>
              <a:lnSpc>
                <a:spcPct val="100000"/>
              </a:lnSpc>
              <a:spcBef>
                <a:spcPts val="300"/>
              </a:spcBef>
              <a:spcAft>
                <a:spcPts val="300"/>
              </a:spcAft>
            </a:pPr>
            <a:r>
              <a:rPr lang="en-AU" sz="900" b="0" dirty="0">
                <a:latin typeface="+mj-lt"/>
              </a:rPr>
              <a:t>Our strong leadership, commitment to continuous improvement and ongoing learning empowers our workforce to build core capabilities needed today and for the future to confidently apply regulatory powers for measurable impact and to be a contemporary, purpose-centred regulator. We have the confidence and competency to operate in </a:t>
            </a:r>
            <a:r>
              <a:rPr lang="en-US" sz="900" b="0" dirty="0">
                <a:latin typeface="+mj-lt"/>
              </a:rPr>
              <a:t>dynamic regulatory and legislative environment, </a:t>
            </a:r>
            <a:r>
              <a:rPr lang="en-AU" sz="900" b="0" dirty="0">
                <a:latin typeface="+mj-lt"/>
              </a:rPr>
              <a:t>engage meaningfully with people with disability, build trust with our peers, providers and participants whilst building our capability as an integrated, contemporary regulator.</a:t>
            </a:r>
            <a:r>
              <a:rPr lang="en-AU" sz="900" dirty="0">
                <a:latin typeface="+mj-lt"/>
              </a:rPr>
              <a:t> </a:t>
            </a:r>
            <a:r>
              <a:rPr lang="en-AU" sz="900" b="0" dirty="0">
                <a:latin typeface="+mj-lt"/>
              </a:rPr>
              <a:t>Our foundational capabilities and core competencies</a:t>
            </a:r>
            <a:r>
              <a:rPr lang="en-US" sz="900" b="0" dirty="0">
                <a:latin typeface="+mj-lt"/>
              </a:rPr>
              <a:t> give us the agility and flexibility required to meet emerging needs .</a:t>
            </a:r>
            <a:endParaRPr lang="en-US" sz="900" b="0" dirty="0">
              <a:latin typeface="+mj-lt"/>
              <a:cs typeface="Calibri"/>
            </a:endParaRPr>
          </a:p>
        </p:txBody>
      </p:sp>
      <p:sp>
        <p:nvSpPr>
          <p:cNvPr id="119" name="TextBox 118">
            <a:extLst>
              <a:ext uri="{FF2B5EF4-FFF2-40B4-BE49-F238E27FC236}">
                <a16:creationId xmlns:a16="http://schemas.microsoft.com/office/drawing/2014/main" id="{569EB7A0-E44D-4EB1-AECC-790717BFC604}"/>
              </a:ext>
            </a:extLst>
          </p:cNvPr>
          <p:cNvSpPr txBox="1"/>
          <p:nvPr/>
        </p:nvSpPr>
        <p:spPr>
          <a:xfrm>
            <a:off x="624136" y="4867071"/>
            <a:ext cx="2624562" cy="1338828"/>
          </a:xfrm>
          <a:prstGeom prst="rect">
            <a:avLst/>
          </a:prstGeom>
          <a:solidFill>
            <a:schemeClr val="bg2"/>
          </a:solidFill>
        </p:spPr>
        <p:txBody>
          <a:bodyPr wrap="square">
            <a:spAutoFit/>
          </a:bodyPr>
          <a:lstStyle/>
          <a:p>
            <a:pPr>
              <a:lnSpc>
                <a:spcPct val="100000"/>
              </a:lnSpc>
              <a:spcBef>
                <a:spcPts val="300"/>
              </a:spcBef>
            </a:pPr>
            <a:r>
              <a:rPr lang="en-AU" sz="900" b="0" dirty="0"/>
              <a:t>We continue to evolve and meaningfully embed contemporary and purpose-driven regulatory frameworks into capabilities, behaviours and ways of working. These are </a:t>
            </a:r>
            <a:r>
              <a:rPr lang="en-AU" sz="900" b="0" i="1" dirty="0"/>
              <a:t>critical in transitioning into the future state </a:t>
            </a:r>
            <a:r>
              <a:rPr lang="en-AU" sz="900" b="0" dirty="0"/>
              <a:t>and achieving our purpose. Our workforce is agile, flexible and willing to pivot with changes in demand as it arises, as the Commission shifts from </a:t>
            </a:r>
            <a:r>
              <a:rPr lang="en-AU" sz="900" b="0" dirty="0" smtClean="0"/>
              <a:t>start-up </a:t>
            </a:r>
            <a:r>
              <a:rPr lang="en-AU" sz="900" b="0" dirty="0"/>
              <a:t>to </a:t>
            </a:r>
            <a:r>
              <a:rPr lang="en-AU" sz="900" b="0" dirty="0" smtClean="0"/>
              <a:t>scale-up </a:t>
            </a:r>
            <a:r>
              <a:rPr lang="en-AU" sz="900" b="0" dirty="0"/>
              <a:t>with a reputation for regulatory excellence.</a:t>
            </a:r>
            <a:endParaRPr lang="en-AU" sz="900" b="0" dirty="0">
              <a:cs typeface="Calibri"/>
            </a:endParaRPr>
          </a:p>
        </p:txBody>
      </p:sp>
      <p:sp>
        <p:nvSpPr>
          <p:cNvPr id="120" name="TextBox 119">
            <a:extLst>
              <a:ext uri="{FF2B5EF4-FFF2-40B4-BE49-F238E27FC236}">
                <a16:creationId xmlns:a16="http://schemas.microsoft.com/office/drawing/2014/main" id="{57E3E3A9-6DAB-4FB6-9A50-1C5D50800741}"/>
              </a:ext>
            </a:extLst>
          </p:cNvPr>
          <p:cNvSpPr txBox="1"/>
          <p:nvPr/>
        </p:nvSpPr>
        <p:spPr>
          <a:xfrm>
            <a:off x="628315" y="1592510"/>
            <a:ext cx="2634166" cy="1061829"/>
          </a:xfrm>
          <a:prstGeom prst="rect">
            <a:avLst/>
          </a:prstGeom>
          <a:solidFill>
            <a:srgbClr val="DDDDDD"/>
          </a:solidFill>
        </p:spPr>
        <p:txBody>
          <a:bodyPr wrap="square">
            <a:spAutoFit/>
          </a:bodyPr>
          <a:lstStyle/>
          <a:p>
            <a:pPr>
              <a:lnSpc>
                <a:spcPct val="100000"/>
              </a:lnSpc>
              <a:spcBef>
                <a:spcPts val="600"/>
              </a:spcBef>
              <a:defRPr/>
            </a:pPr>
            <a:r>
              <a:rPr lang="en-AU" sz="900" b="0" dirty="0">
                <a:latin typeface="Calibri" panose="020F0502020204030204"/>
                <a:cs typeface="Calibri Light"/>
              </a:rPr>
              <a:t>We are passionate, engaged and high-performing, having strong collaborative relationships with peers, </a:t>
            </a:r>
            <a:r>
              <a:rPr lang="en-AU" sz="900" b="0" dirty="0" smtClean="0">
                <a:latin typeface="Calibri" panose="020F0502020204030204"/>
                <a:cs typeface="Calibri Light"/>
              </a:rPr>
              <a:t>providers </a:t>
            </a:r>
            <a:r>
              <a:rPr lang="en-AU" sz="900" b="0" dirty="0">
                <a:latin typeface="Calibri" panose="020F0502020204030204"/>
                <a:cs typeface="Calibri Light"/>
              </a:rPr>
              <a:t>and </a:t>
            </a:r>
            <a:r>
              <a:rPr lang="en-AU" sz="900" b="0" dirty="0" smtClean="0">
                <a:latin typeface="Calibri" panose="020F0502020204030204"/>
                <a:cs typeface="Calibri Light"/>
              </a:rPr>
              <a:t>participants. We </a:t>
            </a:r>
            <a:r>
              <a:rPr lang="en-AU" sz="900" b="0" dirty="0">
                <a:latin typeface="Calibri" panose="020F0502020204030204"/>
                <a:cs typeface="Calibri Light"/>
              </a:rPr>
              <a:t>are committed to operating and working as ‘One Commission’. We empower our workforce to be proactive, manage risks proportionately and maintain essential safeguards whilst minimising regulatory burden.</a:t>
            </a:r>
          </a:p>
        </p:txBody>
      </p:sp>
      <p:sp>
        <p:nvSpPr>
          <p:cNvPr id="121" name="TextBox 120">
            <a:extLst>
              <a:ext uri="{FF2B5EF4-FFF2-40B4-BE49-F238E27FC236}">
                <a16:creationId xmlns:a16="http://schemas.microsoft.com/office/drawing/2014/main" id="{A4BBCF1B-D49C-4610-BC15-25EFC5C42B62}"/>
              </a:ext>
            </a:extLst>
          </p:cNvPr>
          <p:cNvSpPr txBox="1"/>
          <p:nvPr/>
        </p:nvSpPr>
        <p:spPr>
          <a:xfrm>
            <a:off x="637637" y="2803325"/>
            <a:ext cx="2624562" cy="1615827"/>
          </a:xfrm>
          <a:prstGeom prst="rect">
            <a:avLst/>
          </a:prstGeom>
          <a:solidFill>
            <a:schemeClr val="bg2"/>
          </a:solidFill>
        </p:spPr>
        <p:txBody>
          <a:bodyPr wrap="square">
            <a:spAutoFit/>
          </a:bodyPr>
          <a:lstStyle/>
          <a:p>
            <a:pPr>
              <a:lnSpc>
                <a:spcPct val="100000"/>
              </a:lnSpc>
              <a:spcBef>
                <a:spcPts val="200"/>
              </a:spcBef>
              <a:spcAft>
                <a:spcPts val="200"/>
              </a:spcAft>
              <a:defRPr/>
            </a:pPr>
            <a:r>
              <a:rPr lang="en-US" sz="900" b="0" dirty="0">
                <a:latin typeface="Calibri"/>
                <a:cs typeface="Calibri"/>
              </a:rPr>
              <a:t>We embrace our passion for our common purpose </a:t>
            </a:r>
            <a:r>
              <a:rPr lang="en-US" sz="900" b="0" dirty="0" smtClean="0">
                <a:latin typeface="Calibri"/>
                <a:cs typeface="Calibri"/>
              </a:rPr>
              <a:t>and demonstrate </a:t>
            </a:r>
            <a:r>
              <a:rPr lang="en-US" sz="900" b="0" dirty="0">
                <a:latin typeface="Calibri"/>
                <a:cs typeface="Calibri"/>
              </a:rPr>
              <a:t>commitment to workforce diversity, inclusion, wellbeing (both physical and psychological) and meaning </a:t>
            </a:r>
            <a:r>
              <a:rPr lang="en-US" sz="900" b="0" dirty="0" smtClean="0">
                <a:latin typeface="Calibri"/>
                <a:cs typeface="Calibri"/>
              </a:rPr>
              <a:t>in </a:t>
            </a:r>
            <a:r>
              <a:rPr lang="en-US" sz="900" b="0" dirty="0">
                <a:latin typeface="Calibri"/>
                <a:cs typeface="Calibri"/>
              </a:rPr>
              <a:t>every aspect of work every day. The diversity of skills and perspectives in our community is key to our effectiveness. Our workforce is diverse and strengthened by the valuable knowledge and experience we offer. We embrace and celebrate our difference, foster resilience and value the importance of connecting wellbeing, contribution and work. </a:t>
            </a:r>
            <a:endParaRPr lang="en-US" sz="900" b="0" dirty="0">
              <a:latin typeface="Calibri" panose="020F0502020204030204" pitchFamily="34" charset="0"/>
              <a:cs typeface="Calibri"/>
            </a:endParaRPr>
          </a:p>
        </p:txBody>
      </p:sp>
      <p:grpSp>
        <p:nvGrpSpPr>
          <p:cNvPr id="124" name="Group 123">
            <a:extLst>
              <a:ext uri="{FF2B5EF4-FFF2-40B4-BE49-F238E27FC236}">
                <a16:creationId xmlns:a16="http://schemas.microsoft.com/office/drawing/2014/main" id="{F693A94A-9163-4231-8CD2-AA6B4C9B5017}"/>
              </a:ext>
            </a:extLst>
          </p:cNvPr>
          <p:cNvGrpSpPr/>
          <p:nvPr/>
        </p:nvGrpSpPr>
        <p:grpSpPr>
          <a:xfrm>
            <a:off x="9075978" y="3287205"/>
            <a:ext cx="283590" cy="283590"/>
            <a:chOff x="2469265" y="420894"/>
            <a:chExt cx="478800" cy="478800"/>
          </a:xfrm>
        </p:grpSpPr>
        <p:sp>
          <p:nvSpPr>
            <p:cNvPr id="125" name="Oval 124">
              <a:extLst>
                <a:ext uri="{FF2B5EF4-FFF2-40B4-BE49-F238E27FC236}">
                  <a16:creationId xmlns:a16="http://schemas.microsoft.com/office/drawing/2014/main" id="{FD89F0C3-2F72-4BDB-BB72-44C774670B10}"/>
                </a:ext>
              </a:extLst>
            </p:cNvPr>
            <p:cNvSpPr/>
            <p:nvPr/>
          </p:nvSpPr>
          <p:spPr>
            <a:xfrm>
              <a:off x="2469265" y="420894"/>
              <a:ext cx="478800" cy="478800"/>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6" name="Group 125">
              <a:extLst>
                <a:ext uri="{FF2B5EF4-FFF2-40B4-BE49-F238E27FC236}">
                  <a16:creationId xmlns:a16="http://schemas.microsoft.com/office/drawing/2014/main" id="{6AAFFE61-7B28-41C9-B8B0-F7A93AE72957}"/>
                </a:ext>
              </a:extLst>
            </p:cNvPr>
            <p:cNvGrpSpPr/>
            <p:nvPr/>
          </p:nvGrpSpPr>
          <p:grpSpPr>
            <a:xfrm>
              <a:off x="2530912" y="482543"/>
              <a:ext cx="355502" cy="355503"/>
              <a:chOff x="651003" y="-500478"/>
              <a:chExt cx="479181" cy="479181"/>
            </a:xfrm>
          </p:grpSpPr>
          <p:sp>
            <p:nvSpPr>
              <p:cNvPr id="131" name="Freeform 978">
                <a:extLst>
                  <a:ext uri="{FF2B5EF4-FFF2-40B4-BE49-F238E27FC236}">
                    <a16:creationId xmlns:a16="http://schemas.microsoft.com/office/drawing/2014/main" id="{B5143928-C2A9-4498-9A17-92CB8FB4F20F}"/>
                  </a:ext>
                </a:extLst>
              </p:cNvPr>
              <p:cNvSpPr>
                <a:spLocks noEditPoints="1"/>
              </p:cNvSpPr>
              <p:nvPr/>
            </p:nvSpPr>
            <p:spPr bwMode="auto">
              <a:xfrm>
                <a:off x="780664" y="-410279"/>
                <a:ext cx="219860" cy="298783"/>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979">
                <a:extLst>
                  <a:ext uri="{FF2B5EF4-FFF2-40B4-BE49-F238E27FC236}">
                    <a16:creationId xmlns:a16="http://schemas.microsoft.com/office/drawing/2014/main" id="{5691CFDD-50FD-42D0-B3AB-77EBE01ABA2C}"/>
                  </a:ext>
                </a:extLst>
              </p:cNvPr>
              <p:cNvSpPr>
                <a:spLocks noEditPoints="1"/>
              </p:cNvSpPr>
              <p:nvPr/>
            </p:nvSpPr>
            <p:spPr bwMode="auto">
              <a:xfrm>
                <a:off x="839857" y="-351086"/>
                <a:ext cx="100064" cy="100064"/>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980">
                <a:extLst>
                  <a:ext uri="{FF2B5EF4-FFF2-40B4-BE49-F238E27FC236}">
                    <a16:creationId xmlns:a16="http://schemas.microsoft.com/office/drawing/2014/main" id="{58C38C3A-3263-42F1-9DBF-342633F858D2}"/>
                  </a:ext>
                </a:extLst>
              </p:cNvPr>
              <p:cNvSpPr>
                <a:spLocks noEditPoints="1"/>
              </p:cNvSpPr>
              <p:nvPr/>
            </p:nvSpPr>
            <p:spPr bwMode="auto">
              <a:xfrm>
                <a:off x="651003" y="-500478"/>
                <a:ext cx="479181" cy="47918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34" name="Group 133">
            <a:extLst>
              <a:ext uri="{FF2B5EF4-FFF2-40B4-BE49-F238E27FC236}">
                <a16:creationId xmlns:a16="http://schemas.microsoft.com/office/drawing/2014/main" id="{C1AB6F22-F557-4030-84C1-EAA78F9CB6C7}"/>
              </a:ext>
            </a:extLst>
          </p:cNvPr>
          <p:cNvGrpSpPr/>
          <p:nvPr/>
        </p:nvGrpSpPr>
        <p:grpSpPr>
          <a:xfrm>
            <a:off x="10485926" y="3287204"/>
            <a:ext cx="283590" cy="283590"/>
            <a:chOff x="2630356" y="406907"/>
            <a:chExt cx="478800" cy="478801"/>
          </a:xfrm>
        </p:grpSpPr>
        <p:sp>
          <p:nvSpPr>
            <p:cNvPr id="135" name="Oval 134">
              <a:extLst>
                <a:ext uri="{FF2B5EF4-FFF2-40B4-BE49-F238E27FC236}">
                  <a16:creationId xmlns:a16="http://schemas.microsoft.com/office/drawing/2014/main" id="{60388F9C-ECD8-4A34-AF77-280C5C6AE0B6}"/>
                </a:ext>
              </a:extLst>
            </p:cNvPr>
            <p:cNvSpPr/>
            <p:nvPr/>
          </p:nvSpPr>
          <p:spPr>
            <a:xfrm>
              <a:off x="2630356" y="406907"/>
              <a:ext cx="478800" cy="478801"/>
            </a:xfrm>
            <a:prstGeom prst="ellipse">
              <a:avLst/>
            </a:prstGeom>
            <a:solidFill>
              <a:srgbClr val="98C1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36" name="Group 135">
              <a:extLst>
                <a:ext uri="{FF2B5EF4-FFF2-40B4-BE49-F238E27FC236}">
                  <a16:creationId xmlns:a16="http://schemas.microsoft.com/office/drawing/2014/main" id="{F41A57BC-16E7-4F01-805C-7B87CE193FAE}"/>
                </a:ext>
              </a:extLst>
            </p:cNvPr>
            <p:cNvGrpSpPr>
              <a:grpSpLocks noChangeAspect="1"/>
            </p:cNvGrpSpPr>
            <p:nvPr/>
          </p:nvGrpSpPr>
          <p:grpSpPr>
            <a:xfrm>
              <a:off x="2692005" y="469544"/>
              <a:ext cx="355503" cy="353526"/>
              <a:chOff x="3441700" y="3584575"/>
              <a:chExt cx="2570163" cy="2555875"/>
            </a:xfrm>
            <a:solidFill>
              <a:schemeClr val="bg1"/>
            </a:solidFill>
          </p:grpSpPr>
          <p:sp>
            <p:nvSpPr>
              <p:cNvPr id="137" name="Freeform 17">
                <a:extLst>
                  <a:ext uri="{FF2B5EF4-FFF2-40B4-BE49-F238E27FC236}">
                    <a16:creationId xmlns:a16="http://schemas.microsoft.com/office/drawing/2014/main" id="{38F8E72C-1C99-471B-ABD9-8C691B2A1712}"/>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18">
                <a:extLst>
                  <a:ext uri="{FF2B5EF4-FFF2-40B4-BE49-F238E27FC236}">
                    <a16:creationId xmlns:a16="http://schemas.microsoft.com/office/drawing/2014/main" id="{81C85DF6-2CD3-4675-A5DA-7029E9E49F16}"/>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39" name="Group 138">
            <a:extLst>
              <a:ext uri="{FF2B5EF4-FFF2-40B4-BE49-F238E27FC236}">
                <a16:creationId xmlns:a16="http://schemas.microsoft.com/office/drawing/2014/main" id="{A5A5FF6A-9585-4053-9D80-DCDC7C5C6435}"/>
              </a:ext>
            </a:extLst>
          </p:cNvPr>
          <p:cNvGrpSpPr/>
          <p:nvPr/>
        </p:nvGrpSpPr>
        <p:grpSpPr>
          <a:xfrm>
            <a:off x="9776405" y="3295776"/>
            <a:ext cx="283590" cy="283590"/>
            <a:chOff x="3820108" y="841950"/>
            <a:chExt cx="478800" cy="478800"/>
          </a:xfrm>
        </p:grpSpPr>
        <p:sp>
          <p:nvSpPr>
            <p:cNvPr id="140" name="Oval 139">
              <a:extLst>
                <a:ext uri="{FF2B5EF4-FFF2-40B4-BE49-F238E27FC236}">
                  <a16:creationId xmlns:a16="http://schemas.microsoft.com/office/drawing/2014/main" id="{39382844-3DEE-4CA8-B192-2C8B988B49DA}"/>
                </a:ext>
              </a:extLst>
            </p:cNvPr>
            <p:cNvSpPr/>
            <p:nvPr/>
          </p:nvSpPr>
          <p:spPr>
            <a:xfrm>
              <a:off x="3820108" y="841950"/>
              <a:ext cx="478800" cy="478800"/>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1" name="Group 932">
              <a:extLst>
                <a:ext uri="{FF2B5EF4-FFF2-40B4-BE49-F238E27FC236}">
                  <a16:creationId xmlns:a16="http://schemas.microsoft.com/office/drawing/2014/main" id="{AA2818FA-F68F-45B0-A609-E44AB73A529C}"/>
                </a:ext>
              </a:extLst>
            </p:cNvPr>
            <p:cNvGrpSpPr>
              <a:grpSpLocks noChangeAspect="1"/>
            </p:cNvGrpSpPr>
            <p:nvPr/>
          </p:nvGrpSpPr>
          <p:grpSpPr bwMode="auto">
            <a:xfrm>
              <a:off x="3881774" y="903589"/>
              <a:ext cx="355504" cy="355502"/>
              <a:chOff x="5795" y="3560"/>
              <a:chExt cx="340" cy="340"/>
            </a:xfrm>
            <a:solidFill>
              <a:schemeClr val="bg1"/>
            </a:solidFill>
          </p:grpSpPr>
          <p:sp>
            <p:nvSpPr>
              <p:cNvPr id="142" name="Freeform 933">
                <a:extLst>
                  <a:ext uri="{FF2B5EF4-FFF2-40B4-BE49-F238E27FC236}">
                    <a16:creationId xmlns:a16="http://schemas.microsoft.com/office/drawing/2014/main" id="{79C5ED1A-9E63-4B5C-95A3-D606E03FC94F}"/>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934">
                <a:extLst>
                  <a:ext uri="{FF2B5EF4-FFF2-40B4-BE49-F238E27FC236}">
                    <a16:creationId xmlns:a16="http://schemas.microsoft.com/office/drawing/2014/main" id="{C3C8ED8C-1572-4476-9594-CA6E0E776137}"/>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44" name="Group 143">
            <a:extLst>
              <a:ext uri="{FF2B5EF4-FFF2-40B4-BE49-F238E27FC236}">
                <a16:creationId xmlns:a16="http://schemas.microsoft.com/office/drawing/2014/main" id="{13626201-8895-4456-A9F9-E259E1D10D4F}"/>
              </a:ext>
            </a:extLst>
          </p:cNvPr>
          <p:cNvGrpSpPr/>
          <p:nvPr/>
        </p:nvGrpSpPr>
        <p:grpSpPr>
          <a:xfrm>
            <a:off x="9430611" y="3292343"/>
            <a:ext cx="283590" cy="283590"/>
            <a:chOff x="2469265" y="1755130"/>
            <a:chExt cx="478800" cy="478800"/>
          </a:xfrm>
        </p:grpSpPr>
        <p:sp>
          <p:nvSpPr>
            <p:cNvPr id="145" name="Oval 144">
              <a:extLst>
                <a:ext uri="{FF2B5EF4-FFF2-40B4-BE49-F238E27FC236}">
                  <a16:creationId xmlns:a16="http://schemas.microsoft.com/office/drawing/2014/main" id="{625689A6-3B36-4F30-A6FA-85C155AF3D83}"/>
                </a:ext>
              </a:extLst>
            </p:cNvPr>
            <p:cNvSpPr/>
            <p:nvPr/>
          </p:nvSpPr>
          <p:spPr>
            <a:xfrm>
              <a:off x="2469265" y="1755130"/>
              <a:ext cx="478800" cy="478800"/>
            </a:xfrm>
            <a:prstGeom prst="ellipse">
              <a:avLst/>
            </a:prstGeom>
            <a:solidFill>
              <a:srgbClr val="962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6" name="Group 853">
              <a:extLst>
                <a:ext uri="{FF2B5EF4-FFF2-40B4-BE49-F238E27FC236}">
                  <a16:creationId xmlns:a16="http://schemas.microsoft.com/office/drawing/2014/main" id="{519C77D0-0D12-429A-B00B-1BBCE0FDB182}"/>
                </a:ext>
              </a:extLst>
            </p:cNvPr>
            <p:cNvGrpSpPr>
              <a:grpSpLocks noChangeAspect="1"/>
            </p:cNvGrpSpPr>
            <p:nvPr/>
          </p:nvGrpSpPr>
          <p:grpSpPr bwMode="auto">
            <a:xfrm>
              <a:off x="2530914" y="1816779"/>
              <a:ext cx="355503" cy="355503"/>
              <a:chOff x="7360" y="3435"/>
              <a:chExt cx="340" cy="340"/>
            </a:xfrm>
            <a:solidFill>
              <a:schemeClr val="bg1"/>
            </a:solidFill>
          </p:grpSpPr>
          <p:sp>
            <p:nvSpPr>
              <p:cNvPr id="173" name="Freeform 854">
                <a:extLst>
                  <a:ext uri="{FF2B5EF4-FFF2-40B4-BE49-F238E27FC236}">
                    <a16:creationId xmlns:a16="http://schemas.microsoft.com/office/drawing/2014/main" id="{83E2EA7E-BB13-4A68-B6FA-E6E1FB99B467}"/>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855">
                <a:extLst>
                  <a:ext uri="{FF2B5EF4-FFF2-40B4-BE49-F238E27FC236}">
                    <a16:creationId xmlns:a16="http://schemas.microsoft.com/office/drawing/2014/main" id="{015E3BB6-AF3F-424D-995A-17A95CD5A63A}"/>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78" name="Group 177">
            <a:extLst>
              <a:ext uri="{FF2B5EF4-FFF2-40B4-BE49-F238E27FC236}">
                <a16:creationId xmlns:a16="http://schemas.microsoft.com/office/drawing/2014/main" id="{390F9C8C-C5AF-468F-ADD9-3157B8BB126B}"/>
              </a:ext>
            </a:extLst>
          </p:cNvPr>
          <p:cNvGrpSpPr/>
          <p:nvPr/>
        </p:nvGrpSpPr>
        <p:grpSpPr>
          <a:xfrm>
            <a:off x="10125900" y="3295776"/>
            <a:ext cx="283590" cy="283590"/>
            <a:chOff x="5008690" y="1392241"/>
            <a:chExt cx="478800" cy="478800"/>
          </a:xfrm>
        </p:grpSpPr>
        <p:sp>
          <p:nvSpPr>
            <p:cNvPr id="180" name="Oval 179">
              <a:extLst>
                <a:ext uri="{FF2B5EF4-FFF2-40B4-BE49-F238E27FC236}">
                  <a16:creationId xmlns:a16="http://schemas.microsoft.com/office/drawing/2014/main" id="{AA0CF7C5-AE6F-4C93-824F-202B77FE7EF0}"/>
                </a:ext>
              </a:extLst>
            </p:cNvPr>
            <p:cNvSpPr/>
            <p:nvPr/>
          </p:nvSpPr>
          <p:spPr>
            <a:xfrm>
              <a:off x="5008690" y="1392241"/>
              <a:ext cx="478800" cy="478800"/>
            </a:xfrm>
            <a:prstGeom prst="ellipse">
              <a:avLst/>
            </a:prstGeom>
            <a:solidFill>
              <a:srgbClr val="02833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1" name="Group 180">
              <a:extLst>
                <a:ext uri="{FF2B5EF4-FFF2-40B4-BE49-F238E27FC236}">
                  <a16:creationId xmlns:a16="http://schemas.microsoft.com/office/drawing/2014/main" id="{31FE01F7-6145-4DC3-B1CD-40FC0234CFB6}"/>
                </a:ext>
              </a:extLst>
            </p:cNvPr>
            <p:cNvGrpSpPr/>
            <p:nvPr/>
          </p:nvGrpSpPr>
          <p:grpSpPr>
            <a:xfrm>
              <a:off x="5070876" y="1453890"/>
              <a:ext cx="354461" cy="355503"/>
              <a:chOff x="7672456" y="-507850"/>
              <a:chExt cx="477776" cy="479181"/>
            </a:xfrm>
          </p:grpSpPr>
          <p:sp>
            <p:nvSpPr>
              <p:cNvPr id="182" name="Freeform 893">
                <a:extLst>
                  <a:ext uri="{FF2B5EF4-FFF2-40B4-BE49-F238E27FC236}">
                    <a16:creationId xmlns:a16="http://schemas.microsoft.com/office/drawing/2014/main" id="{ED640187-8FC8-479D-AB53-6968194B48BA}"/>
                  </a:ext>
                </a:extLst>
              </p:cNvPr>
              <p:cNvSpPr>
                <a:spLocks noEditPoints="1"/>
              </p:cNvSpPr>
              <p:nvPr/>
            </p:nvSpPr>
            <p:spPr bwMode="auto">
              <a:xfrm>
                <a:off x="7762390" y="-417916"/>
                <a:ext cx="269803" cy="269803"/>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894">
                <a:extLst>
                  <a:ext uri="{FF2B5EF4-FFF2-40B4-BE49-F238E27FC236}">
                    <a16:creationId xmlns:a16="http://schemas.microsoft.com/office/drawing/2014/main" id="{11D869EC-175A-4111-840B-65935F2A99E0}"/>
                  </a:ext>
                </a:extLst>
              </p:cNvPr>
              <p:cNvSpPr>
                <a:spLocks noEditPoints="1"/>
              </p:cNvSpPr>
              <p:nvPr/>
            </p:nvSpPr>
            <p:spPr bwMode="auto">
              <a:xfrm>
                <a:off x="7672456" y="-507850"/>
                <a:ext cx="477776" cy="47918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pic>
        <p:nvPicPr>
          <p:cNvPr id="211" name="Picture 12">
            <a:extLst>
              <a:ext uri="{FF2B5EF4-FFF2-40B4-BE49-F238E27FC236}">
                <a16:creationId xmlns:a16="http://schemas.microsoft.com/office/drawing/2014/main" id="{AA7928D2-EE7B-4461-9F6E-3D29EBCF9C47}"/>
              </a:ext>
            </a:extLst>
          </p:cNvPr>
          <p:cNvPicPr>
            <a:picLocks noChangeAspect="1"/>
          </p:cNvPicPr>
          <p:nvPr/>
        </p:nvPicPr>
        <p:blipFill>
          <a:blip r:embed="rId3"/>
          <a:stretch>
            <a:fillRect/>
          </a:stretch>
        </p:blipFill>
        <p:spPr>
          <a:xfrm>
            <a:off x="3431240" y="3611239"/>
            <a:ext cx="834872" cy="57837"/>
          </a:xfrm>
          <a:prstGeom prst="rect">
            <a:avLst/>
          </a:prstGeom>
        </p:spPr>
      </p:pic>
      <p:pic>
        <p:nvPicPr>
          <p:cNvPr id="212" name="Picture 13">
            <a:extLst>
              <a:ext uri="{FF2B5EF4-FFF2-40B4-BE49-F238E27FC236}">
                <a16:creationId xmlns:a16="http://schemas.microsoft.com/office/drawing/2014/main" id="{6A848B7A-9B53-49D4-A6D9-92E7FEB8D6A6}"/>
              </a:ext>
            </a:extLst>
          </p:cNvPr>
          <p:cNvPicPr>
            <a:picLocks noChangeAspect="1"/>
          </p:cNvPicPr>
          <p:nvPr/>
        </p:nvPicPr>
        <p:blipFill>
          <a:blip r:embed="rId4"/>
          <a:stretch>
            <a:fillRect/>
          </a:stretch>
        </p:blipFill>
        <p:spPr>
          <a:xfrm>
            <a:off x="3340131" y="3539388"/>
            <a:ext cx="180344" cy="154800"/>
          </a:xfrm>
          <a:prstGeom prst="rect">
            <a:avLst/>
          </a:prstGeom>
        </p:spPr>
      </p:pic>
      <p:pic>
        <p:nvPicPr>
          <p:cNvPr id="213" name="Picture 19">
            <a:extLst>
              <a:ext uri="{FF2B5EF4-FFF2-40B4-BE49-F238E27FC236}">
                <a16:creationId xmlns:a16="http://schemas.microsoft.com/office/drawing/2014/main" id="{262FEF74-7BCF-4042-A6DB-3C7370E896C7}"/>
              </a:ext>
            </a:extLst>
          </p:cNvPr>
          <p:cNvPicPr>
            <a:picLocks noChangeAspect="1"/>
          </p:cNvPicPr>
          <p:nvPr/>
        </p:nvPicPr>
        <p:blipFill>
          <a:blip r:embed="rId5"/>
          <a:stretch>
            <a:fillRect/>
          </a:stretch>
        </p:blipFill>
        <p:spPr>
          <a:xfrm>
            <a:off x="3290948" y="5737373"/>
            <a:ext cx="247650" cy="219075"/>
          </a:xfrm>
          <a:prstGeom prst="rect">
            <a:avLst/>
          </a:prstGeom>
        </p:spPr>
      </p:pic>
      <p:pic>
        <p:nvPicPr>
          <p:cNvPr id="214" name="Picture 21">
            <a:extLst>
              <a:ext uri="{FF2B5EF4-FFF2-40B4-BE49-F238E27FC236}">
                <a16:creationId xmlns:a16="http://schemas.microsoft.com/office/drawing/2014/main" id="{E64C7DA6-1955-47AD-B698-CED58E8FE75F}"/>
              </a:ext>
            </a:extLst>
          </p:cNvPr>
          <p:cNvPicPr>
            <a:picLocks noChangeAspect="1"/>
          </p:cNvPicPr>
          <p:nvPr/>
        </p:nvPicPr>
        <p:blipFill>
          <a:blip r:embed="rId6"/>
          <a:stretch>
            <a:fillRect/>
          </a:stretch>
        </p:blipFill>
        <p:spPr>
          <a:xfrm flipH="1">
            <a:off x="6890077" y="5185120"/>
            <a:ext cx="107414" cy="506318"/>
          </a:xfrm>
          <a:prstGeom prst="rect">
            <a:avLst/>
          </a:prstGeom>
        </p:spPr>
      </p:pic>
      <p:sp>
        <p:nvSpPr>
          <p:cNvPr id="216" name="Google Shape;7623;p161">
            <a:extLst>
              <a:ext uri="{FF2B5EF4-FFF2-40B4-BE49-F238E27FC236}">
                <a16:creationId xmlns:a16="http://schemas.microsoft.com/office/drawing/2014/main" id="{D6341E6B-3D69-49D0-BD41-110FB8E84E64}"/>
              </a:ext>
            </a:extLst>
          </p:cNvPr>
          <p:cNvSpPr/>
          <p:nvPr/>
        </p:nvSpPr>
        <p:spPr>
          <a:xfrm rot="5400000">
            <a:off x="8643808" y="5534712"/>
            <a:ext cx="201717" cy="208985"/>
          </a:xfrm>
          <a:prstGeom prst="ellipse">
            <a:avLst/>
          </a:prstGeom>
          <a:solidFill>
            <a:schemeClr val="accent3"/>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sp>
        <p:nvSpPr>
          <p:cNvPr id="217" name="Rectangle 216">
            <a:extLst>
              <a:ext uri="{FF2B5EF4-FFF2-40B4-BE49-F238E27FC236}">
                <a16:creationId xmlns:a16="http://schemas.microsoft.com/office/drawing/2014/main" id="{26184CF8-E1E9-482F-AAAF-0E02663BC201}"/>
              </a:ext>
            </a:extLst>
          </p:cNvPr>
          <p:cNvSpPr/>
          <p:nvPr/>
        </p:nvSpPr>
        <p:spPr>
          <a:xfrm>
            <a:off x="3378188" y="5805063"/>
            <a:ext cx="2424758" cy="97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8" name="Rectangle 217">
            <a:extLst>
              <a:ext uri="{FF2B5EF4-FFF2-40B4-BE49-F238E27FC236}">
                <a16:creationId xmlns:a16="http://schemas.microsoft.com/office/drawing/2014/main" id="{A0C8DDD2-9F5C-4ABB-8F3A-D5E11B0B06A0}"/>
              </a:ext>
            </a:extLst>
          </p:cNvPr>
          <p:cNvSpPr/>
          <p:nvPr/>
        </p:nvSpPr>
        <p:spPr>
          <a:xfrm rot="5400000">
            <a:off x="5443395" y="5540542"/>
            <a:ext cx="620770" cy="993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9" name="Rectangle 218">
            <a:extLst>
              <a:ext uri="{FF2B5EF4-FFF2-40B4-BE49-F238E27FC236}">
                <a16:creationId xmlns:a16="http://schemas.microsoft.com/office/drawing/2014/main" id="{8F47E87A-E23D-4067-9E2E-53C7AC70AB1A}"/>
              </a:ext>
            </a:extLst>
          </p:cNvPr>
          <p:cNvSpPr/>
          <p:nvPr/>
        </p:nvSpPr>
        <p:spPr>
          <a:xfrm>
            <a:off x="6890939" y="5601655"/>
            <a:ext cx="1797353" cy="753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0" name="Google Shape;7623;p161">
            <a:extLst>
              <a:ext uri="{FF2B5EF4-FFF2-40B4-BE49-F238E27FC236}">
                <a16:creationId xmlns:a16="http://schemas.microsoft.com/office/drawing/2014/main" id="{D144CADD-D430-48E4-9077-CDCA6F74542A}"/>
              </a:ext>
            </a:extLst>
          </p:cNvPr>
          <p:cNvSpPr/>
          <p:nvPr/>
        </p:nvSpPr>
        <p:spPr>
          <a:xfrm rot="16200000">
            <a:off x="3332170" y="1842630"/>
            <a:ext cx="201717" cy="208985"/>
          </a:xfrm>
          <a:prstGeom prst="ellipse">
            <a:avLst/>
          </a:prstGeom>
          <a:solidFill>
            <a:schemeClr val="bg2">
              <a:lumMod val="75000"/>
            </a:schemeClr>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sp>
        <p:nvSpPr>
          <p:cNvPr id="221" name="Rectangle 220">
            <a:extLst>
              <a:ext uri="{FF2B5EF4-FFF2-40B4-BE49-F238E27FC236}">
                <a16:creationId xmlns:a16="http://schemas.microsoft.com/office/drawing/2014/main" id="{4CE321E5-C2EF-4636-9D00-F79771A52547}"/>
              </a:ext>
            </a:extLst>
          </p:cNvPr>
          <p:cNvSpPr/>
          <p:nvPr/>
        </p:nvSpPr>
        <p:spPr>
          <a:xfrm rot="10800000">
            <a:off x="3464832" y="1902565"/>
            <a:ext cx="2143485" cy="7535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2" name="Rectangle 221">
            <a:extLst>
              <a:ext uri="{FF2B5EF4-FFF2-40B4-BE49-F238E27FC236}">
                <a16:creationId xmlns:a16="http://schemas.microsoft.com/office/drawing/2014/main" id="{2254C28A-138D-4DD0-8469-A1B690BF7065}"/>
              </a:ext>
            </a:extLst>
          </p:cNvPr>
          <p:cNvSpPr/>
          <p:nvPr/>
        </p:nvSpPr>
        <p:spPr>
          <a:xfrm rot="16200000">
            <a:off x="5277169" y="2170855"/>
            <a:ext cx="609015" cy="8478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3" name="Rectangle 222">
            <a:extLst>
              <a:ext uri="{FF2B5EF4-FFF2-40B4-BE49-F238E27FC236}">
                <a16:creationId xmlns:a16="http://schemas.microsoft.com/office/drawing/2014/main" id="{6C977096-E8FE-47FB-813B-82AE71591385}"/>
              </a:ext>
            </a:extLst>
          </p:cNvPr>
          <p:cNvSpPr/>
          <p:nvPr/>
        </p:nvSpPr>
        <p:spPr>
          <a:xfrm rot="10800000">
            <a:off x="6388978" y="1738618"/>
            <a:ext cx="2424758" cy="973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4" name="Rectangle 223">
            <a:extLst>
              <a:ext uri="{FF2B5EF4-FFF2-40B4-BE49-F238E27FC236}">
                <a16:creationId xmlns:a16="http://schemas.microsoft.com/office/drawing/2014/main" id="{F7215B84-28AC-4EEB-9E6F-BEA9F301B348}"/>
              </a:ext>
            </a:extLst>
          </p:cNvPr>
          <p:cNvSpPr/>
          <p:nvPr/>
        </p:nvSpPr>
        <p:spPr>
          <a:xfrm rot="16200000">
            <a:off x="6127759" y="2001100"/>
            <a:ext cx="620770" cy="993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5" name="Google Shape;7623;p161">
            <a:extLst>
              <a:ext uri="{FF2B5EF4-FFF2-40B4-BE49-F238E27FC236}">
                <a16:creationId xmlns:a16="http://schemas.microsoft.com/office/drawing/2014/main" id="{086BDCC7-6CF2-43FF-8E79-D4BFA6CAB90E}"/>
              </a:ext>
            </a:extLst>
          </p:cNvPr>
          <p:cNvSpPr/>
          <p:nvPr/>
        </p:nvSpPr>
        <p:spPr>
          <a:xfrm rot="5400000">
            <a:off x="8691926" y="1677066"/>
            <a:ext cx="201717" cy="208985"/>
          </a:xfrm>
          <a:prstGeom prst="ellipse">
            <a:avLst/>
          </a:prstGeom>
          <a:solidFill>
            <a:schemeClr val="accent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sp>
        <p:nvSpPr>
          <p:cNvPr id="95" name="Google Shape;7623;p161">
            <a:extLst>
              <a:ext uri="{FF2B5EF4-FFF2-40B4-BE49-F238E27FC236}">
                <a16:creationId xmlns:a16="http://schemas.microsoft.com/office/drawing/2014/main" id="{F202BC67-EE83-4ABE-8B6D-C32A91E3C46B}"/>
              </a:ext>
            </a:extLst>
          </p:cNvPr>
          <p:cNvSpPr/>
          <p:nvPr/>
        </p:nvSpPr>
        <p:spPr>
          <a:xfrm rot="5400000">
            <a:off x="8696783" y="3608068"/>
            <a:ext cx="201717" cy="208985"/>
          </a:xfrm>
          <a:prstGeom prst="ellipse">
            <a:avLst/>
          </a:prstGeom>
          <a:solidFill>
            <a:schemeClr val="accent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sp>
        <p:nvSpPr>
          <p:cNvPr id="96" name="Rectangle 95">
            <a:extLst>
              <a:ext uri="{FF2B5EF4-FFF2-40B4-BE49-F238E27FC236}">
                <a16:creationId xmlns:a16="http://schemas.microsoft.com/office/drawing/2014/main" id="{79A34758-3859-4C3C-9DD0-B83856F33CF7}"/>
              </a:ext>
            </a:extLst>
          </p:cNvPr>
          <p:cNvSpPr/>
          <p:nvPr/>
        </p:nvSpPr>
        <p:spPr>
          <a:xfrm>
            <a:off x="8065166" y="3667989"/>
            <a:ext cx="675628" cy="726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512680"/>
            <a:ext cx="8370198" cy="1376364"/>
          </a:xfrm>
        </p:spPr>
        <p:txBody>
          <a:bodyPr anchor="t" anchorCtr="0">
            <a:noAutofit/>
          </a:bodyPr>
          <a:lstStyle/>
          <a:p>
            <a:pPr>
              <a:lnSpc>
                <a:spcPct val="100000"/>
              </a:lnSpc>
            </a:pPr>
            <a:r>
              <a:rPr lang="en-US" sz="2400" dirty="0">
                <a:solidFill>
                  <a:schemeClr val="tx2"/>
                </a:solidFill>
              </a:rPr>
              <a:t>Our Workforce </a:t>
            </a:r>
            <a:r>
              <a:rPr lang="en-US" sz="2400" dirty="0" smtClean="0">
                <a:solidFill>
                  <a:schemeClr val="tx2"/>
                </a:solidFill>
              </a:rPr>
              <a:t>Plan </a:t>
            </a:r>
            <a:r>
              <a:rPr lang="en-US" sz="2400" dirty="0">
                <a:solidFill>
                  <a:schemeClr val="tx2"/>
                </a:solidFill>
              </a:rPr>
              <a:t>contains interconnected pillars, designed to create a more engaged, skilled and sustainable workforce</a:t>
            </a:r>
            <a:endParaRPr lang="en-AU" sz="2400" dirty="0">
              <a:solidFill>
                <a:schemeClr val="tx2"/>
              </a:solidFill>
              <a:highlight>
                <a:srgbClr val="FFFF00"/>
              </a:highlight>
            </a:endParaRPr>
          </a:p>
        </p:txBody>
      </p:sp>
      <p:sp>
        <p:nvSpPr>
          <p:cNvPr id="18" name="TextBox 17">
            <a:extLst>
              <a:ext uri="{FF2B5EF4-FFF2-40B4-BE49-F238E27FC236}">
                <a16:creationId xmlns:a16="http://schemas.microsoft.com/office/drawing/2014/main" id="{1D9CAC00-4A34-4A1E-9B09-8371E883E7E4}"/>
              </a:ext>
            </a:extLst>
          </p:cNvPr>
          <p:cNvSpPr txBox="1"/>
          <p:nvPr/>
        </p:nvSpPr>
        <p:spPr>
          <a:xfrm>
            <a:off x="6610350" y="805171"/>
            <a:ext cx="2120939" cy="407548"/>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AU" sz="900" b="0" i="0" u="none" strike="noStrike" kern="1200" cap="none" spc="0" normalizeH="0" baseline="0" noProof="0" dirty="0">
              <a:ln>
                <a:noFill/>
              </a:ln>
              <a:solidFill>
                <a:prstClr val="black"/>
              </a:solidFill>
              <a:effectLst/>
              <a:uLnTx/>
              <a:uFillTx/>
              <a:latin typeface="Helvetica Neue" panose="020B0604020202020204"/>
              <a:ea typeface="+mn-ea"/>
              <a:cs typeface="+mn-cs"/>
            </a:endParaRPr>
          </a:p>
        </p:txBody>
      </p:sp>
      <p:sp>
        <p:nvSpPr>
          <p:cNvPr id="7" name="Slide Number Placeholder 6">
            <a:extLst>
              <a:ext uri="{FF2B5EF4-FFF2-40B4-BE49-F238E27FC236}">
                <a16:creationId xmlns:a16="http://schemas.microsoft.com/office/drawing/2014/main" id="{EB0FFF8A-1B57-A7E6-8BF3-2F0CCFC46FAA}"/>
              </a:ext>
            </a:extLst>
          </p:cNvPr>
          <p:cNvSpPr>
            <a:spLocks noGrp="1"/>
          </p:cNvSpPr>
          <p:nvPr>
            <p:ph type="sldNum" sz="quarter" idx="12"/>
          </p:nvPr>
        </p:nvSpPr>
        <p:spPr>
          <a:xfrm>
            <a:off x="11190304" y="6356350"/>
            <a:ext cx="362274" cy="180000"/>
          </a:xfrm>
        </p:spPr>
        <p:txBody>
          <a:bodyPr/>
          <a:lstStyle/>
          <a:p>
            <a:fld id="{C0F55C17-AF72-40D4-ADBD-B5505DEBF9BA}" type="slidenum">
              <a:rPr lang="en-AU" smtClean="0"/>
              <a:t>15</a:t>
            </a:fld>
            <a:endParaRPr lang="en-US" dirty="0"/>
          </a:p>
        </p:txBody>
      </p:sp>
      <p:sp>
        <p:nvSpPr>
          <p:cNvPr id="2" name="Footer Placeholder 1">
            <a:extLst>
              <a:ext uri="{FF2B5EF4-FFF2-40B4-BE49-F238E27FC236}">
                <a16:creationId xmlns:a16="http://schemas.microsoft.com/office/drawing/2014/main" id="{257BCD7E-9489-52EC-D3DC-C396497F021A}"/>
              </a:ext>
            </a:extLst>
          </p:cNvPr>
          <p:cNvSpPr>
            <a:spLocks noGrp="1"/>
          </p:cNvSpPr>
          <p:nvPr>
            <p:ph type="ftr" sz="quarter" idx="11"/>
          </p:nvPr>
        </p:nvSpPr>
        <p:spPr>
          <a:xfrm>
            <a:off x="1031950" y="6506060"/>
            <a:ext cx="6783813" cy="180000"/>
          </a:xfrm>
        </p:spPr>
        <p:txBody>
          <a:bodyPr/>
          <a:lstStyle/>
          <a:p>
            <a:pPr algn="ctr"/>
            <a:r>
              <a:rPr lang="en-AU" smtClean="0"/>
              <a:t>NDIS Commission Workforce Plan 2023-2028</a:t>
            </a:r>
            <a:endParaRPr lang="en-US" dirty="0"/>
          </a:p>
        </p:txBody>
      </p:sp>
      <p:sp>
        <p:nvSpPr>
          <p:cNvPr id="103" name="TextBox 102">
            <a:extLst>
              <a:ext uri="{FF2B5EF4-FFF2-40B4-BE49-F238E27FC236}">
                <a16:creationId xmlns:a16="http://schemas.microsoft.com/office/drawing/2014/main" id="{B52990D7-E920-498C-8830-67E94DF89CAF}"/>
              </a:ext>
            </a:extLst>
          </p:cNvPr>
          <p:cNvSpPr txBox="1"/>
          <p:nvPr/>
        </p:nvSpPr>
        <p:spPr>
          <a:xfrm>
            <a:off x="4234997" y="10872987"/>
            <a:ext cx="7448712" cy="553998"/>
          </a:xfrm>
          <a:prstGeom prst="rect">
            <a:avLst/>
          </a:prstGeom>
          <a:noFill/>
        </p:spPr>
        <p:txBody>
          <a:bodyPr wrap="square" rtlCol="0">
            <a:spAutoFit/>
          </a:bodyPr>
          <a:lstStyle/>
          <a:p>
            <a:r>
              <a:rPr lang="en-US" sz="1000" dirty="0"/>
              <a:t>The Commission needs: </a:t>
            </a:r>
            <a:r>
              <a:rPr lang="en-US" sz="1000" b="1" dirty="0"/>
              <a:t>a sustainable workforce approach</a:t>
            </a:r>
            <a:r>
              <a:rPr lang="en-US" sz="1000" dirty="0"/>
              <a:t> that enables collaboration; to invest in developing the right </a:t>
            </a:r>
            <a:r>
              <a:rPr lang="en-US" sz="1000" b="1" dirty="0"/>
              <a:t>capabilities</a:t>
            </a:r>
            <a:r>
              <a:rPr lang="en-US" sz="1000" dirty="0"/>
              <a:t> and providing </a:t>
            </a:r>
            <a:r>
              <a:rPr lang="en-US" sz="1000" b="1" dirty="0"/>
              <a:t>growth for its people</a:t>
            </a:r>
            <a:r>
              <a:rPr lang="en-US" sz="1000" dirty="0"/>
              <a:t>; to empower its people to be high </a:t>
            </a:r>
            <a:r>
              <a:rPr lang="en-US" sz="1000" b="1" dirty="0"/>
              <a:t>performing</a:t>
            </a:r>
            <a:r>
              <a:rPr lang="en-US" sz="1000" dirty="0"/>
              <a:t>; and to invest in how it delivers on its vision for a </a:t>
            </a:r>
            <a:r>
              <a:rPr lang="en-US" sz="1000" b="1" dirty="0"/>
              <a:t>diverse, inclusive and healthy workforce</a:t>
            </a:r>
            <a:r>
              <a:rPr lang="en-US" sz="1000" dirty="0"/>
              <a:t>.</a:t>
            </a:r>
          </a:p>
        </p:txBody>
      </p:sp>
      <p:sp>
        <p:nvSpPr>
          <p:cNvPr id="158" name="Speech Bubble: Rectangle 157">
            <a:extLst>
              <a:ext uri="{FF2B5EF4-FFF2-40B4-BE49-F238E27FC236}">
                <a16:creationId xmlns:a16="http://schemas.microsoft.com/office/drawing/2014/main" id="{56DDDAAB-2A75-4F60-96FE-DC42565328B2}"/>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159" name="Group 158">
            <a:extLst>
              <a:ext uri="{FF2B5EF4-FFF2-40B4-BE49-F238E27FC236}">
                <a16:creationId xmlns:a16="http://schemas.microsoft.com/office/drawing/2014/main" id="{CFFFBCF8-49CC-4C84-B4E3-1BC161710122}"/>
              </a:ext>
            </a:extLst>
          </p:cNvPr>
          <p:cNvGrpSpPr/>
          <p:nvPr/>
        </p:nvGrpSpPr>
        <p:grpSpPr>
          <a:xfrm>
            <a:off x="10609741" y="1048190"/>
            <a:ext cx="396000" cy="376186"/>
            <a:chOff x="627146" y="1619763"/>
            <a:chExt cx="396000" cy="396000"/>
          </a:xfrm>
        </p:grpSpPr>
        <p:sp>
          <p:nvSpPr>
            <p:cNvPr id="160" name="Rectangle 159">
              <a:extLst>
                <a:ext uri="{FF2B5EF4-FFF2-40B4-BE49-F238E27FC236}">
                  <a16:creationId xmlns:a16="http://schemas.microsoft.com/office/drawing/2014/main" id="{D20018AA-64AB-43CE-AEA3-545E49259BFD}"/>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61" name="Freeform 118">
              <a:extLst>
                <a:ext uri="{FF2B5EF4-FFF2-40B4-BE49-F238E27FC236}">
                  <a16:creationId xmlns:a16="http://schemas.microsoft.com/office/drawing/2014/main" id="{6A5A9BDF-13EF-4B5D-B8FB-21744C31977C}"/>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2" name="Freeform 119">
              <a:extLst>
                <a:ext uri="{FF2B5EF4-FFF2-40B4-BE49-F238E27FC236}">
                  <a16:creationId xmlns:a16="http://schemas.microsoft.com/office/drawing/2014/main" id="{D9F5532B-F220-43FA-B664-C151CB687FA9}"/>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3" name="Freeform 120">
              <a:extLst>
                <a:ext uri="{FF2B5EF4-FFF2-40B4-BE49-F238E27FC236}">
                  <a16:creationId xmlns:a16="http://schemas.microsoft.com/office/drawing/2014/main" id="{CAB1BD7A-68F5-4006-BBB8-9CB4B791FA8A}"/>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4" name="Freeform 121">
              <a:extLst>
                <a:ext uri="{FF2B5EF4-FFF2-40B4-BE49-F238E27FC236}">
                  <a16:creationId xmlns:a16="http://schemas.microsoft.com/office/drawing/2014/main" id="{2447C37A-0F28-41B7-9EEF-6BA253DB59B3}"/>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5" name="Freeform 122">
              <a:extLst>
                <a:ext uri="{FF2B5EF4-FFF2-40B4-BE49-F238E27FC236}">
                  <a16:creationId xmlns:a16="http://schemas.microsoft.com/office/drawing/2014/main" id="{152DB7B3-A1E3-4F4E-8FF1-623BEFC99891}"/>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6" name="Freeform 124">
              <a:extLst>
                <a:ext uri="{FF2B5EF4-FFF2-40B4-BE49-F238E27FC236}">
                  <a16:creationId xmlns:a16="http://schemas.microsoft.com/office/drawing/2014/main" id="{BBBB7D95-F6EA-4D78-ABC9-3037B64A78D9}"/>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7" name="Freeform 128">
              <a:extLst>
                <a:ext uri="{FF2B5EF4-FFF2-40B4-BE49-F238E27FC236}">
                  <a16:creationId xmlns:a16="http://schemas.microsoft.com/office/drawing/2014/main" id="{74CDFD95-AD10-40C0-B61A-4F76A50E8240}"/>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8" name="Freeform 129">
              <a:extLst>
                <a:ext uri="{FF2B5EF4-FFF2-40B4-BE49-F238E27FC236}">
                  <a16:creationId xmlns:a16="http://schemas.microsoft.com/office/drawing/2014/main" id="{7C1214A9-000A-457B-9F8E-0411F03C963B}"/>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9" name="Freeform 130">
              <a:extLst>
                <a:ext uri="{FF2B5EF4-FFF2-40B4-BE49-F238E27FC236}">
                  <a16:creationId xmlns:a16="http://schemas.microsoft.com/office/drawing/2014/main" id="{BA049BA7-C3BA-4DEF-8164-027F29092869}"/>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70" name="Freeform 131">
              <a:extLst>
                <a:ext uri="{FF2B5EF4-FFF2-40B4-BE49-F238E27FC236}">
                  <a16:creationId xmlns:a16="http://schemas.microsoft.com/office/drawing/2014/main" id="{F398E737-ABF9-4A99-A725-04D3418CDB2B}"/>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71" name="Freeform 133">
              <a:extLst>
                <a:ext uri="{FF2B5EF4-FFF2-40B4-BE49-F238E27FC236}">
                  <a16:creationId xmlns:a16="http://schemas.microsoft.com/office/drawing/2014/main" id="{C06F0392-F7AA-4DC0-9189-A0E1DFD28CD1}"/>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72" name="Freeform 134">
              <a:extLst>
                <a:ext uri="{FF2B5EF4-FFF2-40B4-BE49-F238E27FC236}">
                  <a16:creationId xmlns:a16="http://schemas.microsoft.com/office/drawing/2014/main" id="{6BD8EF0E-5ADA-4AA9-A605-EA91D6800EBF}"/>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75" name="Freeform 135">
              <a:extLst>
                <a:ext uri="{FF2B5EF4-FFF2-40B4-BE49-F238E27FC236}">
                  <a16:creationId xmlns:a16="http://schemas.microsoft.com/office/drawing/2014/main" id="{000841DC-83DF-4A27-A227-A136C826A3F7}"/>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176" name="Google Shape;162;p4">
            <a:extLst>
              <a:ext uri="{FF2B5EF4-FFF2-40B4-BE49-F238E27FC236}">
                <a16:creationId xmlns:a16="http://schemas.microsoft.com/office/drawing/2014/main" id="{D0E97C7D-823A-476E-888A-82E2A1850752}"/>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177" name="Freeform 37">
            <a:extLst>
              <a:ext uri="{FF2B5EF4-FFF2-40B4-BE49-F238E27FC236}">
                <a16:creationId xmlns:a16="http://schemas.microsoft.com/office/drawing/2014/main" id="{2C6FCDEE-10C4-4571-8247-8580FDBC32BF}"/>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179" name="TextBox 178">
            <a:extLst>
              <a:ext uri="{FF2B5EF4-FFF2-40B4-BE49-F238E27FC236}">
                <a16:creationId xmlns:a16="http://schemas.microsoft.com/office/drawing/2014/main" id="{D40EF83D-E07A-4049-BC59-9B8F3228000E}"/>
              </a:ext>
            </a:extLst>
          </p:cNvPr>
          <p:cNvSpPr txBox="1"/>
          <p:nvPr/>
        </p:nvSpPr>
        <p:spPr>
          <a:xfrm>
            <a:off x="10612561" y="1450397"/>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3205343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5">
            <a:extLst>
              <a:ext uri="{FF2B5EF4-FFF2-40B4-BE49-F238E27FC236}">
                <a16:creationId xmlns:a16="http://schemas.microsoft.com/office/drawing/2014/main" id="{448B81D1-AC25-4331-97B0-A4B77F9B9BF5}"/>
              </a:ext>
            </a:extLst>
          </p:cNvPr>
          <p:cNvSpPr txBox="1">
            <a:spLocks/>
          </p:cNvSpPr>
          <p:nvPr/>
        </p:nvSpPr>
        <p:spPr>
          <a:xfrm>
            <a:off x="5261435" y="1907768"/>
            <a:ext cx="3139616" cy="4281268"/>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37845" indent="0">
              <a:spcBef>
                <a:spcPts val="600"/>
              </a:spcBef>
              <a:spcAft>
                <a:spcPts val="600"/>
              </a:spcAft>
              <a:buNone/>
              <a:tabLst>
                <a:tab pos="538163" algn="l"/>
              </a:tabLst>
            </a:pPr>
            <a:r>
              <a:rPr lang="en-AU" sz="1000" b="0" dirty="0">
                <a:solidFill>
                  <a:schemeClr val="tx1"/>
                </a:solidFill>
              </a:rPr>
              <a:t>Attract, recruit and retain a diverse </a:t>
            </a:r>
            <a:r>
              <a:rPr lang="en-AU" sz="1000" b="0" dirty="0" smtClean="0">
                <a:solidFill>
                  <a:schemeClr val="tx1"/>
                </a:solidFill>
              </a:rPr>
              <a:t>workforce </a:t>
            </a:r>
            <a:r>
              <a:rPr lang="en-AU" sz="1000" b="0" dirty="0">
                <a:solidFill>
                  <a:schemeClr val="tx1"/>
                </a:solidFill>
              </a:rPr>
              <a:t>in a highly competitive market, to meet increasing demand (capacity), recruiting talent from different markets with the skills (capability) we need to uphold the rights of NDIS participants, elevate quality and safety and enable consumer independence</a:t>
            </a:r>
            <a:endParaRPr lang="en-AU" sz="1000" b="0" dirty="0">
              <a:solidFill>
                <a:schemeClr val="tx1"/>
              </a:solidFill>
              <a:cs typeface="Calibri"/>
            </a:endParaRPr>
          </a:p>
          <a:p>
            <a:pPr marL="542925" indent="-542925">
              <a:spcBef>
                <a:spcPts val="600"/>
              </a:spcBef>
              <a:spcAft>
                <a:spcPts val="600"/>
              </a:spcAft>
            </a:pPr>
            <a:r>
              <a:rPr lang="en-AU" sz="1000" b="0" dirty="0">
                <a:solidFill>
                  <a:schemeClr val="tx1"/>
                </a:solidFill>
              </a:rPr>
              <a:t>A streamlined and unifying experience including building knowledge, understanding and expectations of the ‘One Commission’ approach in practice</a:t>
            </a:r>
            <a:endParaRPr lang="en-AU" sz="1000" b="0" dirty="0">
              <a:solidFill>
                <a:schemeClr val="tx1"/>
              </a:solidFill>
              <a:cs typeface="Calibri"/>
            </a:endParaRPr>
          </a:p>
          <a:p>
            <a:pPr marL="542925" indent="-542925">
              <a:spcBef>
                <a:spcPts val="600"/>
              </a:spcBef>
              <a:spcAft>
                <a:spcPts val="600"/>
              </a:spcAft>
            </a:pPr>
            <a:r>
              <a:rPr lang="en-AU" sz="1000" b="0" dirty="0">
                <a:solidFill>
                  <a:schemeClr val="tx1"/>
                </a:solidFill>
              </a:rPr>
              <a:t>A shared understanding of what other people and teams do, and when to connect and collaborate with them in order to achieve the best outcomes  </a:t>
            </a:r>
          </a:p>
          <a:p>
            <a:pPr marL="542925" indent="-542925">
              <a:spcBef>
                <a:spcPts val="600"/>
              </a:spcBef>
              <a:spcAft>
                <a:spcPts val="600"/>
              </a:spcAft>
            </a:pPr>
            <a:r>
              <a:rPr lang="en-AU" sz="1000" b="0" dirty="0">
                <a:solidFill>
                  <a:schemeClr val="tx1"/>
                </a:solidFill>
              </a:rPr>
              <a:t>Enhanced workforce mobility, flexibility and agility across teams and roles in the Commission over time</a:t>
            </a:r>
            <a:endParaRPr lang="en-AU" sz="1000" b="0" dirty="0">
              <a:solidFill>
                <a:schemeClr val="tx1"/>
              </a:solidFill>
              <a:cs typeface="Calibri"/>
            </a:endParaRPr>
          </a:p>
          <a:p>
            <a:pPr marL="542925" indent="-542925">
              <a:spcBef>
                <a:spcPts val="600"/>
              </a:spcBef>
              <a:spcAft>
                <a:spcPts val="600"/>
              </a:spcAft>
            </a:pPr>
            <a:r>
              <a:rPr lang="en-AU" sz="1000" b="0" dirty="0">
                <a:solidFill>
                  <a:schemeClr val="tx1"/>
                </a:solidFill>
              </a:rPr>
              <a:t>Increased capacity of the existing workforce through process optimisation, automation and continuous improvement</a:t>
            </a:r>
            <a:endParaRPr lang="en-AU" sz="1000" b="0" dirty="0">
              <a:solidFill>
                <a:schemeClr val="tx1"/>
              </a:solidFill>
              <a:cs typeface="Calibri"/>
            </a:endParaRPr>
          </a:p>
          <a:p>
            <a:endParaRPr lang="en-AU" sz="1000" b="0" dirty="0">
              <a:solidFill>
                <a:schemeClr val="tx1"/>
              </a:solidFill>
            </a:endParaRPr>
          </a:p>
          <a:p>
            <a:pPr marL="0" indent="0">
              <a:buNone/>
            </a:pPr>
            <a:endParaRPr lang="en-AU" sz="1050" b="0" dirty="0"/>
          </a:p>
          <a:p>
            <a:endParaRPr lang="en-AU" sz="1050" dirty="0"/>
          </a:p>
          <a:p>
            <a:endParaRPr lang="en-AU" sz="1050" dirty="0"/>
          </a:p>
          <a:p>
            <a:endParaRPr lang="en-AU" sz="1050" dirty="0"/>
          </a:p>
          <a:p>
            <a:endParaRPr lang="en-AU" sz="1050" dirty="0"/>
          </a:p>
          <a:p>
            <a:endParaRPr lang="en-AU" sz="1050" dirty="0"/>
          </a:p>
          <a:p>
            <a:endParaRPr lang="en-AU" sz="1050" dirty="0"/>
          </a:p>
          <a:p>
            <a:endParaRPr lang="en-AU" sz="1050" dirty="0"/>
          </a:p>
          <a:p>
            <a:endParaRPr lang="en-AU" sz="1050" dirty="0"/>
          </a:p>
        </p:txBody>
      </p:sp>
      <p:sp>
        <p:nvSpPr>
          <p:cNvPr id="13" name="Content Placeholder 5">
            <a:extLst>
              <a:ext uri="{FF2B5EF4-FFF2-40B4-BE49-F238E27FC236}">
                <a16:creationId xmlns:a16="http://schemas.microsoft.com/office/drawing/2014/main" id="{C15C1A66-CA52-4C2E-9E11-026B08CD3488}"/>
              </a:ext>
            </a:extLst>
          </p:cNvPr>
          <p:cNvSpPr txBox="1">
            <a:spLocks/>
          </p:cNvSpPr>
          <p:nvPr/>
        </p:nvSpPr>
        <p:spPr>
          <a:xfrm>
            <a:off x="497626" y="1581273"/>
            <a:ext cx="4552417" cy="4607763"/>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defRPr/>
            </a:pPr>
            <a:r>
              <a:rPr lang="en-AU" sz="1100" dirty="0">
                <a:solidFill>
                  <a:schemeClr val="tx2"/>
                </a:solidFill>
                <a:cs typeface="Calibri Light"/>
              </a:rPr>
              <a:t>Our Aspiration</a:t>
            </a:r>
            <a:r>
              <a:rPr lang="en-AU" sz="1200" dirty="0">
                <a:solidFill>
                  <a:schemeClr val="tx2"/>
                </a:solidFill>
                <a:cs typeface="Calibri Light"/>
              </a:rPr>
              <a:t> </a:t>
            </a:r>
          </a:p>
          <a:p>
            <a:pPr>
              <a:lnSpc>
                <a:spcPct val="100000"/>
              </a:lnSpc>
              <a:spcBef>
                <a:spcPts val="300"/>
              </a:spcBef>
              <a:defRPr/>
            </a:pPr>
            <a:r>
              <a:rPr lang="en-AU" sz="1000" b="0" dirty="0">
                <a:cs typeface="Calibri Light"/>
              </a:rPr>
              <a:t>We have a sustainable workforce model that is intentional and aligned to our workforce design and </a:t>
            </a:r>
            <a:r>
              <a:rPr lang="en-AU" sz="1000" b="0" dirty="0" smtClean="0">
                <a:cs typeface="Calibri Light"/>
              </a:rPr>
              <a:t>composition. </a:t>
            </a:r>
            <a:r>
              <a:rPr lang="en-AU" sz="1000" b="0" dirty="0">
                <a:latin typeface="Calibri" panose="020F0502020204030204"/>
                <a:cs typeface="Calibri Light"/>
              </a:rPr>
              <a:t>This means we have enough people to do the work at the right time.</a:t>
            </a:r>
            <a:r>
              <a:rPr lang="en-AU" sz="1000" dirty="0">
                <a:latin typeface="Calibri" panose="020F0502020204030204"/>
                <a:cs typeface="Calibri Light"/>
              </a:rPr>
              <a:t> </a:t>
            </a:r>
            <a:r>
              <a:rPr lang="en-AU" sz="1000" b="0" dirty="0">
                <a:cs typeface="Calibri Light"/>
              </a:rPr>
              <a:t>We have engaging, sustainable and supportive </a:t>
            </a:r>
            <a:r>
              <a:rPr kumimoji="0" lang="en-AU" sz="1000" b="0" i="0" u="none" strike="noStrike" kern="1200" cap="none" spc="0" normalizeH="0" baseline="0" noProof="0" dirty="0">
                <a:ln>
                  <a:noFill/>
                </a:ln>
                <a:effectLst/>
                <a:uLnTx/>
                <a:uFillTx/>
                <a:ea typeface="+mn-ea"/>
                <a:cs typeface="Calibri Light"/>
              </a:rPr>
              <a:t>ways of working that foster wellbeing and enable impact across the workforce </a:t>
            </a:r>
            <a:r>
              <a:rPr lang="en-AU" sz="1000" b="0" dirty="0"/>
              <a:t>to </a:t>
            </a:r>
            <a:r>
              <a:rPr lang="en-AU" sz="1000" b="0" dirty="0">
                <a:cs typeface="Calibri Light"/>
              </a:rPr>
              <a:t>deliver on our vision, purpose and ambition.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 also empower our workforce to succeed by equipping them with the structures, information, systems and tools they need today while also positioning them to meet the evolving demands of the future.</a:t>
            </a:r>
            <a:endParaRPr lang="en-US" sz="1000" b="0" i="0" u="none" strike="noStrike" kern="1200" cap="none" spc="0" normalizeH="0" baseline="0" noProof="0" dirty="0">
              <a:ln>
                <a:noFill/>
              </a:ln>
              <a:effectLst/>
              <a:uLnTx/>
              <a:uFillTx/>
              <a:cs typeface="Calibri"/>
            </a:endParaRPr>
          </a:p>
          <a:p>
            <a:pPr>
              <a:lnSpc>
                <a:spcPct val="100000"/>
              </a:lnSpc>
              <a:spcBef>
                <a:spcPts val="300"/>
              </a:spcBef>
              <a:defRPr/>
            </a:pPr>
            <a:r>
              <a:rPr lang="en-AU" sz="1000" b="0" dirty="0">
                <a:cs typeface="Calibri Light"/>
              </a:rPr>
              <a:t>We do this by: </a:t>
            </a:r>
          </a:p>
          <a:p>
            <a:pPr marL="179070" indent="-179070">
              <a:lnSpc>
                <a:spcPct val="100000"/>
              </a:lnSpc>
              <a:spcBef>
                <a:spcPts val="200"/>
              </a:spcBef>
              <a:spcAft>
                <a:spcPts val="200"/>
              </a:spcAft>
              <a:buFont typeface="Arial" panose="020B0604020202020204" pitchFamily="34" charset="0"/>
              <a:buChar char="•"/>
              <a:defRPr/>
            </a:pPr>
            <a:r>
              <a:rPr lang="en-AU" sz="1000" dirty="0">
                <a:cs typeface="Calibri Light"/>
              </a:rPr>
              <a:t>having a purposeful Employee Value Proposition </a:t>
            </a:r>
            <a:r>
              <a:rPr lang="en-AU" sz="1000" b="0" dirty="0">
                <a:cs typeface="Calibri Light"/>
              </a:rPr>
              <a:t>highlighting the experience and value of working in the Commission and what this means and looks like for current and future workers </a:t>
            </a:r>
          </a:p>
          <a:p>
            <a:pPr marL="179070" indent="-179070">
              <a:lnSpc>
                <a:spcPct val="100000"/>
              </a:lnSpc>
              <a:spcBef>
                <a:spcPts val="200"/>
              </a:spcBef>
              <a:spcAft>
                <a:spcPts val="200"/>
              </a:spcAft>
              <a:buFont typeface="Arial" panose="020B0604020202020204" pitchFamily="34" charset="0"/>
              <a:buChar char="•"/>
              <a:defRPr/>
            </a:pPr>
            <a:r>
              <a:rPr lang="en-AU" sz="1000" dirty="0">
                <a:cs typeface="Calibri Light"/>
              </a:rPr>
              <a:t>building sustainable workforces through talent planning and flexible delivery </a:t>
            </a:r>
            <a:r>
              <a:rPr lang="en-AU" sz="1000" b="0" dirty="0">
                <a:cs typeface="Calibri Light"/>
              </a:rPr>
              <a:t>including</a:t>
            </a:r>
            <a:r>
              <a:rPr lang="en-AU" sz="1000" dirty="0">
                <a:cs typeface="Calibri Light"/>
              </a:rPr>
              <a:t> </a:t>
            </a:r>
            <a:r>
              <a:rPr lang="en-AU" sz="1000" b="0" dirty="0"/>
              <a:t>growing the pipeline of skilled workforce to meet the increasing demand as well as accessing a skilled and ready contingent workforce when needed </a:t>
            </a:r>
            <a:endParaRPr lang="en-AU" sz="1000" b="0" dirty="0">
              <a:cs typeface="Calibri"/>
            </a:endParaRPr>
          </a:p>
          <a:p>
            <a:pPr marL="179070" indent="-179070">
              <a:lnSpc>
                <a:spcPct val="100000"/>
              </a:lnSpc>
              <a:spcBef>
                <a:spcPts val="200"/>
              </a:spcBef>
              <a:spcAft>
                <a:spcPts val="200"/>
              </a:spcAft>
              <a:buFont typeface="Arial" panose="020B0604020202020204" pitchFamily="34" charset="0"/>
              <a:buChar char="•"/>
              <a:defRPr/>
            </a:pPr>
            <a:r>
              <a:rPr lang="en-AU" sz="1000" dirty="0">
                <a:cs typeface="Calibri Light"/>
              </a:rPr>
              <a:t>collaborating and creating connections</a:t>
            </a:r>
            <a:r>
              <a:rPr lang="en-AU" sz="1000" b="0" dirty="0">
                <a:cs typeface="Calibri Light"/>
              </a:rPr>
              <a:t> </a:t>
            </a:r>
            <a:r>
              <a:rPr lang="en-AU" sz="1000" b="0" dirty="0" smtClean="0">
                <a:cs typeface="Calibri Light"/>
              </a:rPr>
              <a:t>using</a:t>
            </a:r>
            <a:r>
              <a:rPr lang="en-US" sz="1000" b="0" dirty="0" smtClean="0">
                <a:cs typeface="Calibri Light"/>
              </a:rPr>
              <a:t> </a:t>
            </a:r>
            <a:r>
              <a:rPr lang="en-US" sz="1000" b="0" dirty="0">
                <a:cs typeface="Calibri Light"/>
              </a:rPr>
              <a:t>our internal networks, active cross teams and cross leadership planning and delivering, breaking down silos </a:t>
            </a:r>
          </a:p>
          <a:p>
            <a:pPr marL="179070" indent="-179070">
              <a:lnSpc>
                <a:spcPct val="100000"/>
              </a:lnSpc>
              <a:spcBef>
                <a:spcPts val="200"/>
              </a:spcBef>
              <a:spcAft>
                <a:spcPts val="200"/>
              </a:spcAft>
              <a:buFont typeface="Arial" panose="020B0604020202020204" pitchFamily="34" charset="0"/>
              <a:buChar char="•"/>
              <a:defRPr/>
            </a:pPr>
            <a:r>
              <a:rPr lang="en-AU" sz="1000" dirty="0">
                <a:cs typeface="Calibri Light"/>
              </a:rPr>
              <a:t>alignment on our purpose </a:t>
            </a:r>
            <a:r>
              <a:rPr lang="en-AU" sz="1000" b="0" dirty="0">
                <a:cs typeface="Calibri Light"/>
              </a:rPr>
              <a:t>through clearly defined roles, responsibilities and accountabilities that align to our purpose and link to the organisational strategy </a:t>
            </a:r>
            <a:endParaRPr lang="en-US" sz="1000" b="0" dirty="0">
              <a:cs typeface="Calibri Light"/>
            </a:endParaRPr>
          </a:p>
          <a:p>
            <a:pPr marL="179070" marR="0" lvl="0" indent="-17907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AU" sz="1000" b="0" dirty="0"/>
              <a:t>being </a:t>
            </a:r>
            <a:r>
              <a:rPr lang="en-AU" sz="1000" dirty="0"/>
              <a:t>informed by data and digitally driven solutions</a:t>
            </a:r>
            <a:r>
              <a:rPr lang="en-AU" sz="1000" b="0" dirty="0"/>
              <a:t> -- leveraging data, gathering intelligence and digital technology to support those we regulate to comply and grow. This includes ensuring we have the right tools to support the important work we do</a:t>
            </a:r>
            <a:endParaRPr lang="en-AU" sz="1000" b="0" i="0" u="none" strike="noStrike" kern="1200" cap="none" spc="0" normalizeH="0" baseline="0" noProof="0" dirty="0">
              <a:ln>
                <a:noFill/>
              </a:ln>
              <a:solidFill>
                <a:schemeClr val="bg2">
                  <a:lumMod val="10000"/>
                </a:schemeClr>
              </a:solidFill>
              <a:effectLst/>
              <a:uLnTx/>
              <a:uFillTx/>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i="0" u="none" strike="noStrike" kern="1200" cap="none" spc="0" normalizeH="0" baseline="0" noProof="0" dirty="0">
              <a:ln>
                <a:noFill/>
              </a:ln>
              <a:effectLst/>
              <a:uLnTx/>
              <a:uFillTx/>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17847" y="169855"/>
            <a:ext cx="6992824" cy="1376364"/>
          </a:xfrm>
        </p:spPr>
        <p:txBody>
          <a:bodyPr>
            <a:noAutofit/>
          </a:bodyPr>
          <a:lstStyle/>
          <a:p>
            <a:r>
              <a:rPr lang="en-US" dirty="0">
                <a:solidFill>
                  <a:schemeClr val="tx2"/>
                </a:solidFill>
              </a:rPr>
              <a:t>Pillar: Workforce Sustainability </a:t>
            </a:r>
            <a:endParaRPr lang="en-AU" dirty="0">
              <a:solidFill>
                <a:schemeClr val="tx2"/>
              </a:solidFill>
            </a:endParaRPr>
          </a:p>
        </p:txBody>
      </p:sp>
      <p:pic>
        <p:nvPicPr>
          <p:cNvPr id="59" name="Picture 58">
            <a:extLst>
              <a:ext uri="{FF2B5EF4-FFF2-40B4-BE49-F238E27FC236}">
                <a16:creationId xmlns:a16="http://schemas.microsoft.com/office/drawing/2014/main" id="{69703F0F-C16C-4EC0-8A13-2DBCB764C701}"/>
              </a:ext>
            </a:extLst>
          </p:cNvPr>
          <p:cNvPicPr>
            <a:picLocks noChangeAspect="1"/>
          </p:cNvPicPr>
          <p:nvPr/>
        </p:nvPicPr>
        <p:blipFill>
          <a:blip r:embed="rId3"/>
          <a:stretch>
            <a:fillRect/>
          </a:stretch>
        </p:blipFill>
        <p:spPr>
          <a:xfrm>
            <a:off x="410705" y="469424"/>
            <a:ext cx="935881" cy="813276"/>
          </a:xfrm>
          <a:prstGeom prst="rect">
            <a:avLst/>
          </a:prstGeom>
        </p:spPr>
      </p:pic>
      <p:sp>
        <p:nvSpPr>
          <p:cNvPr id="25" name="Content Placeholder 5">
            <a:extLst>
              <a:ext uri="{FF2B5EF4-FFF2-40B4-BE49-F238E27FC236}">
                <a16:creationId xmlns:a16="http://schemas.microsoft.com/office/drawing/2014/main" id="{39389F11-5654-4E61-A675-3DF6645AA889}"/>
              </a:ext>
            </a:extLst>
          </p:cNvPr>
          <p:cNvSpPr txBox="1">
            <a:spLocks/>
          </p:cNvSpPr>
          <p:nvPr/>
        </p:nvSpPr>
        <p:spPr>
          <a:xfrm>
            <a:off x="5261435" y="1581272"/>
            <a:ext cx="3150755" cy="291600"/>
          </a:xfrm>
          <a:prstGeom prst="rect">
            <a:avLst/>
          </a:prstGeom>
          <a:solidFill>
            <a:srgbClr val="5F2E74"/>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Outcomes </a:t>
            </a:r>
            <a:endParaRPr lang="en-AU" sz="1100" dirty="0">
              <a:solidFill>
                <a:schemeClr val="bg1"/>
              </a:solidFill>
              <a:cs typeface="Calibri"/>
            </a:endParaRPr>
          </a:p>
        </p:txBody>
      </p:sp>
      <p:pic>
        <p:nvPicPr>
          <p:cNvPr id="17" name="Graphic 16" descr="decorative">
            <a:extLst>
              <a:ext uri="{FF2B5EF4-FFF2-40B4-BE49-F238E27FC236}">
                <a16:creationId xmlns:a16="http://schemas.microsoft.com/office/drawing/2014/main" id="{1F61CDC3-8E20-4B13-BD07-76551B448284}"/>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8710578" y="5177594"/>
            <a:ext cx="3139616" cy="1011442"/>
          </a:xfrm>
          <a:prstGeom prst="rect">
            <a:avLst/>
          </a:prstGeom>
        </p:spPr>
      </p:pic>
      <p:pic>
        <p:nvPicPr>
          <p:cNvPr id="18" name="Graphic 17" descr="decorative">
            <a:extLst>
              <a:ext uri="{FF2B5EF4-FFF2-40B4-BE49-F238E27FC236}">
                <a16:creationId xmlns:a16="http://schemas.microsoft.com/office/drawing/2014/main" id="{3E018D77-7744-449B-8EF5-2B3D487D785D}"/>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8506190" y="3717105"/>
            <a:ext cx="3168796" cy="1338531"/>
          </a:xfrm>
          <a:prstGeom prst="rect">
            <a:avLst/>
          </a:prstGeom>
        </p:spPr>
      </p:pic>
      <p:sp>
        <p:nvSpPr>
          <p:cNvPr id="19" name="Content Placeholder 5">
            <a:extLst>
              <a:ext uri="{FF2B5EF4-FFF2-40B4-BE49-F238E27FC236}">
                <a16:creationId xmlns:a16="http://schemas.microsoft.com/office/drawing/2014/main" id="{ECD3064E-D784-4436-B3A7-3DD0D867E590}"/>
              </a:ext>
            </a:extLst>
          </p:cNvPr>
          <p:cNvSpPr txBox="1">
            <a:spLocks/>
          </p:cNvSpPr>
          <p:nvPr/>
        </p:nvSpPr>
        <p:spPr>
          <a:xfrm>
            <a:off x="8554755" y="1591963"/>
            <a:ext cx="3139616" cy="291600"/>
          </a:xfrm>
          <a:prstGeom prst="rect">
            <a:avLst/>
          </a:prstGeom>
          <a:solidFill>
            <a:srgbClr val="5F2E74"/>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looks like … </a:t>
            </a:r>
            <a:endParaRPr lang="en-AU" sz="1100" dirty="0">
              <a:solidFill>
                <a:schemeClr val="bg1"/>
              </a:solidFill>
              <a:cs typeface="Calibri"/>
            </a:endParaRPr>
          </a:p>
        </p:txBody>
      </p:sp>
      <p:pic>
        <p:nvPicPr>
          <p:cNvPr id="21" name="Graphic 20" descr="decorative">
            <a:extLst>
              <a:ext uri="{FF2B5EF4-FFF2-40B4-BE49-F238E27FC236}">
                <a16:creationId xmlns:a16="http://schemas.microsoft.com/office/drawing/2014/main" id="{70722827-C854-4C3C-B646-9A4F25B3E8AD}"/>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flipH="1">
            <a:off x="8554755" y="2078171"/>
            <a:ext cx="3168796" cy="1201529"/>
          </a:xfrm>
          <a:prstGeom prst="rect">
            <a:avLst/>
          </a:prstGeom>
        </p:spPr>
      </p:pic>
      <p:pic>
        <p:nvPicPr>
          <p:cNvPr id="23" name="Graphic 22" descr="decorative">
            <a:extLst>
              <a:ext uri="{FF2B5EF4-FFF2-40B4-BE49-F238E27FC236}">
                <a16:creationId xmlns:a16="http://schemas.microsoft.com/office/drawing/2014/main" id="{8DD89CD9-AFAE-4A5F-86E1-69971E35E45E}"/>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9299110" y="3016756"/>
            <a:ext cx="710725" cy="784830"/>
          </a:xfrm>
          <a:prstGeom prst="rect">
            <a:avLst/>
          </a:prstGeom>
        </p:spPr>
      </p:pic>
      <p:sp>
        <p:nvSpPr>
          <p:cNvPr id="24" name="TextBox 23">
            <a:extLst>
              <a:ext uri="{FF2B5EF4-FFF2-40B4-BE49-F238E27FC236}">
                <a16:creationId xmlns:a16="http://schemas.microsoft.com/office/drawing/2014/main" id="{6877657A-69EE-4324-A62A-9893756A4247}"/>
              </a:ext>
            </a:extLst>
          </p:cNvPr>
          <p:cNvSpPr txBox="1"/>
          <p:nvPr/>
        </p:nvSpPr>
        <p:spPr>
          <a:xfrm>
            <a:off x="8610671" y="2123915"/>
            <a:ext cx="3083703" cy="861774"/>
          </a:xfrm>
          <a:prstGeom prst="rect">
            <a:avLst/>
          </a:prstGeom>
          <a:noFill/>
        </p:spPr>
        <p:txBody>
          <a:bodyPr wrap="square" lIns="91440" tIns="45720" rIns="91440" bIns="45720" rtlCol="0" anchor="t">
            <a:spAutoFit/>
          </a:bodyPr>
          <a:lstStyle/>
          <a:p>
            <a:r>
              <a:rPr lang="en-AU" sz="1000" dirty="0"/>
              <a:t>“As a new staff member, I understand and feel connected to the work the Commission does and how I could practically contribute in a number of different teams, bringing my skills and experience and adapting to the ‘One Commission’ context.”</a:t>
            </a:r>
            <a:endParaRPr lang="en-AU" sz="1000" dirty="0">
              <a:cs typeface="Calibri"/>
            </a:endParaRPr>
          </a:p>
        </p:txBody>
      </p:sp>
      <p:sp>
        <p:nvSpPr>
          <p:cNvPr id="29" name="TextBox 28">
            <a:extLst>
              <a:ext uri="{FF2B5EF4-FFF2-40B4-BE49-F238E27FC236}">
                <a16:creationId xmlns:a16="http://schemas.microsoft.com/office/drawing/2014/main" id="{AA5FD71B-95D6-4E2F-8E86-5BECB396F473}"/>
              </a:ext>
            </a:extLst>
          </p:cNvPr>
          <p:cNvSpPr txBox="1"/>
          <p:nvPr/>
        </p:nvSpPr>
        <p:spPr>
          <a:xfrm>
            <a:off x="9069397" y="5416101"/>
            <a:ext cx="2744800" cy="553998"/>
          </a:xfrm>
          <a:prstGeom prst="rect">
            <a:avLst/>
          </a:prstGeom>
          <a:noFill/>
        </p:spPr>
        <p:txBody>
          <a:bodyPr wrap="square" lIns="91440" tIns="45720" rIns="91440" bIns="45720" rtlCol="0" anchor="t">
            <a:spAutoFit/>
          </a:bodyPr>
          <a:lstStyle/>
          <a:p>
            <a:r>
              <a:rPr lang="en-AU" sz="1000" dirty="0"/>
              <a:t>“As a leader, I have access to a flexible workforce with the skills needed to assist in managing surges in workload.”</a:t>
            </a:r>
            <a:endParaRPr lang="en-AU" sz="1000" dirty="0">
              <a:cs typeface="Calibri"/>
            </a:endParaRPr>
          </a:p>
        </p:txBody>
      </p:sp>
      <p:sp>
        <p:nvSpPr>
          <p:cNvPr id="30" name="TextBox 29">
            <a:extLst>
              <a:ext uri="{FF2B5EF4-FFF2-40B4-BE49-F238E27FC236}">
                <a16:creationId xmlns:a16="http://schemas.microsoft.com/office/drawing/2014/main" id="{CC4DF102-410D-45DD-AD9F-37BB87AAD12F}"/>
              </a:ext>
            </a:extLst>
          </p:cNvPr>
          <p:cNvSpPr txBox="1"/>
          <p:nvPr/>
        </p:nvSpPr>
        <p:spPr>
          <a:xfrm>
            <a:off x="8592102" y="3873143"/>
            <a:ext cx="2835227" cy="950216"/>
          </a:xfrm>
          <a:prstGeom prst="rect">
            <a:avLst/>
          </a:prstGeom>
          <a:noFill/>
        </p:spPr>
        <p:txBody>
          <a:bodyPr wrap="square" lIns="91440" tIns="45720" rIns="91440" bIns="45720" rtlCol="0" anchor="t">
            <a:noAutofit/>
          </a:bodyPr>
          <a:lstStyle/>
          <a:p>
            <a:r>
              <a:rPr lang="en-AU" sz="1000" dirty="0"/>
              <a:t>“While my role is in XXX, I proactively reach out into other areas for the aspects of my work that intersect with other work areas to proactively collaborate and support the consumer experience of those we engage with.”</a:t>
            </a:r>
            <a:endParaRPr lang="en-AU" sz="1000" dirty="0">
              <a:cs typeface="Calibri"/>
            </a:endParaRPr>
          </a:p>
        </p:txBody>
      </p:sp>
      <p:pic>
        <p:nvPicPr>
          <p:cNvPr id="31" name="Graphic 30" descr="decorative">
            <a:extLst>
              <a:ext uri="{FF2B5EF4-FFF2-40B4-BE49-F238E27FC236}">
                <a16:creationId xmlns:a16="http://schemas.microsoft.com/office/drawing/2014/main" id="{4246FD06-F8F1-4027-9BDA-35F1D6EAC3F0}"/>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11083941" y="4370754"/>
            <a:ext cx="730256" cy="790859"/>
          </a:xfrm>
          <a:prstGeom prst="rect">
            <a:avLst/>
          </a:prstGeom>
        </p:spPr>
      </p:pic>
      <p:pic>
        <p:nvPicPr>
          <p:cNvPr id="32" name="Graphic 31" descr="decorative">
            <a:extLst>
              <a:ext uri="{FF2B5EF4-FFF2-40B4-BE49-F238E27FC236}">
                <a16:creationId xmlns:a16="http://schemas.microsoft.com/office/drawing/2014/main" id="{59992E16-F5F5-453A-968E-22D1D1917C44}"/>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8436592" y="5308274"/>
            <a:ext cx="668802" cy="776991"/>
          </a:xfrm>
          <a:prstGeom prst="rect">
            <a:avLst/>
          </a:prstGeom>
        </p:spPr>
      </p:pic>
      <p:sp>
        <p:nvSpPr>
          <p:cNvPr id="33" name="Rectangle: Rounded Corners 32">
            <a:extLst>
              <a:ext uri="{FF2B5EF4-FFF2-40B4-BE49-F238E27FC236}">
                <a16:creationId xmlns:a16="http://schemas.microsoft.com/office/drawing/2014/main" id="{551693EB-EAED-47E6-9AA4-796B9B4CBC1B}"/>
              </a:ext>
            </a:extLst>
          </p:cNvPr>
          <p:cNvSpPr/>
          <p:nvPr/>
        </p:nvSpPr>
        <p:spPr>
          <a:xfrm>
            <a:off x="5272574" y="3547283"/>
            <a:ext cx="529657" cy="29292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white"/>
                </a:solidFill>
                <a:effectLst/>
                <a:uLnTx/>
                <a:uFillTx/>
                <a:latin typeface="Calibri" panose="020F0502020204030204"/>
                <a:ea typeface="+mn-ea"/>
                <a:cs typeface="+mn-cs"/>
              </a:rPr>
              <a:t>+Icon</a:t>
            </a:r>
          </a:p>
        </p:txBody>
      </p:sp>
      <p:sp>
        <p:nvSpPr>
          <p:cNvPr id="34" name="Rectangle: Rounded Corners 33">
            <a:extLst>
              <a:ext uri="{FF2B5EF4-FFF2-40B4-BE49-F238E27FC236}">
                <a16:creationId xmlns:a16="http://schemas.microsoft.com/office/drawing/2014/main" id="{0AAD6EE9-66FA-4445-8CF1-05A23E984F2A}"/>
              </a:ext>
            </a:extLst>
          </p:cNvPr>
          <p:cNvSpPr/>
          <p:nvPr/>
        </p:nvSpPr>
        <p:spPr>
          <a:xfrm>
            <a:off x="5272573" y="4470174"/>
            <a:ext cx="529657" cy="29292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white"/>
                </a:solidFill>
                <a:effectLst/>
                <a:uLnTx/>
                <a:uFillTx/>
                <a:latin typeface="Calibri" panose="020F0502020204030204"/>
                <a:ea typeface="+mn-ea"/>
                <a:cs typeface="+mn-cs"/>
              </a:rPr>
              <a:t>+Icon</a:t>
            </a:r>
          </a:p>
        </p:txBody>
      </p:sp>
      <p:sp>
        <p:nvSpPr>
          <p:cNvPr id="36" name="Rectangle: Rounded Corners 35">
            <a:extLst>
              <a:ext uri="{FF2B5EF4-FFF2-40B4-BE49-F238E27FC236}">
                <a16:creationId xmlns:a16="http://schemas.microsoft.com/office/drawing/2014/main" id="{0DFDB146-3F71-4820-A58A-B119C1888A8C}"/>
              </a:ext>
            </a:extLst>
          </p:cNvPr>
          <p:cNvSpPr/>
          <p:nvPr/>
        </p:nvSpPr>
        <p:spPr>
          <a:xfrm>
            <a:off x="5272573" y="5069646"/>
            <a:ext cx="529657" cy="29292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white"/>
                </a:solidFill>
                <a:effectLst/>
                <a:uLnTx/>
                <a:uFillTx/>
                <a:latin typeface="Calibri" panose="020F0502020204030204"/>
                <a:ea typeface="+mn-ea"/>
                <a:cs typeface="+mn-cs"/>
              </a:rPr>
              <a:t>+Icon</a:t>
            </a:r>
          </a:p>
        </p:txBody>
      </p:sp>
      <p:sp>
        <p:nvSpPr>
          <p:cNvPr id="3" name="Rectangle 2">
            <a:extLst>
              <a:ext uri="{FF2B5EF4-FFF2-40B4-BE49-F238E27FC236}">
                <a16:creationId xmlns:a16="http://schemas.microsoft.com/office/drawing/2014/main" id="{67C057B3-7885-45F5-9878-F2C500F0F3E0}"/>
              </a:ext>
            </a:extLst>
          </p:cNvPr>
          <p:cNvSpPr/>
          <p:nvPr/>
        </p:nvSpPr>
        <p:spPr>
          <a:xfrm>
            <a:off x="5261435" y="2455674"/>
            <a:ext cx="585574" cy="3765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37" name="Google Shape;752;g12f6fb1d8b0_2_59">
            <a:extLst>
              <a:ext uri="{FF2B5EF4-FFF2-40B4-BE49-F238E27FC236}">
                <a16:creationId xmlns:a16="http://schemas.microsoft.com/office/drawing/2014/main" id="{48E8219E-8E21-48BE-9F2C-E91A51B7F032}"/>
              </a:ext>
            </a:extLst>
          </p:cNvPr>
          <p:cNvGrpSpPr/>
          <p:nvPr/>
        </p:nvGrpSpPr>
        <p:grpSpPr>
          <a:xfrm>
            <a:off x="5382046" y="2126480"/>
            <a:ext cx="338377" cy="372023"/>
            <a:chOff x="6781331" y="3885369"/>
            <a:chExt cx="404018" cy="443952"/>
          </a:xfrm>
          <a:solidFill>
            <a:schemeClr val="tx2"/>
          </a:solidFill>
        </p:grpSpPr>
        <p:sp>
          <p:nvSpPr>
            <p:cNvPr id="38" name="Google Shape;753;g12f6fb1d8b0_2_59">
              <a:extLst>
                <a:ext uri="{FF2B5EF4-FFF2-40B4-BE49-F238E27FC236}">
                  <a16:creationId xmlns:a16="http://schemas.microsoft.com/office/drawing/2014/main" id="{F08EF8E9-A61A-40ED-A56F-C36A0EDA2387}"/>
                </a:ext>
              </a:extLst>
            </p:cNvPr>
            <p:cNvSpPr/>
            <p:nvPr/>
          </p:nvSpPr>
          <p:spPr>
            <a:xfrm>
              <a:off x="6877033" y="3938058"/>
              <a:ext cx="166831" cy="177281"/>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39" name="Google Shape;754;g12f6fb1d8b0_2_59">
              <a:extLst>
                <a:ext uri="{FF2B5EF4-FFF2-40B4-BE49-F238E27FC236}">
                  <a16:creationId xmlns:a16="http://schemas.microsoft.com/office/drawing/2014/main" id="{9060B501-CE92-413B-ACAC-D50E3594D7B4}"/>
                </a:ext>
              </a:extLst>
            </p:cNvPr>
            <p:cNvSpPr/>
            <p:nvPr/>
          </p:nvSpPr>
          <p:spPr>
            <a:xfrm>
              <a:off x="6781331" y="3885369"/>
              <a:ext cx="404018" cy="443952"/>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grpSp>
        <p:nvGrpSpPr>
          <p:cNvPr id="40" name="Google Shape;755;g12f6fb1d8b0_2_59">
            <a:extLst>
              <a:ext uri="{FF2B5EF4-FFF2-40B4-BE49-F238E27FC236}">
                <a16:creationId xmlns:a16="http://schemas.microsoft.com/office/drawing/2014/main" id="{930B39DB-0D68-4EFC-AB1D-7E7FA673FD3F}"/>
              </a:ext>
            </a:extLst>
          </p:cNvPr>
          <p:cNvGrpSpPr/>
          <p:nvPr/>
        </p:nvGrpSpPr>
        <p:grpSpPr>
          <a:xfrm>
            <a:off x="5412702" y="3256605"/>
            <a:ext cx="307101" cy="309460"/>
            <a:chOff x="5565523" y="2637371"/>
            <a:chExt cx="398873" cy="401892"/>
          </a:xfrm>
          <a:solidFill>
            <a:schemeClr val="tx2"/>
          </a:solidFill>
        </p:grpSpPr>
        <p:sp>
          <p:nvSpPr>
            <p:cNvPr id="41" name="Google Shape;756;g12f6fb1d8b0_2_59">
              <a:extLst>
                <a:ext uri="{FF2B5EF4-FFF2-40B4-BE49-F238E27FC236}">
                  <a16:creationId xmlns:a16="http://schemas.microsoft.com/office/drawing/2014/main" id="{D6D216D5-9F1D-4BE7-A91D-0BE77CE96CF5}"/>
                </a:ext>
              </a:extLst>
            </p:cNvPr>
            <p:cNvSpPr/>
            <p:nvPr/>
          </p:nvSpPr>
          <p:spPr>
            <a:xfrm>
              <a:off x="5565523" y="2850609"/>
              <a:ext cx="398873" cy="188654"/>
            </a:xfrm>
            <a:custGeom>
              <a:avLst/>
              <a:gdLst/>
              <a:ahLst/>
              <a:cxnLst/>
              <a:rect l="l" t="t" r="r" b="b"/>
              <a:pathLst>
                <a:path w="398873" h="188654" extrusionOk="0">
                  <a:moveTo>
                    <a:pt x="398417" y="105871"/>
                  </a:moveTo>
                  <a:cubicBezTo>
                    <a:pt x="396663" y="96323"/>
                    <a:pt x="394256" y="86905"/>
                    <a:pt x="391202" y="77693"/>
                  </a:cubicBezTo>
                  <a:lnTo>
                    <a:pt x="390704" y="76511"/>
                  </a:lnTo>
                  <a:lnTo>
                    <a:pt x="389771" y="75640"/>
                  </a:lnTo>
                  <a:cubicBezTo>
                    <a:pt x="384483" y="70788"/>
                    <a:pt x="384359" y="70664"/>
                    <a:pt x="274133" y="81860"/>
                  </a:cubicBezTo>
                  <a:cubicBezTo>
                    <a:pt x="273698" y="70365"/>
                    <a:pt x="264865" y="60947"/>
                    <a:pt x="253419" y="59778"/>
                  </a:cubicBezTo>
                  <a:lnTo>
                    <a:pt x="140519" y="46591"/>
                  </a:lnTo>
                  <a:lnTo>
                    <a:pt x="123040" y="33030"/>
                  </a:lnTo>
                  <a:lnTo>
                    <a:pt x="0" y="0"/>
                  </a:lnTo>
                  <a:lnTo>
                    <a:pt x="0" y="153457"/>
                  </a:lnTo>
                  <a:lnTo>
                    <a:pt x="9891" y="156381"/>
                  </a:lnTo>
                  <a:cubicBezTo>
                    <a:pt x="40993" y="165587"/>
                    <a:pt x="90756" y="180765"/>
                    <a:pt x="104627" y="185555"/>
                  </a:cubicBezTo>
                  <a:cubicBezTo>
                    <a:pt x="109772" y="188161"/>
                    <a:pt x="115581" y="189156"/>
                    <a:pt x="121298" y="188416"/>
                  </a:cubicBezTo>
                  <a:lnTo>
                    <a:pt x="131064" y="188416"/>
                  </a:lnTo>
                  <a:lnTo>
                    <a:pt x="168947" y="187794"/>
                  </a:lnTo>
                  <a:lnTo>
                    <a:pt x="223872" y="186550"/>
                  </a:lnTo>
                  <a:lnTo>
                    <a:pt x="225925" y="186550"/>
                  </a:lnTo>
                  <a:lnTo>
                    <a:pt x="382306" y="134050"/>
                  </a:lnTo>
                  <a:cubicBezTo>
                    <a:pt x="393907" y="129938"/>
                    <a:pt x="400756" y="117957"/>
                    <a:pt x="398417" y="105871"/>
                  </a:cubicBezTo>
                  <a:close/>
                  <a:moveTo>
                    <a:pt x="27556" y="36452"/>
                  </a:moveTo>
                  <a:lnTo>
                    <a:pt x="110537" y="58720"/>
                  </a:lnTo>
                  <a:lnTo>
                    <a:pt x="129758" y="73587"/>
                  </a:lnTo>
                  <a:lnTo>
                    <a:pt x="246515" y="87148"/>
                  </a:lnTo>
                  <a:lnTo>
                    <a:pt x="246515" y="104938"/>
                  </a:lnTo>
                  <a:lnTo>
                    <a:pt x="122107" y="104938"/>
                  </a:lnTo>
                  <a:lnTo>
                    <a:pt x="122107" y="132743"/>
                  </a:lnTo>
                  <a:lnTo>
                    <a:pt x="247137" y="132743"/>
                  </a:lnTo>
                  <a:cubicBezTo>
                    <a:pt x="260274" y="132638"/>
                    <a:pt x="271415" y="123071"/>
                    <a:pt x="273512" y="110101"/>
                  </a:cubicBezTo>
                  <a:cubicBezTo>
                    <a:pt x="306480" y="106742"/>
                    <a:pt x="349027" y="102388"/>
                    <a:pt x="369181" y="100646"/>
                  </a:cubicBezTo>
                  <a:cubicBezTo>
                    <a:pt x="369617" y="102885"/>
                    <a:pt x="370177" y="105498"/>
                    <a:pt x="370798" y="108608"/>
                  </a:cubicBezTo>
                  <a:lnTo>
                    <a:pt x="221135" y="158931"/>
                  </a:lnTo>
                  <a:cubicBezTo>
                    <a:pt x="183813" y="159802"/>
                    <a:pt x="127021" y="161046"/>
                    <a:pt x="116322" y="160860"/>
                  </a:cubicBezTo>
                  <a:cubicBezTo>
                    <a:pt x="106120" y="156381"/>
                    <a:pt x="84473" y="149850"/>
                    <a:pt x="27556" y="13293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2" name="Google Shape;757;g12f6fb1d8b0_2_59">
              <a:extLst>
                <a:ext uri="{FF2B5EF4-FFF2-40B4-BE49-F238E27FC236}">
                  <a16:creationId xmlns:a16="http://schemas.microsoft.com/office/drawing/2014/main" id="{69C47D7B-A634-4448-9802-142E8B3E02FE}"/>
                </a:ext>
              </a:extLst>
            </p:cNvPr>
            <p:cNvSpPr/>
            <p:nvPr/>
          </p:nvSpPr>
          <p:spPr>
            <a:xfrm>
              <a:off x="5675997" y="2637371"/>
              <a:ext cx="119805" cy="119805"/>
            </a:xfrm>
            <a:custGeom>
              <a:avLst/>
              <a:gdLst/>
              <a:ahLst/>
              <a:cxnLst/>
              <a:rect l="l" t="t" r="r" b="b"/>
              <a:pathLst>
                <a:path w="119805" h="119805" extrusionOk="0">
                  <a:moveTo>
                    <a:pt x="59903" y="119805"/>
                  </a:moveTo>
                  <a:cubicBezTo>
                    <a:pt x="92983" y="119805"/>
                    <a:pt x="119805" y="92989"/>
                    <a:pt x="119805" y="59902"/>
                  </a:cubicBezTo>
                  <a:cubicBezTo>
                    <a:pt x="119805" y="26816"/>
                    <a:pt x="92983" y="0"/>
                    <a:pt x="59903" y="0"/>
                  </a:cubicBezTo>
                  <a:cubicBezTo>
                    <a:pt x="26822" y="0"/>
                    <a:pt x="0" y="26816"/>
                    <a:pt x="0" y="59902"/>
                  </a:cubicBezTo>
                  <a:cubicBezTo>
                    <a:pt x="31" y="92970"/>
                    <a:pt x="26835" y="119768"/>
                    <a:pt x="59903" y="119805"/>
                  </a:cubicBezTo>
                  <a:close/>
                  <a:moveTo>
                    <a:pt x="25877" y="59902"/>
                  </a:moveTo>
                  <a:cubicBezTo>
                    <a:pt x="25877" y="41111"/>
                    <a:pt x="41111" y="25877"/>
                    <a:pt x="59903" y="25877"/>
                  </a:cubicBezTo>
                  <a:cubicBezTo>
                    <a:pt x="78694" y="25877"/>
                    <a:pt x="93928" y="41111"/>
                    <a:pt x="93928" y="59902"/>
                  </a:cubicBezTo>
                  <a:cubicBezTo>
                    <a:pt x="93928" y="78694"/>
                    <a:pt x="78694" y="93928"/>
                    <a:pt x="59903" y="93928"/>
                  </a:cubicBezTo>
                  <a:cubicBezTo>
                    <a:pt x="41123" y="93891"/>
                    <a:pt x="25914" y="78682"/>
                    <a:pt x="25877" y="5990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3" name="Google Shape;758;g12f6fb1d8b0_2_59">
              <a:extLst>
                <a:ext uri="{FF2B5EF4-FFF2-40B4-BE49-F238E27FC236}">
                  <a16:creationId xmlns:a16="http://schemas.microsoft.com/office/drawing/2014/main" id="{D2F26EC3-115B-44B5-AD66-2BA45780BDB6}"/>
                </a:ext>
              </a:extLst>
            </p:cNvPr>
            <p:cNvSpPr/>
            <p:nvPr/>
          </p:nvSpPr>
          <p:spPr>
            <a:xfrm>
              <a:off x="5575040" y="2684272"/>
              <a:ext cx="101019" cy="101019"/>
            </a:xfrm>
            <a:custGeom>
              <a:avLst/>
              <a:gdLst/>
              <a:ahLst/>
              <a:cxnLst/>
              <a:rect l="l" t="t" r="r" b="b"/>
              <a:pathLst>
                <a:path w="101019" h="101019" extrusionOk="0">
                  <a:moveTo>
                    <a:pt x="50572" y="101020"/>
                  </a:moveTo>
                  <a:cubicBezTo>
                    <a:pt x="78470" y="100982"/>
                    <a:pt x="101057" y="78346"/>
                    <a:pt x="101019" y="50448"/>
                  </a:cubicBezTo>
                  <a:cubicBezTo>
                    <a:pt x="100988" y="22549"/>
                    <a:pt x="78346" y="-37"/>
                    <a:pt x="50447" y="0"/>
                  </a:cubicBezTo>
                  <a:cubicBezTo>
                    <a:pt x="22574" y="37"/>
                    <a:pt x="0" y="22636"/>
                    <a:pt x="0" y="50510"/>
                  </a:cubicBezTo>
                  <a:cubicBezTo>
                    <a:pt x="37" y="78415"/>
                    <a:pt x="22667" y="101020"/>
                    <a:pt x="50572" y="101020"/>
                  </a:cubicBezTo>
                  <a:close/>
                  <a:moveTo>
                    <a:pt x="25690" y="50510"/>
                  </a:moveTo>
                  <a:cubicBezTo>
                    <a:pt x="25690" y="36769"/>
                    <a:pt x="36831" y="25628"/>
                    <a:pt x="50572" y="25628"/>
                  </a:cubicBezTo>
                  <a:cubicBezTo>
                    <a:pt x="64313" y="25628"/>
                    <a:pt x="75454" y="36769"/>
                    <a:pt x="75454" y="50510"/>
                  </a:cubicBezTo>
                  <a:cubicBezTo>
                    <a:pt x="75454" y="64251"/>
                    <a:pt x="64313" y="75391"/>
                    <a:pt x="50572" y="75391"/>
                  </a:cubicBezTo>
                  <a:cubicBezTo>
                    <a:pt x="36931" y="75255"/>
                    <a:pt x="25939" y="64157"/>
                    <a:pt x="25939" y="5051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4" name="Google Shape;759;g12f6fb1d8b0_2_59">
              <a:extLst>
                <a:ext uri="{FF2B5EF4-FFF2-40B4-BE49-F238E27FC236}">
                  <a16:creationId xmlns:a16="http://schemas.microsoft.com/office/drawing/2014/main" id="{9523E732-5E4F-4CB4-87FB-91DCEC04FB63}"/>
                </a:ext>
              </a:extLst>
            </p:cNvPr>
            <p:cNvSpPr/>
            <p:nvPr/>
          </p:nvSpPr>
          <p:spPr>
            <a:xfrm>
              <a:off x="5795740" y="2684272"/>
              <a:ext cx="101019" cy="101019"/>
            </a:xfrm>
            <a:custGeom>
              <a:avLst/>
              <a:gdLst/>
              <a:ahLst/>
              <a:cxnLst/>
              <a:rect l="l" t="t" r="r" b="b"/>
              <a:pathLst>
                <a:path w="101019" h="101019" extrusionOk="0">
                  <a:moveTo>
                    <a:pt x="50510" y="101019"/>
                  </a:moveTo>
                  <a:cubicBezTo>
                    <a:pt x="78408" y="101019"/>
                    <a:pt x="101019" y="78408"/>
                    <a:pt x="101019" y="50510"/>
                  </a:cubicBezTo>
                  <a:cubicBezTo>
                    <a:pt x="101019" y="22611"/>
                    <a:pt x="78408" y="0"/>
                    <a:pt x="50510" y="0"/>
                  </a:cubicBezTo>
                  <a:cubicBezTo>
                    <a:pt x="22611" y="0"/>
                    <a:pt x="0" y="22611"/>
                    <a:pt x="0" y="50510"/>
                  </a:cubicBezTo>
                  <a:cubicBezTo>
                    <a:pt x="31" y="78390"/>
                    <a:pt x="22630" y="100982"/>
                    <a:pt x="50510" y="101019"/>
                  </a:cubicBezTo>
                  <a:close/>
                  <a:moveTo>
                    <a:pt x="50510" y="25877"/>
                  </a:moveTo>
                  <a:cubicBezTo>
                    <a:pt x="64250" y="25877"/>
                    <a:pt x="75391" y="37018"/>
                    <a:pt x="75391" y="50759"/>
                  </a:cubicBezTo>
                  <a:cubicBezTo>
                    <a:pt x="75391" y="64499"/>
                    <a:pt x="64250" y="75640"/>
                    <a:pt x="50510" y="75640"/>
                  </a:cubicBezTo>
                  <a:cubicBezTo>
                    <a:pt x="36769" y="75640"/>
                    <a:pt x="25628" y="64499"/>
                    <a:pt x="25628" y="50759"/>
                  </a:cubicBezTo>
                  <a:cubicBezTo>
                    <a:pt x="25628" y="37018"/>
                    <a:pt x="36769" y="25877"/>
                    <a:pt x="50510" y="2587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5" name="Google Shape;760;g12f6fb1d8b0_2_59">
              <a:extLst>
                <a:ext uri="{FF2B5EF4-FFF2-40B4-BE49-F238E27FC236}">
                  <a16:creationId xmlns:a16="http://schemas.microsoft.com/office/drawing/2014/main" id="{51AAD2BA-7138-4DF5-91EE-DB9BB0472A6B}"/>
                </a:ext>
              </a:extLst>
            </p:cNvPr>
            <p:cNvSpPr/>
            <p:nvPr/>
          </p:nvSpPr>
          <p:spPr>
            <a:xfrm>
              <a:off x="5575413" y="2774594"/>
              <a:ext cx="321035" cy="118932"/>
            </a:xfrm>
            <a:custGeom>
              <a:avLst/>
              <a:gdLst/>
              <a:ahLst/>
              <a:cxnLst/>
              <a:rect l="l" t="t" r="r" b="b"/>
              <a:pathLst>
                <a:path w="321035" h="118932" extrusionOk="0">
                  <a:moveTo>
                    <a:pt x="256592" y="21148"/>
                  </a:moveTo>
                  <a:cubicBezTo>
                    <a:pt x="250477" y="21142"/>
                    <a:pt x="244363" y="21552"/>
                    <a:pt x="238304" y="22392"/>
                  </a:cubicBezTo>
                  <a:lnTo>
                    <a:pt x="238304" y="19717"/>
                  </a:lnTo>
                  <a:lnTo>
                    <a:pt x="231337" y="16109"/>
                  </a:lnTo>
                  <a:cubicBezTo>
                    <a:pt x="186569" y="-5152"/>
                    <a:pt x="134653" y="-5376"/>
                    <a:pt x="89698" y="15487"/>
                  </a:cubicBezTo>
                  <a:lnTo>
                    <a:pt x="82545" y="19095"/>
                  </a:lnTo>
                  <a:lnTo>
                    <a:pt x="82545" y="22330"/>
                  </a:lnTo>
                  <a:cubicBezTo>
                    <a:pt x="76542" y="21546"/>
                    <a:pt x="70496" y="21148"/>
                    <a:pt x="64443" y="21148"/>
                  </a:cubicBezTo>
                  <a:cubicBezTo>
                    <a:pt x="44619" y="20800"/>
                    <a:pt x="24987" y="25060"/>
                    <a:pt x="7091" y="33589"/>
                  </a:cubicBezTo>
                  <a:lnTo>
                    <a:pt x="0" y="37197"/>
                  </a:lnTo>
                  <a:lnTo>
                    <a:pt x="0" y="118933"/>
                  </a:lnTo>
                  <a:lnTo>
                    <a:pt x="321035" y="118933"/>
                  </a:lnTo>
                  <a:lnTo>
                    <a:pt x="321035" y="37383"/>
                  </a:lnTo>
                  <a:lnTo>
                    <a:pt x="313882" y="33838"/>
                  </a:lnTo>
                  <a:cubicBezTo>
                    <a:pt x="296035" y="25204"/>
                    <a:pt x="276416" y="20856"/>
                    <a:pt x="256592" y="21148"/>
                  </a:cubicBezTo>
                  <a:close/>
                  <a:moveTo>
                    <a:pt x="25877" y="93242"/>
                  </a:moveTo>
                  <a:lnTo>
                    <a:pt x="25877" y="53743"/>
                  </a:lnTo>
                  <a:cubicBezTo>
                    <a:pt x="44009" y="47205"/>
                    <a:pt x="63510" y="45383"/>
                    <a:pt x="82545" y="48455"/>
                  </a:cubicBezTo>
                  <a:lnTo>
                    <a:pt x="82545" y="93242"/>
                  </a:lnTo>
                  <a:close/>
                  <a:moveTo>
                    <a:pt x="108608" y="93242"/>
                  </a:moveTo>
                  <a:lnTo>
                    <a:pt x="108608" y="35330"/>
                  </a:lnTo>
                  <a:cubicBezTo>
                    <a:pt x="142068" y="22554"/>
                    <a:pt x="179092" y="22728"/>
                    <a:pt x="212427" y="35828"/>
                  </a:cubicBezTo>
                  <a:lnTo>
                    <a:pt x="212427" y="93242"/>
                  </a:lnTo>
                  <a:close/>
                  <a:moveTo>
                    <a:pt x="238304" y="93242"/>
                  </a:moveTo>
                  <a:lnTo>
                    <a:pt x="238304" y="48455"/>
                  </a:lnTo>
                  <a:cubicBezTo>
                    <a:pt x="257401" y="45370"/>
                    <a:pt x="276970" y="47211"/>
                    <a:pt x="295158" y="53805"/>
                  </a:cubicBezTo>
                  <a:lnTo>
                    <a:pt x="295158" y="9324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grpSp>
        <p:nvGrpSpPr>
          <p:cNvPr id="49" name="Google Shape;769;g12f6fb1d8b0_2_59">
            <a:extLst>
              <a:ext uri="{FF2B5EF4-FFF2-40B4-BE49-F238E27FC236}">
                <a16:creationId xmlns:a16="http://schemas.microsoft.com/office/drawing/2014/main" id="{E1028F76-6857-465B-92F2-75D4900D4DFC}"/>
              </a:ext>
            </a:extLst>
          </p:cNvPr>
          <p:cNvGrpSpPr/>
          <p:nvPr/>
        </p:nvGrpSpPr>
        <p:grpSpPr>
          <a:xfrm>
            <a:off x="5376422" y="4766425"/>
            <a:ext cx="333975" cy="299897"/>
            <a:chOff x="445465" y="694607"/>
            <a:chExt cx="386373" cy="353879"/>
          </a:xfrm>
          <a:solidFill>
            <a:schemeClr val="tx2"/>
          </a:solidFill>
        </p:grpSpPr>
        <p:sp>
          <p:nvSpPr>
            <p:cNvPr id="50" name="Google Shape;770;g12f6fb1d8b0_2_59">
              <a:extLst>
                <a:ext uri="{FF2B5EF4-FFF2-40B4-BE49-F238E27FC236}">
                  <a16:creationId xmlns:a16="http://schemas.microsoft.com/office/drawing/2014/main" id="{A9BFEBD7-C23F-42D1-9539-710A7927A2A9}"/>
                </a:ext>
              </a:extLst>
            </p:cNvPr>
            <p:cNvSpPr/>
            <p:nvPr/>
          </p:nvSpPr>
          <p:spPr>
            <a:xfrm>
              <a:off x="445465" y="821771"/>
              <a:ext cx="362947" cy="226715"/>
            </a:xfrm>
            <a:custGeom>
              <a:avLst/>
              <a:gdLst/>
              <a:ahLst/>
              <a:cxnLst/>
              <a:rect l="l" t="t" r="r" b="b"/>
              <a:pathLst>
                <a:path w="362947" h="226715" extrusionOk="0">
                  <a:moveTo>
                    <a:pt x="340617" y="138466"/>
                  </a:moveTo>
                  <a:cubicBezTo>
                    <a:pt x="297196" y="203327"/>
                    <a:pt x="209417" y="220708"/>
                    <a:pt x="144556" y="177288"/>
                  </a:cubicBezTo>
                  <a:cubicBezTo>
                    <a:pt x="105366" y="151053"/>
                    <a:pt x="81846" y="107000"/>
                    <a:pt x="81848" y="59840"/>
                  </a:cubicBezTo>
                  <a:lnTo>
                    <a:pt x="81848" y="48270"/>
                  </a:lnTo>
                  <a:lnTo>
                    <a:pt x="81848" y="48270"/>
                  </a:lnTo>
                  <a:lnTo>
                    <a:pt x="117366" y="84038"/>
                  </a:lnTo>
                  <a:cubicBezTo>
                    <a:pt x="122313" y="88985"/>
                    <a:pt x="130334" y="88985"/>
                    <a:pt x="135281" y="84038"/>
                  </a:cubicBezTo>
                  <a:cubicBezTo>
                    <a:pt x="140228" y="79091"/>
                    <a:pt x="140228" y="71070"/>
                    <a:pt x="135281" y="66123"/>
                  </a:cubicBezTo>
                  <a:lnTo>
                    <a:pt x="69220" y="0"/>
                  </a:lnTo>
                  <a:lnTo>
                    <a:pt x="3719" y="65376"/>
                  </a:lnTo>
                  <a:cubicBezTo>
                    <a:pt x="-1228" y="70306"/>
                    <a:pt x="-1241" y="78313"/>
                    <a:pt x="3688" y="83260"/>
                  </a:cubicBezTo>
                  <a:cubicBezTo>
                    <a:pt x="8618" y="88207"/>
                    <a:pt x="16625" y="88221"/>
                    <a:pt x="21572" y="83291"/>
                  </a:cubicBezTo>
                  <a:lnTo>
                    <a:pt x="56406" y="48270"/>
                  </a:lnTo>
                  <a:lnTo>
                    <a:pt x="56406" y="48270"/>
                  </a:lnTo>
                  <a:lnTo>
                    <a:pt x="56406" y="59840"/>
                  </a:lnTo>
                  <a:cubicBezTo>
                    <a:pt x="56244" y="151841"/>
                    <a:pt x="130695" y="226553"/>
                    <a:pt x="222696" y="226715"/>
                  </a:cubicBezTo>
                  <a:cubicBezTo>
                    <a:pt x="279373" y="226815"/>
                    <a:pt x="332212" y="198091"/>
                    <a:pt x="362948" y="150472"/>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rgbClr val="000000"/>
                </a:solidFill>
                <a:latin typeface="Arial"/>
                <a:ea typeface="Arial"/>
                <a:cs typeface="Arial"/>
                <a:sym typeface="Arial"/>
              </a:endParaRPr>
            </a:p>
          </p:txBody>
        </p:sp>
        <p:sp>
          <p:nvSpPr>
            <p:cNvPr id="51" name="Google Shape;771;g12f6fb1d8b0_2_59">
              <a:extLst>
                <a:ext uri="{FF2B5EF4-FFF2-40B4-BE49-F238E27FC236}">
                  <a16:creationId xmlns:a16="http://schemas.microsoft.com/office/drawing/2014/main" id="{C4091D55-BFB7-4555-8AC2-A7EDD5FD21D5}"/>
                </a:ext>
              </a:extLst>
            </p:cNvPr>
            <p:cNvSpPr/>
            <p:nvPr/>
          </p:nvSpPr>
          <p:spPr>
            <a:xfrm>
              <a:off x="468859" y="694607"/>
              <a:ext cx="362979" cy="226562"/>
            </a:xfrm>
            <a:custGeom>
              <a:avLst/>
              <a:gdLst/>
              <a:ahLst/>
              <a:cxnLst/>
              <a:rect l="l" t="t" r="r" b="b"/>
              <a:pathLst>
                <a:path w="362979" h="226561" extrusionOk="0">
                  <a:moveTo>
                    <a:pt x="22331" y="87970"/>
                  </a:moveTo>
                  <a:cubicBezTo>
                    <a:pt x="65752" y="23110"/>
                    <a:pt x="153531" y="5728"/>
                    <a:pt x="218392" y="49149"/>
                  </a:cubicBezTo>
                  <a:cubicBezTo>
                    <a:pt x="257545" y="75358"/>
                    <a:pt x="281061" y="119356"/>
                    <a:pt x="281100" y="166472"/>
                  </a:cubicBezTo>
                  <a:lnTo>
                    <a:pt x="281100" y="177980"/>
                  </a:lnTo>
                  <a:lnTo>
                    <a:pt x="281100" y="177980"/>
                  </a:lnTo>
                  <a:lnTo>
                    <a:pt x="245644" y="142275"/>
                  </a:lnTo>
                  <a:cubicBezTo>
                    <a:pt x="240679" y="137327"/>
                    <a:pt x="232645" y="137341"/>
                    <a:pt x="227698" y="142306"/>
                  </a:cubicBezTo>
                  <a:cubicBezTo>
                    <a:pt x="222751" y="147270"/>
                    <a:pt x="222765" y="155304"/>
                    <a:pt x="227729" y="160251"/>
                  </a:cubicBezTo>
                  <a:lnTo>
                    <a:pt x="293790" y="226561"/>
                  </a:lnTo>
                  <a:lnTo>
                    <a:pt x="359291" y="160998"/>
                  </a:lnTo>
                  <a:cubicBezTo>
                    <a:pt x="364224" y="156051"/>
                    <a:pt x="364205" y="148044"/>
                    <a:pt x="359260" y="143114"/>
                  </a:cubicBezTo>
                  <a:cubicBezTo>
                    <a:pt x="354314" y="138185"/>
                    <a:pt x="346309" y="138198"/>
                    <a:pt x="341376" y="143145"/>
                  </a:cubicBezTo>
                  <a:lnTo>
                    <a:pt x="306417" y="178104"/>
                  </a:lnTo>
                  <a:lnTo>
                    <a:pt x="306417" y="178104"/>
                  </a:lnTo>
                  <a:lnTo>
                    <a:pt x="306417" y="166472"/>
                  </a:lnTo>
                  <a:cubicBezTo>
                    <a:pt x="306322" y="74437"/>
                    <a:pt x="231636" y="-96"/>
                    <a:pt x="139600" y="0"/>
                  </a:cubicBezTo>
                  <a:cubicBezTo>
                    <a:pt x="83223" y="59"/>
                    <a:pt x="30698" y="28617"/>
                    <a:pt x="0" y="75903"/>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rgbClr val="000000"/>
                </a:solidFill>
                <a:latin typeface="Arial"/>
                <a:ea typeface="Arial"/>
                <a:cs typeface="Arial"/>
                <a:sym typeface="Arial"/>
              </a:endParaRPr>
            </a:p>
          </p:txBody>
        </p:sp>
      </p:grpSp>
      <p:sp>
        <p:nvSpPr>
          <p:cNvPr id="52" name="Google Shape;768;g12f6fb1d8b0_2_59">
            <a:extLst>
              <a:ext uri="{FF2B5EF4-FFF2-40B4-BE49-F238E27FC236}">
                <a16:creationId xmlns:a16="http://schemas.microsoft.com/office/drawing/2014/main" id="{D0BA2879-3663-4B89-94BC-AFA3BDEACAB4}"/>
              </a:ext>
            </a:extLst>
          </p:cNvPr>
          <p:cNvSpPr/>
          <p:nvPr/>
        </p:nvSpPr>
        <p:spPr>
          <a:xfrm>
            <a:off x="5351592" y="5307476"/>
            <a:ext cx="365632" cy="365632"/>
          </a:xfrm>
          <a:custGeom>
            <a:avLst/>
            <a:gdLst/>
            <a:ahLst/>
            <a:cxnLst/>
            <a:rect l="l" t="t" r="r" b="b"/>
            <a:pathLst>
              <a:path w="447869" h="447869" extrusionOk="0">
                <a:moveTo>
                  <a:pt x="223935" y="27992"/>
                </a:moveTo>
                <a:cubicBezTo>
                  <a:pt x="332151" y="27992"/>
                  <a:pt x="419878" y="115718"/>
                  <a:pt x="419878" y="223935"/>
                </a:cubicBezTo>
                <a:cubicBezTo>
                  <a:pt x="419878" y="332151"/>
                  <a:pt x="332151" y="419878"/>
                  <a:pt x="223935" y="419878"/>
                </a:cubicBezTo>
                <a:cubicBezTo>
                  <a:pt x="115718" y="419878"/>
                  <a:pt x="27992" y="332151"/>
                  <a:pt x="27992" y="223935"/>
                </a:cubicBezTo>
                <a:cubicBezTo>
                  <a:pt x="28094" y="115762"/>
                  <a:pt x="115761" y="28098"/>
                  <a:pt x="223935" y="27992"/>
                </a:cubicBezTo>
                <a:moveTo>
                  <a:pt x="223935" y="0"/>
                </a:moveTo>
                <a:cubicBezTo>
                  <a:pt x="100259" y="0"/>
                  <a:pt x="0" y="100261"/>
                  <a:pt x="0" y="223935"/>
                </a:cubicBezTo>
                <a:cubicBezTo>
                  <a:pt x="0" y="347609"/>
                  <a:pt x="100259" y="447869"/>
                  <a:pt x="223935" y="447869"/>
                </a:cubicBezTo>
                <a:cubicBezTo>
                  <a:pt x="347610" y="447869"/>
                  <a:pt x="447869" y="347609"/>
                  <a:pt x="447869" y="223935"/>
                </a:cubicBezTo>
                <a:cubicBezTo>
                  <a:pt x="447869" y="100261"/>
                  <a:pt x="347610" y="0"/>
                  <a:pt x="223935" y="0"/>
                </a:cubicBezTo>
                <a:close/>
                <a:moveTo>
                  <a:pt x="223935" y="85157"/>
                </a:moveTo>
                <a:cubicBezTo>
                  <a:pt x="300561" y="85226"/>
                  <a:pt x="362672" y="147305"/>
                  <a:pt x="362774" y="223935"/>
                </a:cubicBezTo>
                <a:lnTo>
                  <a:pt x="390766" y="223935"/>
                </a:lnTo>
                <a:cubicBezTo>
                  <a:pt x="390766" y="131829"/>
                  <a:pt x="316101" y="57166"/>
                  <a:pt x="223997" y="57166"/>
                </a:cubicBezTo>
                <a:cubicBezTo>
                  <a:pt x="131893" y="57166"/>
                  <a:pt x="57228" y="131829"/>
                  <a:pt x="57228" y="223935"/>
                </a:cubicBezTo>
                <a:lnTo>
                  <a:pt x="85220" y="223935"/>
                </a:lnTo>
                <a:cubicBezTo>
                  <a:pt x="85459" y="147455"/>
                  <a:pt x="147454" y="85543"/>
                  <a:pt x="223935" y="85406"/>
                </a:cubicBezTo>
                <a:close/>
                <a:moveTo>
                  <a:pt x="344735" y="209814"/>
                </a:moveTo>
                <a:lnTo>
                  <a:pt x="273947" y="209814"/>
                </a:lnTo>
                <a:cubicBezTo>
                  <a:pt x="266217" y="182190"/>
                  <a:pt x="237557" y="166060"/>
                  <a:pt x="209932" y="173792"/>
                </a:cubicBezTo>
                <a:cubicBezTo>
                  <a:pt x="182307" y="181524"/>
                  <a:pt x="166179" y="210181"/>
                  <a:pt x="173908" y="237806"/>
                </a:cubicBezTo>
                <a:cubicBezTo>
                  <a:pt x="181638" y="265431"/>
                  <a:pt x="210299" y="281561"/>
                  <a:pt x="237924" y="273829"/>
                </a:cubicBezTo>
                <a:cubicBezTo>
                  <a:pt x="255400" y="268939"/>
                  <a:pt x="269057" y="255286"/>
                  <a:pt x="273947" y="237806"/>
                </a:cubicBezTo>
                <a:lnTo>
                  <a:pt x="344735" y="237806"/>
                </a:lnTo>
                <a:close/>
                <a:moveTo>
                  <a:pt x="223935" y="247759"/>
                </a:moveTo>
                <a:cubicBezTo>
                  <a:pt x="210674" y="247759"/>
                  <a:pt x="199924" y="237010"/>
                  <a:pt x="199924" y="223748"/>
                </a:cubicBezTo>
                <a:cubicBezTo>
                  <a:pt x="199924" y="210486"/>
                  <a:pt x="210674" y="199737"/>
                  <a:pt x="223935" y="199737"/>
                </a:cubicBezTo>
                <a:cubicBezTo>
                  <a:pt x="237195" y="199737"/>
                  <a:pt x="247945" y="210486"/>
                  <a:pt x="247945" y="223748"/>
                </a:cubicBezTo>
                <a:cubicBezTo>
                  <a:pt x="247945" y="223767"/>
                  <a:pt x="247945" y="223792"/>
                  <a:pt x="247945" y="223810"/>
                </a:cubicBezTo>
                <a:cubicBezTo>
                  <a:pt x="247980" y="237072"/>
                  <a:pt x="237258" y="247846"/>
                  <a:pt x="223997" y="247883"/>
                </a:cubicBezTo>
                <a:cubicBezTo>
                  <a:pt x="223976" y="247883"/>
                  <a:pt x="223955" y="247883"/>
                  <a:pt x="223935" y="247883"/>
                </a:cubicBezTo>
                <a:close/>
              </a:path>
            </a:pathLst>
          </a:custGeom>
          <a:solidFill>
            <a:schemeClr val="tx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 name="Rectangle 3">
            <a:extLst>
              <a:ext uri="{FF2B5EF4-FFF2-40B4-BE49-F238E27FC236}">
                <a16:creationId xmlns:a16="http://schemas.microsoft.com/office/drawing/2014/main" id="{7B22F571-AAD7-4094-BCF8-6CA0463A0425}"/>
              </a:ext>
            </a:extLst>
          </p:cNvPr>
          <p:cNvSpPr/>
          <p:nvPr/>
        </p:nvSpPr>
        <p:spPr>
          <a:xfrm>
            <a:off x="5327206" y="2063284"/>
            <a:ext cx="479131" cy="45998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4" name="Rectangle 53">
            <a:extLst>
              <a:ext uri="{FF2B5EF4-FFF2-40B4-BE49-F238E27FC236}">
                <a16:creationId xmlns:a16="http://schemas.microsoft.com/office/drawing/2014/main" id="{54301927-A29C-4FF9-B86B-784B3FBD942F}"/>
              </a:ext>
            </a:extLst>
          </p:cNvPr>
          <p:cNvSpPr/>
          <p:nvPr/>
        </p:nvSpPr>
        <p:spPr>
          <a:xfrm>
            <a:off x="5296976" y="5260911"/>
            <a:ext cx="479131" cy="45998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5" name="Rectangle 54">
            <a:extLst>
              <a:ext uri="{FF2B5EF4-FFF2-40B4-BE49-F238E27FC236}">
                <a16:creationId xmlns:a16="http://schemas.microsoft.com/office/drawing/2014/main" id="{F14E26DB-24C1-4666-B6E1-7AC0944F49A9}"/>
              </a:ext>
            </a:extLst>
          </p:cNvPr>
          <p:cNvSpPr/>
          <p:nvPr/>
        </p:nvSpPr>
        <p:spPr>
          <a:xfrm>
            <a:off x="5300628" y="4717608"/>
            <a:ext cx="479131" cy="45998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6" name="Rectangle 55">
            <a:extLst>
              <a:ext uri="{FF2B5EF4-FFF2-40B4-BE49-F238E27FC236}">
                <a16:creationId xmlns:a16="http://schemas.microsoft.com/office/drawing/2014/main" id="{1E2C501E-A3A9-4609-9DAF-185A8103224B}"/>
              </a:ext>
            </a:extLst>
          </p:cNvPr>
          <p:cNvSpPr/>
          <p:nvPr/>
        </p:nvSpPr>
        <p:spPr>
          <a:xfrm>
            <a:off x="5297700" y="3196085"/>
            <a:ext cx="479131" cy="45998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6" name="Freeform 65">
            <a:extLst>
              <a:ext uri="{FF2B5EF4-FFF2-40B4-BE49-F238E27FC236}">
                <a16:creationId xmlns:a16="http://schemas.microsoft.com/office/drawing/2014/main" id="{EC089C2B-74F1-4BC8-A4F8-FB64BB80E1F5}"/>
              </a:ext>
            </a:extLst>
          </p:cNvPr>
          <p:cNvSpPr>
            <a:spLocks noChangeAspect="1" noEditPoints="1"/>
          </p:cNvSpPr>
          <p:nvPr/>
        </p:nvSpPr>
        <p:spPr bwMode="auto">
          <a:xfrm>
            <a:off x="5296518" y="3972537"/>
            <a:ext cx="479131" cy="479131"/>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 name="Slide Number Placeholder 6">
            <a:extLst>
              <a:ext uri="{FF2B5EF4-FFF2-40B4-BE49-F238E27FC236}">
                <a16:creationId xmlns:a16="http://schemas.microsoft.com/office/drawing/2014/main" id="{CF4E2F94-BCA3-DCB3-4983-1A421878EEB9}"/>
              </a:ext>
            </a:extLst>
          </p:cNvPr>
          <p:cNvSpPr>
            <a:spLocks noGrp="1"/>
          </p:cNvSpPr>
          <p:nvPr>
            <p:ph type="sldNum" sz="quarter" idx="12"/>
          </p:nvPr>
        </p:nvSpPr>
        <p:spPr/>
        <p:txBody>
          <a:bodyPr/>
          <a:lstStyle/>
          <a:p>
            <a:fld id="{C0F55C17-AF72-40D4-ADBD-B5505DEBF9BA}" type="slidenum">
              <a:rPr lang="en-AU" smtClean="0"/>
              <a:t>16</a:t>
            </a:fld>
            <a:endParaRPr lang="en-US" dirty="0"/>
          </a:p>
        </p:txBody>
      </p:sp>
      <p:sp>
        <p:nvSpPr>
          <p:cNvPr id="2" name="Footer Placeholder 1">
            <a:extLst>
              <a:ext uri="{FF2B5EF4-FFF2-40B4-BE49-F238E27FC236}">
                <a16:creationId xmlns:a16="http://schemas.microsoft.com/office/drawing/2014/main" id="{9E20D1D9-213B-CA23-5445-999D7E56937E}"/>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47" name="Speech Bubble: Rectangle 46">
            <a:extLst>
              <a:ext uri="{FF2B5EF4-FFF2-40B4-BE49-F238E27FC236}">
                <a16:creationId xmlns:a16="http://schemas.microsoft.com/office/drawing/2014/main" id="{27E5F37F-C6B4-4E93-85AC-C57B95801575}"/>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48" name="Group 47">
            <a:extLst>
              <a:ext uri="{FF2B5EF4-FFF2-40B4-BE49-F238E27FC236}">
                <a16:creationId xmlns:a16="http://schemas.microsoft.com/office/drawing/2014/main" id="{27C09AF2-89FD-4AEF-B28B-930708D31501}"/>
              </a:ext>
            </a:extLst>
          </p:cNvPr>
          <p:cNvGrpSpPr/>
          <p:nvPr/>
        </p:nvGrpSpPr>
        <p:grpSpPr>
          <a:xfrm>
            <a:off x="10609741" y="1048190"/>
            <a:ext cx="396000" cy="376186"/>
            <a:chOff x="627146" y="1619763"/>
            <a:chExt cx="396000" cy="396000"/>
          </a:xfrm>
        </p:grpSpPr>
        <p:sp>
          <p:nvSpPr>
            <p:cNvPr id="53" name="Rectangle 52">
              <a:extLst>
                <a:ext uri="{FF2B5EF4-FFF2-40B4-BE49-F238E27FC236}">
                  <a16:creationId xmlns:a16="http://schemas.microsoft.com/office/drawing/2014/main" id="{C4194C26-0E56-4226-A2DF-70DF55CC6B4F}"/>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7" name="Freeform 118">
              <a:extLst>
                <a:ext uri="{FF2B5EF4-FFF2-40B4-BE49-F238E27FC236}">
                  <a16:creationId xmlns:a16="http://schemas.microsoft.com/office/drawing/2014/main" id="{A983E4F9-A39C-4F44-9036-EF4F884DC85B}"/>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8" name="Freeform 119">
              <a:extLst>
                <a:ext uri="{FF2B5EF4-FFF2-40B4-BE49-F238E27FC236}">
                  <a16:creationId xmlns:a16="http://schemas.microsoft.com/office/drawing/2014/main" id="{07B6BB97-09E0-4996-A29D-12796CEDC6C9}"/>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0" name="Freeform 120">
              <a:extLst>
                <a:ext uri="{FF2B5EF4-FFF2-40B4-BE49-F238E27FC236}">
                  <a16:creationId xmlns:a16="http://schemas.microsoft.com/office/drawing/2014/main" id="{B4D90E17-AAA2-45A8-B944-C6C44323E19B}"/>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1" name="Freeform 121">
              <a:extLst>
                <a:ext uri="{FF2B5EF4-FFF2-40B4-BE49-F238E27FC236}">
                  <a16:creationId xmlns:a16="http://schemas.microsoft.com/office/drawing/2014/main" id="{19BE0899-1BCE-4EED-8DC2-57BD7A19BD2D}"/>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2" name="Freeform 122">
              <a:extLst>
                <a:ext uri="{FF2B5EF4-FFF2-40B4-BE49-F238E27FC236}">
                  <a16:creationId xmlns:a16="http://schemas.microsoft.com/office/drawing/2014/main" id="{87B54346-7A6C-4568-B18D-8A934F121AFF}"/>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3" name="Freeform 124">
              <a:extLst>
                <a:ext uri="{FF2B5EF4-FFF2-40B4-BE49-F238E27FC236}">
                  <a16:creationId xmlns:a16="http://schemas.microsoft.com/office/drawing/2014/main" id="{0A560C75-E00F-46BC-A8F8-B2E7055CC3E1}"/>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4" name="Freeform 128">
              <a:extLst>
                <a:ext uri="{FF2B5EF4-FFF2-40B4-BE49-F238E27FC236}">
                  <a16:creationId xmlns:a16="http://schemas.microsoft.com/office/drawing/2014/main" id="{5FC61DD9-F57B-4407-BE10-320C73C3D470}"/>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5" name="Freeform 129">
              <a:extLst>
                <a:ext uri="{FF2B5EF4-FFF2-40B4-BE49-F238E27FC236}">
                  <a16:creationId xmlns:a16="http://schemas.microsoft.com/office/drawing/2014/main" id="{697F22C6-A126-411A-A247-3BE470146A9A}"/>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6" name="Freeform 130">
              <a:extLst>
                <a:ext uri="{FF2B5EF4-FFF2-40B4-BE49-F238E27FC236}">
                  <a16:creationId xmlns:a16="http://schemas.microsoft.com/office/drawing/2014/main" id="{F1EDBFF5-7706-45D1-97B5-27C530516492}"/>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7" name="Freeform 131">
              <a:extLst>
                <a:ext uri="{FF2B5EF4-FFF2-40B4-BE49-F238E27FC236}">
                  <a16:creationId xmlns:a16="http://schemas.microsoft.com/office/drawing/2014/main" id="{F731AC85-B263-4D69-BE09-3DBBBC165E33}"/>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8" name="Freeform 133">
              <a:extLst>
                <a:ext uri="{FF2B5EF4-FFF2-40B4-BE49-F238E27FC236}">
                  <a16:creationId xmlns:a16="http://schemas.microsoft.com/office/drawing/2014/main" id="{6617832A-61E1-4762-AB3B-651AABC4DD44}"/>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9" name="Freeform 134">
              <a:extLst>
                <a:ext uri="{FF2B5EF4-FFF2-40B4-BE49-F238E27FC236}">
                  <a16:creationId xmlns:a16="http://schemas.microsoft.com/office/drawing/2014/main" id="{432404DF-414E-4D65-924D-86B9010B8C83}"/>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0" name="Freeform 135">
              <a:extLst>
                <a:ext uri="{FF2B5EF4-FFF2-40B4-BE49-F238E27FC236}">
                  <a16:creationId xmlns:a16="http://schemas.microsoft.com/office/drawing/2014/main" id="{240FC1A5-54F8-4B71-AC64-9A4DF5FAE7F6}"/>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71" name="Google Shape;162;p4">
            <a:extLst>
              <a:ext uri="{FF2B5EF4-FFF2-40B4-BE49-F238E27FC236}">
                <a16:creationId xmlns:a16="http://schemas.microsoft.com/office/drawing/2014/main" id="{171E4571-24F9-49EB-A02F-2D54C02F5FE5}"/>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72" name="Freeform 37">
            <a:extLst>
              <a:ext uri="{FF2B5EF4-FFF2-40B4-BE49-F238E27FC236}">
                <a16:creationId xmlns:a16="http://schemas.microsoft.com/office/drawing/2014/main" id="{01D5A58C-C459-4E53-BF02-587E074A9705}"/>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73" name="TextBox 72">
            <a:extLst>
              <a:ext uri="{FF2B5EF4-FFF2-40B4-BE49-F238E27FC236}">
                <a16:creationId xmlns:a16="http://schemas.microsoft.com/office/drawing/2014/main" id="{977A05A0-D6AC-46C8-A78D-4F209949F16C}"/>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10806795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phic 23" descr="decorative">
            <a:extLst>
              <a:ext uri="{FF2B5EF4-FFF2-40B4-BE49-F238E27FC236}">
                <a16:creationId xmlns:a16="http://schemas.microsoft.com/office/drawing/2014/main" id="{274CCC6A-634C-448E-9B81-1DFF86CE7AB4}"/>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flipH="1">
            <a:off x="8725100" y="1954197"/>
            <a:ext cx="2878919" cy="1147333"/>
          </a:xfrm>
          <a:prstGeom prst="rect">
            <a:avLst/>
          </a:prstGeom>
        </p:spPr>
      </p:pic>
      <p:pic>
        <p:nvPicPr>
          <p:cNvPr id="79" name="Graphic 78" descr="decorative">
            <a:extLst>
              <a:ext uri="{FF2B5EF4-FFF2-40B4-BE49-F238E27FC236}">
                <a16:creationId xmlns:a16="http://schemas.microsoft.com/office/drawing/2014/main" id="{C336935C-4FFB-4CDB-A803-90B60A7B49DA}"/>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8643111" y="3577392"/>
            <a:ext cx="3050245" cy="1134987"/>
          </a:xfrm>
          <a:prstGeom prst="rect">
            <a:avLst/>
          </a:prstGeom>
        </p:spPr>
      </p:pic>
      <p:sp>
        <p:nvSpPr>
          <p:cNvPr id="36" name="Content Placeholder 5">
            <a:extLst>
              <a:ext uri="{FF2B5EF4-FFF2-40B4-BE49-F238E27FC236}">
                <a16:creationId xmlns:a16="http://schemas.microsoft.com/office/drawing/2014/main" id="{75DDC673-22FD-4613-88C8-134D038F8A11}"/>
              </a:ext>
            </a:extLst>
          </p:cNvPr>
          <p:cNvSpPr txBox="1">
            <a:spLocks/>
          </p:cNvSpPr>
          <p:nvPr/>
        </p:nvSpPr>
        <p:spPr>
          <a:xfrm>
            <a:off x="498644" y="1558644"/>
            <a:ext cx="4733579" cy="4708806"/>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spcAft>
                <a:spcPts val="300"/>
              </a:spcAft>
            </a:pPr>
            <a:r>
              <a:rPr lang="en-AU" sz="1100" dirty="0">
                <a:solidFill>
                  <a:schemeClr val="accent3"/>
                </a:solidFill>
                <a:latin typeface="+mj-lt"/>
              </a:rPr>
              <a:t>Our Aspiration</a:t>
            </a:r>
          </a:p>
          <a:p>
            <a:pPr>
              <a:lnSpc>
                <a:spcPct val="100000"/>
              </a:lnSpc>
              <a:spcBef>
                <a:spcPts val="300"/>
              </a:spcBef>
              <a:spcAft>
                <a:spcPts val="300"/>
              </a:spcAft>
            </a:pPr>
            <a:r>
              <a:rPr lang="en-AU" sz="1000" b="0" dirty="0">
                <a:latin typeface="+mj-lt"/>
              </a:rPr>
              <a:t>Our strong leadership, commitment to continuous improvement and ongoing learning empowers our workforce to build core capabilities needed today and for the future to confidently apply regulatory powers for measurable impact and to be a contemporary, purpose-centred regulator. </a:t>
            </a:r>
            <a:endParaRPr lang="en-AU" sz="1000" b="0" dirty="0">
              <a:latin typeface="+mj-lt"/>
              <a:cs typeface="Calibri"/>
            </a:endParaRPr>
          </a:p>
          <a:p>
            <a:pPr>
              <a:lnSpc>
                <a:spcPct val="100000"/>
              </a:lnSpc>
              <a:spcBef>
                <a:spcPts val="300"/>
              </a:spcBef>
              <a:spcAft>
                <a:spcPts val="300"/>
              </a:spcAft>
            </a:pPr>
            <a:r>
              <a:rPr lang="en-AU" sz="1000" b="0" dirty="0">
                <a:latin typeface="+mj-lt"/>
              </a:rPr>
              <a:t>We have the confidence and competency to operate in </a:t>
            </a:r>
            <a:r>
              <a:rPr lang="en-US" sz="1000" b="0" dirty="0">
                <a:latin typeface="+mj-lt"/>
              </a:rPr>
              <a:t>dynamic regulatory and legislative environment, </a:t>
            </a:r>
            <a:r>
              <a:rPr lang="en-AU" sz="1000" b="0" dirty="0">
                <a:latin typeface="+mj-lt"/>
              </a:rPr>
              <a:t>engage meaningfully with people with disability, build trust with our peers, providers and participants whilst building our capability as an integrated, contemporary regulator.</a:t>
            </a:r>
            <a:r>
              <a:rPr lang="en-AU" sz="1000" dirty="0">
                <a:latin typeface="+mj-lt"/>
              </a:rPr>
              <a:t> </a:t>
            </a:r>
            <a:r>
              <a:rPr lang="en-AU" sz="1000" b="0" dirty="0">
                <a:latin typeface="+mj-lt"/>
              </a:rPr>
              <a:t>Our foundational capabilities and core competencies</a:t>
            </a:r>
            <a:r>
              <a:rPr lang="en-US" sz="1000" b="0" dirty="0">
                <a:latin typeface="+mj-lt"/>
              </a:rPr>
              <a:t> give us the agility and flexibility required to meet emerging needs </a:t>
            </a:r>
            <a:endParaRPr lang="en-US" sz="1000" b="0" dirty="0">
              <a:latin typeface="+mj-lt"/>
              <a:cs typeface="Calibri"/>
            </a:endParaRPr>
          </a:p>
          <a:p>
            <a:pPr>
              <a:lnSpc>
                <a:spcPct val="100000"/>
              </a:lnSpc>
              <a:spcBef>
                <a:spcPts val="300"/>
              </a:spcBef>
              <a:spcAft>
                <a:spcPts val="300"/>
              </a:spcAft>
            </a:pPr>
            <a:r>
              <a:rPr lang="en-AU" sz="1000" b="0" dirty="0">
                <a:latin typeface="+mj-lt"/>
              </a:rPr>
              <a:t>We do this by: </a:t>
            </a:r>
            <a:endParaRPr lang="en-AU" sz="1000" b="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dirty="0">
                <a:latin typeface="+mj-lt"/>
              </a:rPr>
              <a:t>Strengthening our technical capability </a:t>
            </a:r>
            <a:r>
              <a:rPr lang="en-US" sz="1000" b="0" dirty="0">
                <a:latin typeface="+mj-lt"/>
              </a:rPr>
              <a:t>by providing the workforce with the opportunities, capability, data, technology, systems and support to empower them to manage risks proportionately and maintain essential safeguards while minimising regulatory burden. At the heart this </a:t>
            </a:r>
            <a:r>
              <a:rPr lang="en-US" sz="1000" b="0" dirty="0" smtClean="0">
                <a:latin typeface="+mj-lt"/>
              </a:rPr>
              <a:t>requires upskilling </a:t>
            </a:r>
            <a:r>
              <a:rPr lang="en-US" sz="1000" b="0" dirty="0">
                <a:latin typeface="+mj-lt"/>
              </a:rPr>
              <a:t>in relation to risk and regulatory practices in the Commission</a:t>
            </a:r>
          </a:p>
          <a:p>
            <a:pPr marL="171450" indent="-171450">
              <a:lnSpc>
                <a:spcPct val="100000"/>
              </a:lnSpc>
              <a:spcBef>
                <a:spcPts val="300"/>
              </a:spcBef>
              <a:spcAft>
                <a:spcPts val="200"/>
              </a:spcAft>
              <a:buFont typeface="Arial" panose="020B0604020202020204" pitchFamily="34" charset="0"/>
              <a:buChar char="•"/>
              <a:defRPr/>
            </a:pPr>
            <a:r>
              <a:rPr lang="en-US" sz="1000" b="0" dirty="0">
                <a:latin typeface="+mj-lt"/>
              </a:rPr>
              <a:t>Ensuring that all our people have access to </a:t>
            </a:r>
            <a:r>
              <a:rPr lang="en-US" sz="1000" dirty="0">
                <a:latin typeface="+mj-lt"/>
              </a:rPr>
              <a:t>grow and develop foundational and core competencies </a:t>
            </a:r>
            <a:r>
              <a:rPr lang="en-US" sz="1000" b="0" dirty="0">
                <a:latin typeface="+mj-lt"/>
              </a:rPr>
              <a:t>as well as develop in their area of expertise </a:t>
            </a:r>
            <a:endParaRPr lang="en-AU" sz="100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dirty="0">
                <a:latin typeface="+mj-lt"/>
              </a:rPr>
              <a:t>Attracting and developing strong leadership capability </a:t>
            </a:r>
            <a:endParaRPr lang="en-AU" sz="100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dirty="0">
                <a:latin typeface="+mj-lt"/>
              </a:rPr>
              <a:t>Strengthening career pathways and mobility and embracing our workforce potential</a:t>
            </a:r>
            <a:r>
              <a:rPr lang="en-AU" sz="1000" b="0" dirty="0">
                <a:latin typeface="+mj-lt"/>
              </a:rPr>
              <a:t> across functions and groups, investing in the skills and career pathways of our workforce to improve retention</a:t>
            </a:r>
            <a:endParaRPr lang="en-AU" sz="1000" b="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dirty="0">
                <a:latin typeface="+mj-lt"/>
              </a:rPr>
              <a:t>Investing in upskilling </a:t>
            </a:r>
            <a:r>
              <a:rPr lang="en-AU" sz="1000" b="0" dirty="0">
                <a:latin typeface="+mj-lt"/>
              </a:rPr>
              <a:t>our people to ensure the most up-to-date industry and regulatory knowledge is available and the workforce is empowered and capable to apply regulatory powers with people with disability at the centre </a:t>
            </a:r>
            <a:endParaRPr lang="en-AU" sz="1000" b="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b="0" dirty="0">
                <a:latin typeface="+mj-lt"/>
              </a:rPr>
              <a:t>Enabling our people to </a:t>
            </a:r>
            <a:r>
              <a:rPr lang="en-AU" sz="1000" dirty="0">
                <a:latin typeface="+mj-lt"/>
              </a:rPr>
              <a:t>drive their own career </a:t>
            </a:r>
            <a:r>
              <a:rPr lang="en-AU" sz="1000" b="0" dirty="0">
                <a:latin typeface="+mj-lt"/>
              </a:rPr>
              <a:t>that aligns to their interests</a:t>
            </a:r>
            <a:endParaRPr lang="en-AU" sz="1000" b="0" dirty="0">
              <a:latin typeface="+mj-lt"/>
              <a:cs typeface="Calibri"/>
            </a:endParaRPr>
          </a:p>
          <a:p>
            <a:pPr marL="171450" indent="-171450">
              <a:lnSpc>
                <a:spcPct val="100000"/>
              </a:lnSpc>
              <a:spcBef>
                <a:spcPts val="0"/>
              </a:spcBef>
              <a:spcAft>
                <a:spcPts val="200"/>
              </a:spcAft>
              <a:buFont typeface="Arial" panose="020B0604020202020204" pitchFamily="34" charset="0"/>
              <a:buChar char="•"/>
              <a:defRPr/>
            </a:pPr>
            <a:endParaRPr lang="en-AU" sz="1000" b="0" dirty="0">
              <a:latin typeface="+mj-lt"/>
              <a:cs typeface="Calibri"/>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AU" sz="1000" b="0" i="0" u="none" strike="noStrike" kern="1200" cap="none" spc="0" normalizeH="0" baseline="0" noProof="0" dirty="0">
              <a:ln>
                <a:noFill/>
              </a:ln>
              <a:effectLst/>
              <a:uLnTx/>
              <a:uFillTx/>
              <a:latin typeface="+mj-lt"/>
              <a:cs typeface="Calibri 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1000" b="0" i="0" u="none" strike="noStrike" kern="1200" cap="none" spc="0" normalizeH="0" baseline="0" noProof="0" dirty="0">
              <a:ln>
                <a:noFill/>
              </a:ln>
              <a:effectLst/>
              <a:uLnTx/>
              <a:uFillTx/>
              <a:latin typeface="+mj-lt"/>
              <a:cs typeface="Calibri Light"/>
            </a:endParaRPr>
          </a:p>
          <a:p>
            <a:pPr marR="0" lvl="0" defTabSz="914400" rtl="0" eaLnBrk="1" fontAlgn="auto" latinLnBrk="0" hangingPunct="1">
              <a:lnSpc>
                <a:spcPct val="100000"/>
              </a:lnSpc>
              <a:spcBef>
                <a:spcPts val="300"/>
              </a:spcBef>
              <a:spcAft>
                <a:spcPts val="0"/>
              </a:spcAft>
              <a:buClrTx/>
              <a:buSzTx/>
              <a:tabLst/>
              <a:defRPr/>
            </a:pPr>
            <a:endParaRPr lang="en-AU" sz="1000" b="0" i="0" u="none" strike="noStrike" kern="1200" cap="none" spc="0" normalizeH="0" baseline="0" noProof="0" dirty="0">
              <a:ln>
                <a:noFill/>
              </a:ln>
              <a:solidFill>
                <a:schemeClr val="bg2">
                  <a:lumMod val="10000"/>
                </a:schemeClr>
              </a:solidFill>
              <a:effectLst/>
              <a:uLnTx/>
              <a:uFillTx/>
              <a:latin typeface="+mj-lt"/>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b="0" dirty="0">
              <a:solidFill>
                <a:schemeClr val="bg2">
                  <a:lumMod val="10000"/>
                </a:schemeClr>
              </a:solidFill>
              <a:latin typeface="+mj-lt"/>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b="0" i="0" u="none" strike="noStrike" kern="1200" cap="none" spc="0" normalizeH="0" baseline="0" noProof="0" dirty="0">
              <a:ln>
                <a:noFill/>
              </a:ln>
              <a:solidFill>
                <a:schemeClr val="bg2">
                  <a:lumMod val="10000"/>
                </a:schemeClr>
              </a:solidFill>
              <a:effectLst/>
              <a:uLnTx/>
              <a:uFillTx/>
              <a:latin typeface="+mj-lt"/>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i="0" u="none" strike="noStrike" kern="1200" cap="none" spc="0" normalizeH="0" baseline="0" noProof="0" dirty="0">
              <a:ln>
                <a:noFill/>
              </a:ln>
              <a:effectLst/>
              <a:uLnTx/>
              <a:uFillTx/>
              <a:latin typeface="+mj-lt"/>
              <a:cs typeface="Calibri"/>
            </a:endParaRPr>
          </a:p>
        </p:txBody>
      </p:sp>
      <p:pic>
        <p:nvPicPr>
          <p:cNvPr id="47" name="Graphic 46" descr="decorative">
            <a:extLst>
              <a:ext uri="{FF2B5EF4-FFF2-40B4-BE49-F238E27FC236}">
                <a16:creationId xmlns:a16="http://schemas.microsoft.com/office/drawing/2014/main" id="{F2FEAC21-D827-4F20-A5C5-6FB4DBDD80B3}"/>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flipH="1" flipV="1">
            <a:off x="8631590" y="5044546"/>
            <a:ext cx="3068704" cy="1102692"/>
          </a:xfrm>
          <a:prstGeom prst="rect">
            <a:avLst/>
          </a:prstGeom>
        </p:spPr>
      </p:pic>
      <p:sp>
        <p:nvSpPr>
          <p:cNvPr id="82" name="TextBox 81">
            <a:extLst>
              <a:ext uri="{FF2B5EF4-FFF2-40B4-BE49-F238E27FC236}">
                <a16:creationId xmlns:a16="http://schemas.microsoft.com/office/drawing/2014/main" id="{638FEE0D-54E8-4DAE-8628-8A0F89774A5C}"/>
              </a:ext>
            </a:extLst>
          </p:cNvPr>
          <p:cNvSpPr txBox="1"/>
          <p:nvPr/>
        </p:nvSpPr>
        <p:spPr>
          <a:xfrm>
            <a:off x="8901512" y="3711310"/>
            <a:ext cx="2780728" cy="869469"/>
          </a:xfrm>
          <a:prstGeom prst="rect">
            <a:avLst/>
          </a:prstGeom>
          <a:noFill/>
        </p:spPr>
        <p:txBody>
          <a:bodyPr wrap="square" lIns="91440" tIns="45720" rIns="91440" bIns="45720" rtlCol="0" anchor="t">
            <a:spAutoFit/>
          </a:bodyPr>
          <a:lstStyle/>
          <a:p>
            <a:r>
              <a:rPr lang="en-AU" sz="1000" dirty="0"/>
              <a:t>“While I work in XX area today, I understand how my core  skills are transferable to work done in XX, XX or XX and I have the capability and confidence to work flexibly where I am needed.”</a:t>
            </a:r>
            <a:endParaRPr lang="en-AU" sz="1000" dirty="0">
              <a:cs typeface="Calibri"/>
            </a:endParaRPr>
          </a:p>
          <a:p>
            <a:endParaRPr lang="en-AU" sz="1050" dirty="0"/>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59481" y="281777"/>
            <a:ext cx="6992824" cy="1376364"/>
          </a:xfrm>
        </p:spPr>
        <p:txBody>
          <a:bodyPr>
            <a:noAutofit/>
          </a:bodyPr>
          <a:lstStyle/>
          <a:p>
            <a:r>
              <a:rPr lang="en-US" dirty="0">
                <a:solidFill>
                  <a:srgbClr val="BA2E96"/>
                </a:solidFill>
              </a:rPr>
              <a:t>Pillar: Capability </a:t>
            </a:r>
            <a:endParaRPr lang="en-AU" dirty="0">
              <a:solidFill>
                <a:srgbClr val="BA2E96"/>
              </a:solidFill>
            </a:endParaRPr>
          </a:p>
        </p:txBody>
      </p:sp>
      <p:sp>
        <p:nvSpPr>
          <p:cNvPr id="83" name="TextBox 82">
            <a:extLst>
              <a:ext uri="{FF2B5EF4-FFF2-40B4-BE49-F238E27FC236}">
                <a16:creationId xmlns:a16="http://schemas.microsoft.com/office/drawing/2014/main" id="{8AF3E150-8D39-4FF7-B447-12DCEA764463}"/>
              </a:ext>
            </a:extLst>
          </p:cNvPr>
          <p:cNvSpPr txBox="1"/>
          <p:nvPr/>
        </p:nvSpPr>
        <p:spPr>
          <a:xfrm>
            <a:off x="8724477" y="5420527"/>
            <a:ext cx="2915397" cy="707886"/>
          </a:xfrm>
          <a:prstGeom prst="rect">
            <a:avLst/>
          </a:prstGeom>
          <a:noFill/>
        </p:spPr>
        <p:txBody>
          <a:bodyPr wrap="square" lIns="91440" tIns="45720" rIns="91440" bIns="45720" rtlCol="0" anchor="t">
            <a:spAutoFit/>
          </a:bodyPr>
          <a:lstStyle/>
          <a:p>
            <a:r>
              <a:rPr lang="en-AU" sz="1000" dirty="0"/>
              <a:t>“I recently had the opportunity to intern with the XX team as a university student. I learnt so much from the experience and hope to join the Commission as a Graduate.</a:t>
            </a:r>
            <a:endParaRPr lang="en-AU" sz="1000" dirty="0">
              <a:cs typeface="Calibri"/>
            </a:endParaRPr>
          </a:p>
        </p:txBody>
      </p:sp>
      <p:sp>
        <p:nvSpPr>
          <p:cNvPr id="85" name="TextBox 84">
            <a:extLst>
              <a:ext uri="{FF2B5EF4-FFF2-40B4-BE49-F238E27FC236}">
                <a16:creationId xmlns:a16="http://schemas.microsoft.com/office/drawing/2014/main" id="{279833C1-6E60-49F0-A290-82DF8F83626A}"/>
              </a:ext>
            </a:extLst>
          </p:cNvPr>
          <p:cNvSpPr txBox="1"/>
          <p:nvPr/>
        </p:nvSpPr>
        <p:spPr>
          <a:xfrm>
            <a:off x="8811699" y="2042225"/>
            <a:ext cx="2915397" cy="707886"/>
          </a:xfrm>
          <a:prstGeom prst="rect">
            <a:avLst/>
          </a:prstGeom>
          <a:noFill/>
        </p:spPr>
        <p:txBody>
          <a:bodyPr wrap="square" lIns="91440" tIns="45720" rIns="91440" bIns="45720" rtlCol="0" anchor="t">
            <a:spAutoFit/>
          </a:bodyPr>
          <a:lstStyle/>
          <a:p>
            <a:r>
              <a:rPr lang="en-AU" sz="1000" dirty="0"/>
              <a:t>“Although my title may be XX, or XX, I understand that at the heart of it, we are all Regulatory Officers and have a  key role supporting a One Commission Approach.”</a:t>
            </a:r>
            <a:endParaRPr lang="en-AU" sz="1000" dirty="0">
              <a:cs typeface="Calibri"/>
            </a:endParaRPr>
          </a:p>
        </p:txBody>
      </p:sp>
      <p:pic>
        <p:nvPicPr>
          <p:cNvPr id="94" name="Graphic 93" descr="decorative">
            <a:extLst>
              <a:ext uri="{FF2B5EF4-FFF2-40B4-BE49-F238E27FC236}">
                <a16:creationId xmlns:a16="http://schemas.microsoft.com/office/drawing/2014/main" id="{7E8AF94C-1F09-4FD7-9112-FED616BDFFBA}"/>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9166609" y="2821438"/>
            <a:ext cx="649388" cy="755954"/>
          </a:xfrm>
          <a:prstGeom prst="rect">
            <a:avLst/>
          </a:prstGeom>
        </p:spPr>
      </p:pic>
      <p:pic>
        <p:nvPicPr>
          <p:cNvPr id="63" name="Picture 62">
            <a:extLst>
              <a:ext uri="{FF2B5EF4-FFF2-40B4-BE49-F238E27FC236}">
                <a16:creationId xmlns:a16="http://schemas.microsoft.com/office/drawing/2014/main" id="{6649DF04-B719-4DF0-8C38-DCE7B8287239}"/>
              </a:ext>
            </a:extLst>
          </p:cNvPr>
          <p:cNvPicPr>
            <a:picLocks noChangeAspect="1"/>
          </p:cNvPicPr>
          <p:nvPr/>
        </p:nvPicPr>
        <p:blipFill>
          <a:blip r:embed="rId11"/>
          <a:stretch>
            <a:fillRect/>
          </a:stretch>
        </p:blipFill>
        <p:spPr>
          <a:xfrm>
            <a:off x="498644" y="469356"/>
            <a:ext cx="920338" cy="818540"/>
          </a:xfrm>
          <a:prstGeom prst="rect">
            <a:avLst/>
          </a:prstGeom>
        </p:spPr>
      </p:pic>
      <p:pic>
        <p:nvPicPr>
          <p:cNvPr id="95" name="Graphic 40" descr="decorative">
            <a:extLst>
              <a:ext uri="{FF2B5EF4-FFF2-40B4-BE49-F238E27FC236}">
                <a16:creationId xmlns:a16="http://schemas.microsoft.com/office/drawing/2014/main" id="{B2D493B7-D69F-44BF-84B3-A16E207E333E}"/>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11215218" y="4297680"/>
            <a:ext cx="712683" cy="726258"/>
          </a:xfrm>
          <a:prstGeom prst="rect">
            <a:avLst/>
          </a:prstGeom>
        </p:spPr>
      </p:pic>
      <p:pic>
        <p:nvPicPr>
          <p:cNvPr id="91" name="Graphic 7" descr="decorative">
            <a:extLst>
              <a:ext uri="{FF2B5EF4-FFF2-40B4-BE49-F238E27FC236}">
                <a16:creationId xmlns:a16="http://schemas.microsoft.com/office/drawing/2014/main" id="{24FBB0CF-A49B-4078-81C9-5B06C4942D83}"/>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8615190" y="4619559"/>
            <a:ext cx="681647" cy="767222"/>
          </a:xfrm>
          <a:prstGeom prst="rect">
            <a:avLst/>
          </a:prstGeom>
        </p:spPr>
      </p:pic>
      <p:sp>
        <p:nvSpPr>
          <p:cNvPr id="21" name="Content Placeholder 5">
            <a:extLst>
              <a:ext uri="{FF2B5EF4-FFF2-40B4-BE49-F238E27FC236}">
                <a16:creationId xmlns:a16="http://schemas.microsoft.com/office/drawing/2014/main" id="{8650618A-91BC-4F13-BB39-968528DFF7CA}"/>
              </a:ext>
            </a:extLst>
          </p:cNvPr>
          <p:cNvSpPr txBox="1">
            <a:spLocks/>
          </p:cNvSpPr>
          <p:nvPr/>
        </p:nvSpPr>
        <p:spPr>
          <a:xfrm>
            <a:off x="5379863" y="1556796"/>
            <a:ext cx="3078246" cy="278386"/>
          </a:xfrm>
          <a:prstGeom prst="rect">
            <a:avLst/>
          </a:prstGeom>
          <a:solidFill>
            <a:schemeClr val="accent3"/>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Outcomes </a:t>
            </a:r>
            <a:endParaRPr lang="en-AU" sz="1200" dirty="0">
              <a:solidFill>
                <a:schemeClr val="bg1"/>
              </a:solidFill>
            </a:endParaRPr>
          </a:p>
        </p:txBody>
      </p:sp>
      <p:sp>
        <p:nvSpPr>
          <p:cNvPr id="22" name="Content Placeholder 5">
            <a:extLst>
              <a:ext uri="{FF2B5EF4-FFF2-40B4-BE49-F238E27FC236}">
                <a16:creationId xmlns:a16="http://schemas.microsoft.com/office/drawing/2014/main" id="{58164081-E0C0-4C47-AA02-D2B526F262E4}"/>
              </a:ext>
            </a:extLst>
          </p:cNvPr>
          <p:cNvSpPr txBox="1">
            <a:spLocks/>
          </p:cNvSpPr>
          <p:nvPr/>
        </p:nvSpPr>
        <p:spPr>
          <a:xfrm>
            <a:off x="5379863" y="1909197"/>
            <a:ext cx="3078246" cy="3686695"/>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39750" indent="0">
              <a:buNone/>
              <a:tabLst>
                <a:tab pos="450850" algn="l"/>
                <a:tab pos="717550" algn="l"/>
              </a:tabLst>
            </a:pPr>
            <a:r>
              <a:rPr lang="en-AU" sz="1000" b="0" dirty="0">
                <a:solidFill>
                  <a:schemeClr val="tx1"/>
                </a:solidFill>
              </a:rPr>
              <a:t>A ‘One Commission’ core capability set, that enables the Commission to attract, recruit, develop and retain a flexible and agile workforce</a:t>
            </a:r>
            <a:endParaRPr lang="en-AU" sz="1000" b="0" dirty="0">
              <a:solidFill>
                <a:schemeClr val="tx1"/>
              </a:solidFill>
              <a:cs typeface="Calibri"/>
            </a:endParaRPr>
          </a:p>
          <a:p>
            <a:pPr marL="539750" indent="0">
              <a:buNone/>
              <a:tabLst>
                <a:tab pos="450850" algn="l"/>
                <a:tab pos="717550" algn="l"/>
              </a:tabLst>
            </a:pPr>
            <a:endParaRPr lang="en-AU" sz="1000" b="0" dirty="0">
              <a:solidFill>
                <a:schemeClr val="tx1"/>
              </a:solidFill>
              <a:cs typeface="Calibri"/>
            </a:endParaRPr>
          </a:p>
          <a:p>
            <a:pPr marL="539750" indent="0">
              <a:buNone/>
              <a:tabLst>
                <a:tab pos="450850" algn="l"/>
                <a:tab pos="717550" algn="l"/>
              </a:tabLst>
            </a:pPr>
            <a:r>
              <a:rPr lang="en-AU" sz="1000" b="0" dirty="0">
                <a:solidFill>
                  <a:schemeClr val="tx1"/>
                </a:solidFill>
              </a:rPr>
              <a:t>Enhanced workforce capability and mobility across roles and teams in the Commission</a:t>
            </a:r>
            <a:endParaRPr lang="en-AU" sz="1000" b="0" dirty="0">
              <a:solidFill>
                <a:schemeClr val="tx1"/>
              </a:solidFill>
              <a:cs typeface="Calibri"/>
            </a:endParaRPr>
          </a:p>
          <a:p>
            <a:pPr marL="539750" indent="0">
              <a:buNone/>
              <a:tabLst>
                <a:tab pos="450850" algn="l"/>
                <a:tab pos="717550" algn="l"/>
              </a:tabLst>
            </a:pPr>
            <a:endParaRPr lang="en-AU" sz="1000" b="0" dirty="0">
              <a:solidFill>
                <a:schemeClr val="tx1"/>
              </a:solidFill>
              <a:cs typeface="Calibri"/>
            </a:endParaRPr>
          </a:p>
          <a:p>
            <a:pPr marL="539750" indent="0">
              <a:buNone/>
              <a:tabLst>
                <a:tab pos="450850" algn="l"/>
                <a:tab pos="717550" algn="l"/>
              </a:tabLst>
            </a:pPr>
            <a:r>
              <a:rPr lang="en-AU" sz="1000" b="0" dirty="0">
                <a:solidFill>
                  <a:schemeClr val="tx1"/>
                </a:solidFill>
              </a:rPr>
              <a:t>Confident and empowered leadership team with the capability to manage team development and performance  </a:t>
            </a:r>
            <a:endParaRPr lang="en-AU" sz="1000" b="0" dirty="0">
              <a:solidFill>
                <a:schemeClr val="tx1"/>
              </a:solidFill>
              <a:cs typeface="Calibri"/>
            </a:endParaRPr>
          </a:p>
          <a:p>
            <a:pPr marL="539750" indent="0">
              <a:buNone/>
              <a:tabLst>
                <a:tab pos="450850" algn="l"/>
                <a:tab pos="539750" algn="l"/>
                <a:tab pos="717550" algn="l"/>
              </a:tabLst>
            </a:pPr>
            <a:endParaRPr lang="en-AU" sz="1000" b="0" dirty="0">
              <a:solidFill>
                <a:schemeClr val="tx1"/>
              </a:solidFill>
              <a:cs typeface="Calibri"/>
            </a:endParaRPr>
          </a:p>
          <a:p>
            <a:pPr marL="539750" indent="0">
              <a:buNone/>
              <a:tabLst>
                <a:tab pos="450850" algn="l"/>
                <a:tab pos="539750" algn="l"/>
                <a:tab pos="717550" algn="l"/>
              </a:tabLst>
            </a:pPr>
            <a:r>
              <a:rPr lang="en-AU" sz="1000" b="0" dirty="0">
                <a:solidFill>
                  <a:schemeClr val="tx1"/>
                </a:solidFill>
              </a:rPr>
              <a:t>Attract, recruit and retain a diverse group of job seekers to meet both an increase in demand and changing stakeholder expectations, targeting talent from different segments of the labour market with a mix of capabilities and experiences. </a:t>
            </a:r>
            <a:endParaRPr lang="en-AU" sz="1000" b="0" dirty="0">
              <a:solidFill>
                <a:schemeClr val="tx1"/>
              </a:solidFill>
              <a:cs typeface="Calibri"/>
            </a:endParaRPr>
          </a:p>
        </p:txBody>
      </p:sp>
      <p:sp>
        <p:nvSpPr>
          <p:cNvPr id="28" name="Content Placeholder 5">
            <a:extLst>
              <a:ext uri="{FF2B5EF4-FFF2-40B4-BE49-F238E27FC236}">
                <a16:creationId xmlns:a16="http://schemas.microsoft.com/office/drawing/2014/main" id="{6AC0A7E2-6A29-4E52-BC9C-19E54E2AB2E3}"/>
              </a:ext>
            </a:extLst>
          </p:cNvPr>
          <p:cNvSpPr txBox="1">
            <a:spLocks/>
          </p:cNvSpPr>
          <p:nvPr/>
        </p:nvSpPr>
        <p:spPr>
          <a:xfrm>
            <a:off x="8622048" y="1570214"/>
            <a:ext cx="3078246" cy="278386"/>
          </a:xfrm>
          <a:prstGeom prst="rect">
            <a:avLst/>
          </a:prstGeom>
          <a:solidFill>
            <a:schemeClr val="accent3"/>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sounds like …</a:t>
            </a:r>
            <a:endParaRPr lang="en-AU" sz="1100" dirty="0">
              <a:solidFill>
                <a:schemeClr val="bg1"/>
              </a:solidFill>
              <a:cs typeface="Calibri"/>
            </a:endParaRPr>
          </a:p>
        </p:txBody>
      </p:sp>
      <p:grpSp>
        <p:nvGrpSpPr>
          <p:cNvPr id="19" name="Google Shape;752;g12f6fb1d8b0_2_59">
            <a:extLst>
              <a:ext uri="{FF2B5EF4-FFF2-40B4-BE49-F238E27FC236}">
                <a16:creationId xmlns:a16="http://schemas.microsoft.com/office/drawing/2014/main" id="{32207FE1-630F-4B4E-9400-868B9F4771A8}"/>
              </a:ext>
            </a:extLst>
          </p:cNvPr>
          <p:cNvGrpSpPr/>
          <p:nvPr/>
        </p:nvGrpSpPr>
        <p:grpSpPr>
          <a:xfrm>
            <a:off x="5503695" y="4089330"/>
            <a:ext cx="338377" cy="372023"/>
            <a:chOff x="6793686" y="3430704"/>
            <a:chExt cx="404018" cy="443952"/>
          </a:xfrm>
          <a:solidFill>
            <a:schemeClr val="accent3"/>
          </a:solidFill>
        </p:grpSpPr>
        <p:sp>
          <p:nvSpPr>
            <p:cNvPr id="20" name="Google Shape;753;g12f6fb1d8b0_2_59">
              <a:extLst>
                <a:ext uri="{FF2B5EF4-FFF2-40B4-BE49-F238E27FC236}">
                  <a16:creationId xmlns:a16="http://schemas.microsoft.com/office/drawing/2014/main" id="{3D982B65-C2AC-41B9-9A24-50567D7E11A0}"/>
                </a:ext>
              </a:extLst>
            </p:cNvPr>
            <p:cNvSpPr/>
            <p:nvPr/>
          </p:nvSpPr>
          <p:spPr>
            <a:xfrm>
              <a:off x="6887612" y="3536260"/>
              <a:ext cx="166831" cy="177281"/>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23" name="Google Shape;754;g12f6fb1d8b0_2_59">
              <a:extLst>
                <a:ext uri="{FF2B5EF4-FFF2-40B4-BE49-F238E27FC236}">
                  <a16:creationId xmlns:a16="http://schemas.microsoft.com/office/drawing/2014/main" id="{8AE68BFF-8406-4866-BB05-1AD9410A7544}"/>
                </a:ext>
              </a:extLst>
            </p:cNvPr>
            <p:cNvSpPr/>
            <p:nvPr/>
          </p:nvSpPr>
          <p:spPr>
            <a:xfrm>
              <a:off x="6793686" y="3430704"/>
              <a:ext cx="404018" cy="443952"/>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sp>
        <p:nvSpPr>
          <p:cNvPr id="25" name="Rectangle 24">
            <a:extLst>
              <a:ext uri="{FF2B5EF4-FFF2-40B4-BE49-F238E27FC236}">
                <a16:creationId xmlns:a16="http://schemas.microsoft.com/office/drawing/2014/main" id="{399CAC29-2509-44B2-B872-E95160004069}"/>
              </a:ext>
            </a:extLst>
          </p:cNvPr>
          <p:cNvSpPr/>
          <p:nvPr/>
        </p:nvSpPr>
        <p:spPr>
          <a:xfrm>
            <a:off x="5447734" y="4023584"/>
            <a:ext cx="452558" cy="45255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7" name="Google Shape;25142;p300">
            <a:extLst>
              <a:ext uri="{FF2B5EF4-FFF2-40B4-BE49-F238E27FC236}">
                <a16:creationId xmlns:a16="http://schemas.microsoft.com/office/drawing/2014/main" id="{676588F4-936F-4905-8B78-8C1037ED9400}"/>
              </a:ext>
            </a:extLst>
          </p:cNvPr>
          <p:cNvSpPr/>
          <p:nvPr/>
        </p:nvSpPr>
        <p:spPr>
          <a:xfrm>
            <a:off x="5441886" y="3346086"/>
            <a:ext cx="455040" cy="485591"/>
          </a:xfrm>
          <a:custGeom>
            <a:avLst/>
            <a:gdLst/>
            <a:ahLst/>
            <a:cxnLst/>
            <a:rect l="l" t="t" r="r" b="b"/>
            <a:pathLst>
              <a:path w="576" h="576" extrusionOk="0">
                <a:moveTo>
                  <a:pt x="414" y="112"/>
                </a:moveTo>
                <a:cubicBezTo>
                  <a:pt x="351" y="112"/>
                  <a:pt x="351" y="112"/>
                  <a:pt x="351" y="112"/>
                </a:cubicBezTo>
                <a:cubicBezTo>
                  <a:pt x="351" y="86"/>
                  <a:pt x="351" y="86"/>
                  <a:pt x="351" y="86"/>
                </a:cubicBezTo>
                <a:cubicBezTo>
                  <a:pt x="351" y="79"/>
                  <a:pt x="345" y="73"/>
                  <a:pt x="338" y="73"/>
                </a:cubicBezTo>
                <a:cubicBezTo>
                  <a:pt x="221" y="73"/>
                  <a:pt x="221" y="73"/>
                  <a:pt x="221" y="73"/>
                </a:cubicBezTo>
                <a:cubicBezTo>
                  <a:pt x="215" y="73"/>
                  <a:pt x="209" y="79"/>
                  <a:pt x="209" y="86"/>
                </a:cubicBezTo>
                <a:cubicBezTo>
                  <a:pt x="209" y="112"/>
                  <a:pt x="209" y="112"/>
                  <a:pt x="209" y="112"/>
                </a:cubicBezTo>
                <a:cubicBezTo>
                  <a:pt x="146" y="112"/>
                  <a:pt x="146" y="112"/>
                  <a:pt x="146" y="112"/>
                </a:cubicBezTo>
                <a:cubicBezTo>
                  <a:pt x="146" y="300"/>
                  <a:pt x="146" y="300"/>
                  <a:pt x="146" y="300"/>
                </a:cubicBezTo>
                <a:cubicBezTo>
                  <a:pt x="414" y="300"/>
                  <a:pt x="414" y="300"/>
                  <a:pt x="414" y="300"/>
                </a:cubicBezTo>
                <a:lnTo>
                  <a:pt x="414" y="112"/>
                </a:lnTo>
                <a:close/>
                <a:moveTo>
                  <a:pt x="234" y="98"/>
                </a:moveTo>
                <a:cubicBezTo>
                  <a:pt x="326" y="98"/>
                  <a:pt x="326" y="98"/>
                  <a:pt x="326" y="98"/>
                </a:cubicBezTo>
                <a:cubicBezTo>
                  <a:pt x="326" y="112"/>
                  <a:pt x="326" y="112"/>
                  <a:pt x="326" y="112"/>
                </a:cubicBezTo>
                <a:cubicBezTo>
                  <a:pt x="234" y="112"/>
                  <a:pt x="234" y="112"/>
                  <a:pt x="234" y="112"/>
                </a:cubicBezTo>
                <a:lnTo>
                  <a:pt x="234" y="98"/>
                </a:lnTo>
                <a:close/>
                <a:moveTo>
                  <a:pt x="221" y="136"/>
                </a:moveTo>
                <a:cubicBezTo>
                  <a:pt x="338" y="136"/>
                  <a:pt x="338" y="136"/>
                  <a:pt x="338" y="136"/>
                </a:cubicBezTo>
                <a:cubicBezTo>
                  <a:pt x="389" y="136"/>
                  <a:pt x="389" y="136"/>
                  <a:pt x="389" y="136"/>
                </a:cubicBezTo>
                <a:cubicBezTo>
                  <a:pt x="389" y="165"/>
                  <a:pt x="389" y="165"/>
                  <a:pt x="389" y="165"/>
                </a:cubicBezTo>
                <a:cubicBezTo>
                  <a:pt x="280" y="197"/>
                  <a:pt x="280" y="197"/>
                  <a:pt x="280" y="197"/>
                </a:cubicBezTo>
                <a:cubicBezTo>
                  <a:pt x="171" y="165"/>
                  <a:pt x="171" y="165"/>
                  <a:pt x="171" y="165"/>
                </a:cubicBezTo>
                <a:cubicBezTo>
                  <a:pt x="171" y="136"/>
                  <a:pt x="171" y="136"/>
                  <a:pt x="171" y="136"/>
                </a:cubicBezTo>
                <a:lnTo>
                  <a:pt x="221" y="136"/>
                </a:lnTo>
                <a:close/>
                <a:moveTo>
                  <a:pt x="171" y="275"/>
                </a:moveTo>
                <a:cubicBezTo>
                  <a:pt x="171" y="191"/>
                  <a:pt x="171" y="191"/>
                  <a:pt x="171" y="191"/>
                </a:cubicBezTo>
                <a:cubicBezTo>
                  <a:pt x="280" y="222"/>
                  <a:pt x="280" y="222"/>
                  <a:pt x="280" y="222"/>
                </a:cubicBezTo>
                <a:cubicBezTo>
                  <a:pt x="389" y="191"/>
                  <a:pt x="389" y="191"/>
                  <a:pt x="389" y="191"/>
                </a:cubicBezTo>
                <a:cubicBezTo>
                  <a:pt x="389" y="275"/>
                  <a:pt x="389" y="275"/>
                  <a:pt x="389" y="275"/>
                </a:cubicBezTo>
                <a:lnTo>
                  <a:pt x="171" y="275"/>
                </a:lnTo>
                <a:close/>
                <a:moveTo>
                  <a:pt x="576" y="0"/>
                </a:moveTo>
                <a:cubicBezTo>
                  <a:pt x="0" y="0"/>
                  <a:pt x="0" y="0"/>
                  <a:pt x="0" y="0"/>
                </a:cubicBezTo>
                <a:cubicBezTo>
                  <a:pt x="0" y="576"/>
                  <a:pt x="0" y="576"/>
                  <a:pt x="0" y="576"/>
                </a:cubicBezTo>
                <a:cubicBezTo>
                  <a:pt x="159" y="576"/>
                  <a:pt x="159" y="576"/>
                  <a:pt x="159" y="576"/>
                </a:cubicBezTo>
                <a:cubicBezTo>
                  <a:pt x="160" y="576"/>
                  <a:pt x="160" y="576"/>
                  <a:pt x="160" y="576"/>
                </a:cubicBezTo>
                <a:cubicBezTo>
                  <a:pt x="160" y="576"/>
                  <a:pt x="160" y="576"/>
                  <a:pt x="160" y="576"/>
                </a:cubicBezTo>
                <a:cubicBezTo>
                  <a:pt x="576" y="576"/>
                  <a:pt x="576" y="576"/>
                  <a:pt x="576" y="576"/>
                </a:cubicBezTo>
                <a:lnTo>
                  <a:pt x="576" y="0"/>
                </a:lnTo>
                <a:close/>
                <a:moveTo>
                  <a:pt x="25" y="547"/>
                </a:moveTo>
                <a:cubicBezTo>
                  <a:pt x="44" y="527"/>
                  <a:pt x="167" y="406"/>
                  <a:pt x="179" y="394"/>
                </a:cubicBezTo>
                <a:cubicBezTo>
                  <a:pt x="181" y="392"/>
                  <a:pt x="184" y="389"/>
                  <a:pt x="186" y="387"/>
                </a:cubicBezTo>
                <a:cubicBezTo>
                  <a:pt x="192" y="380"/>
                  <a:pt x="193" y="379"/>
                  <a:pt x="199" y="379"/>
                </a:cubicBezTo>
                <a:cubicBezTo>
                  <a:pt x="322" y="379"/>
                  <a:pt x="322" y="379"/>
                  <a:pt x="322" y="379"/>
                </a:cubicBezTo>
                <a:cubicBezTo>
                  <a:pt x="323" y="379"/>
                  <a:pt x="323" y="379"/>
                  <a:pt x="323" y="379"/>
                </a:cubicBezTo>
                <a:cubicBezTo>
                  <a:pt x="324" y="379"/>
                  <a:pt x="340" y="377"/>
                  <a:pt x="345" y="386"/>
                </a:cubicBezTo>
                <a:cubicBezTo>
                  <a:pt x="348" y="391"/>
                  <a:pt x="347" y="400"/>
                  <a:pt x="344" y="406"/>
                </a:cubicBezTo>
                <a:cubicBezTo>
                  <a:pt x="343" y="407"/>
                  <a:pt x="342" y="408"/>
                  <a:pt x="340" y="409"/>
                </a:cubicBezTo>
                <a:cubicBezTo>
                  <a:pt x="334" y="411"/>
                  <a:pt x="329" y="411"/>
                  <a:pt x="325" y="411"/>
                </a:cubicBezTo>
                <a:cubicBezTo>
                  <a:pt x="323" y="410"/>
                  <a:pt x="321" y="410"/>
                  <a:pt x="320" y="410"/>
                </a:cubicBezTo>
                <a:cubicBezTo>
                  <a:pt x="211" y="410"/>
                  <a:pt x="211" y="410"/>
                  <a:pt x="211" y="410"/>
                </a:cubicBezTo>
                <a:cubicBezTo>
                  <a:pt x="211" y="435"/>
                  <a:pt x="211" y="435"/>
                  <a:pt x="211" y="435"/>
                </a:cubicBezTo>
                <a:cubicBezTo>
                  <a:pt x="320" y="435"/>
                  <a:pt x="320" y="435"/>
                  <a:pt x="320" y="435"/>
                </a:cubicBezTo>
                <a:cubicBezTo>
                  <a:pt x="321" y="435"/>
                  <a:pt x="322" y="435"/>
                  <a:pt x="324" y="435"/>
                </a:cubicBezTo>
                <a:cubicBezTo>
                  <a:pt x="328" y="435"/>
                  <a:pt x="333" y="435"/>
                  <a:pt x="337" y="435"/>
                </a:cubicBezTo>
                <a:cubicBezTo>
                  <a:pt x="342" y="435"/>
                  <a:pt x="346" y="434"/>
                  <a:pt x="350" y="432"/>
                </a:cubicBezTo>
                <a:cubicBezTo>
                  <a:pt x="363" y="428"/>
                  <a:pt x="379" y="418"/>
                  <a:pt x="399" y="396"/>
                </a:cubicBezTo>
                <a:cubicBezTo>
                  <a:pt x="432" y="359"/>
                  <a:pt x="468" y="326"/>
                  <a:pt x="482" y="313"/>
                </a:cubicBezTo>
                <a:cubicBezTo>
                  <a:pt x="485" y="310"/>
                  <a:pt x="485" y="310"/>
                  <a:pt x="485" y="310"/>
                </a:cubicBezTo>
                <a:cubicBezTo>
                  <a:pt x="488" y="307"/>
                  <a:pt x="495" y="304"/>
                  <a:pt x="500" y="304"/>
                </a:cubicBezTo>
                <a:cubicBezTo>
                  <a:pt x="504" y="305"/>
                  <a:pt x="506" y="306"/>
                  <a:pt x="508" y="309"/>
                </a:cubicBezTo>
                <a:cubicBezTo>
                  <a:pt x="516" y="318"/>
                  <a:pt x="508" y="330"/>
                  <a:pt x="507" y="332"/>
                </a:cubicBezTo>
                <a:cubicBezTo>
                  <a:pt x="503" y="335"/>
                  <a:pt x="485" y="353"/>
                  <a:pt x="464" y="373"/>
                </a:cubicBezTo>
                <a:cubicBezTo>
                  <a:pt x="429" y="407"/>
                  <a:pt x="385" y="450"/>
                  <a:pt x="377" y="459"/>
                </a:cubicBezTo>
                <a:cubicBezTo>
                  <a:pt x="376" y="459"/>
                  <a:pt x="376" y="459"/>
                  <a:pt x="376" y="459"/>
                </a:cubicBezTo>
                <a:cubicBezTo>
                  <a:pt x="370" y="466"/>
                  <a:pt x="360" y="477"/>
                  <a:pt x="339" y="477"/>
                </a:cubicBezTo>
                <a:cubicBezTo>
                  <a:pt x="226" y="477"/>
                  <a:pt x="226" y="477"/>
                  <a:pt x="226" y="477"/>
                </a:cubicBezTo>
                <a:cubicBezTo>
                  <a:pt x="150" y="552"/>
                  <a:pt x="150" y="552"/>
                  <a:pt x="150" y="552"/>
                </a:cubicBezTo>
                <a:cubicBezTo>
                  <a:pt x="25" y="552"/>
                  <a:pt x="25" y="552"/>
                  <a:pt x="25" y="552"/>
                </a:cubicBezTo>
                <a:lnTo>
                  <a:pt x="25" y="547"/>
                </a:lnTo>
                <a:close/>
                <a:moveTo>
                  <a:pt x="551" y="552"/>
                </a:moveTo>
                <a:cubicBezTo>
                  <a:pt x="185" y="552"/>
                  <a:pt x="185" y="552"/>
                  <a:pt x="185" y="552"/>
                </a:cubicBezTo>
                <a:cubicBezTo>
                  <a:pt x="236" y="502"/>
                  <a:pt x="236" y="502"/>
                  <a:pt x="236" y="502"/>
                </a:cubicBezTo>
                <a:cubicBezTo>
                  <a:pt x="339" y="502"/>
                  <a:pt x="339" y="502"/>
                  <a:pt x="339" y="502"/>
                </a:cubicBezTo>
                <a:cubicBezTo>
                  <a:pt x="370" y="502"/>
                  <a:pt x="386" y="484"/>
                  <a:pt x="394" y="476"/>
                </a:cubicBezTo>
                <a:cubicBezTo>
                  <a:pt x="395" y="476"/>
                  <a:pt x="395" y="476"/>
                  <a:pt x="395" y="476"/>
                </a:cubicBezTo>
                <a:cubicBezTo>
                  <a:pt x="402" y="468"/>
                  <a:pt x="448" y="423"/>
                  <a:pt x="482" y="391"/>
                </a:cubicBezTo>
                <a:cubicBezTo>
                  <a:pt x="503" y="369"/>
                  <a:pt x="521" y="352"/>
                  <a:pt x="524" y="349"/>
                </a:cubicBezTo>
                <a:cubicBezTo>
                  <a:pt x="535" y="338"/>
                  <a:pt x="544" y="313"/>
                  <a:pt x="528" y="293"/>
                </a:cubicBezTo>
                <a:cubicBezTo>
                  <a:pt x="521" y="285"/>
                  <a:pt x="512" y="281"/>
                  <a:pt x="502" y="280"/>
                </a:cubicBezTo>
                <a:cubicBezTo>
                  <a:pt x="488" y="279"/>
                  <a:pt x="475" y="286"/>
                  <a:pt x="468" y="292"/>
                </a:cubicBezTo>
                <a:cubicBezTo>
                  <a:pt x="465" y="295"/>
                  <a:pt x="465" y="295"/>
                  <a:pt x="465" y="295"/>
                </a:cubicBezTo>
                <a:cubicBezTo>
                  <a:pt x="451" y="308"/>
                  <a:pt x="414" y="342"/>
                  <a:pt x="381" y="379"/>
                </a:cubicBezTo>
                <a:cubicBezTo>
                  <a:pt x="377" y="383"/>
                  <a:pt x="374" y="386"/>
                  <a:pt x="371" y="389"/>
                </a:cubicBezTo>
                <a:cubicBezTo>
                  <a:pt x="370" y="384"/>
                  <a:pt x="369" y="379"/>
                  <a:pt x="367" y="374"/>
                </a:cubicBezTo>
                <a:cubicBezTo>
                  <a:pt x="357" y="356"/>
                  <a:pt x="334" y="353"/>
                  <a:pt x="321" y="355"/>
                </a:cubicBezTo>
                <a:cubicBezTo>
                  <a:pt x="199" y="355"/>
                  <a:pt x="199" y="355"/>
                  <a:pt x="199" y="355"/>
                </a:cubicBezTo>
                <a:cubicBezTo>
                  <a:pt x="182" y="355"/>
                  <a:pt x="175" y="362"/>
                  <a:pt x="168" y="370"/>
                </a:cubicBezTo>
                <a:cubicBezTo>
                  <a:pt x="166" y="372"/>
                  <a:pt x="164" y="374"/>
                  <a:pt x="161" y="377"/>
                </a:cubicBezTo>
                <a:cubicBezTo>
                  <a:pt x="152" y="386"/>
                  <a:pt x="65" y="473"/>
                  <a:pt x="25" y="513"/>
                </a:cubicBezTo>
                <a:cubicBezTo>
                  <a:pt x="25" y="25"/>
                  <a:pt x="25" y="25"/>
                  <a:pt x="25" y="25"/>
                </a:cubicBezTo>
                <a:cubicBezTo>
                  <a:pt x="551" y="25"/>
                  <a:pt x="551" y="25"/>
                  <a:pt x="551" y="25"/>
                </a:cubicBezTo>
                <a:lnTo>
                  <a:pt x="551" y="552"/>
                </a:lnTo>
                <a:close/>
              </a:path>
            </a:pathLst>
          </a:custGeom>
          <a:solidFill>
            <a:srgbClr val="BA2E96"/>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chemeClr val="accent1"/>
              </a:solidFill>
              <a:latin typeface="Arial"/>
              <a:ea typeface="Arial"/>
              <a:cs typeface="Arial"/>
              <a:sym typeface="Arial"/>
            </a:endParaRPr>
          </a:p>
        </p:txBody>
      </p:sp>
      <p:sp>
        <p:nvSpPr>
          <p:cNvPr id="29" name="Google Shape;25933;p308">
            <a:extLst>
              <a:ext uri="{FF2B5EF4-FFF2-40B4-BE49-F238E27FC236}">
                <a16:creationId xmlns:a16="http://schemas.microsoft.com/office/drawing/2014/main" id="{AEDB0640-3AFD-403E-9ED5-0919365DE880}"/>
              </a:ext>
            </a:extLst>
          </p:cNvPr>
          <p:cNvSpPr/>
          <p:nvPr/>
        </p:nvSpPr>
        <p:spPr>
          <a:xfrm>
            <a:off x="5443674" y="1993740"/>
            <a:ext cx="452559" cy="485591"/>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rgbClr val="BA2E96"/>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chemeClr val="accent1"/>
              </a:solidFill>
              <a:latin typeface="Arial"/>
              <a:ea typeface="Arial"/>
              <a:cs typeface="Arial"/>
              <a:sym typeface="Arial"/>
            </a:endParaRPr>
          </a:p>
        </p:txBody>
      </p:sp>
      <p:sp>
        <p:nvSpPr>
          <p:cNvPr id="30" name="Google Shape;25913;p308">
            <a:extLst>
              <a:ext uri="{FF2B5EF4-FFF2-40B4-BE49-F238E27FC236}">
                <a16:creationId xmlns:a16="http://schemas.microsoft.com/office/drawing/2014/main" id="{A8AC929D-B024-4A81-9B45-035A60940E7C}"/>
              </a:ext>
            </a:extLst>
          </p:cNvPr>
          <p:cNvSpPr/>
          <p:nvPr/>
        </p:nvSpPr>
        <p:spPr>
          <a:xfrm>
            <a:off x="5430014" y="2724948"/>
            <a:ext cx="452558" cy="48331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98"/>
                </a:moveTo>
                <a:cubicBezTo>
                  <a:pt x="239" y="98"/>
                  <a:pt x="200" y="138"/>
                  <a:pt x="200" y="186"/>
                </a:cubicBezTo>
                <a:cubicBezTo>
                  <a:pt x="200" y="235"/>
                  <a:pt x="239" y="275"/>
                  <a:pt x="288" y="275"/>
                </a:cubicBezTo>
                <a:cubicBezTo>
                  <a:pt x="337" y="275"/>
                  <a:pt x="376" y="235"/>
                  <a:pt x="376" y="186"/>
                </a:cubicBezTo>
                <a:cubicBezTo>
                  <a:pt x="376" y="138"/>
                  <a:pt x="337" y="98"/>
                  <a:pt x="288" y="98"/>
                </a:cubicBezTo>
                <a:close/>
                <a:moveTo>
                  <a:pt x="288" y="123"/>
                </a:moveTo>
                <a:cubicBezTo>
                  <a:pt x="309" y="123"/>
                  <a:pt x="328" y="133"/>
                  <a:pt x="339" y="149"/>
                </a:cubicBezTo>
                <a:cubicBezTo>
                  <a:pt x="237" y="149"/>
                  <a:pt x="237" y="149"/>
                  <a:pt x="237" y="149"/>
                </a:cubicBezTo>
                <a:cubicBezTo>
                  <a:pt x="248" y="133"/>
                  <a:pt x="267" y="123"/>
                  <a:pt x="288" y="123"/>
                </a:cubicBezTo>
                <a:close/>
                <a:moveTo>
                  <a:pt x="288" y="250"/>
                </a:moveTo>
                <a:cubicBezTo>
                  <a:pt x="266" y="250"/>
                  <a:pt x="247" y="239"/>
                  <a:pt x="236" y="223"/>
                </a:cubicBezTo>
                <a:cubicBezTo>
                  <a:pt x="340" y="223"/>
                  <a:pt x="340" y="223"/>
                  <a:pt x="340" y="223"/>
                </a:cubicBezTo>
                <a:cubicBezTo>
                  <a:pt x="329" y="239"/>
                  <a:pt x="310" y="250"/>
                  <a:pt x="288" y="250"/>
                </a:cubicBezTo>
                <a:close/>
                <a:moveTo>
                  <a:pt x="225" y="199"/>
                </a:moveTo>
                <a:cubicBezTo>
                  <a:pt x="225" y="195"/>
                  <a:pt x="224" y="191"/>
                  <a:pt x="224" y="186"/>
                </a:cubicBezTo>
                <a:cubicBezTo>
                  <a:pt x="224" y="182"/>
                  <a:pt x="225" y="177"/>
                  <a:pt x="226" y="173"/>
                </a:cubicBezTo>
                <a:cubicBezTo>
                  <a:pt x="350" y="173"/>
                  <a:pt x="350" y="173"/>
                  <a:pt x="350" y="173"/>
                </a:cubicBezTo>
                <a:cubicBezTo>
                  <a:pt x="351" y="177"/>
                  <a:pt x="352" y="182"/>
                  <a:pt x="352" y="186"/>
                </a:cubicBezTo>
                <a:cubicBezTo>
                  <a:pt x="352" y="191"/>
                  <a:pt x="351" y="195"/>
                  <a:pt x="351" y="199"/>
                </a:cubicBezTo>
                <a:lnTo>
                  <a:pt x="225" y="199"/>
                </a:lnTo>
                <a:close/>
                <a:moveTo>
                  <a:pt x="406" y="302"/>
                </a:moveTo>
                <a:cubicBezTo>
                  <a:pt x="357" y="302"/>
                  <a:pt x="317" y="342"/>
                  <a:pt x="317" y="390"/>
                </a:cubicBezTo>
                <a:cubicBezTo>
                  <a:pt x="317" y="439"/>
                  <a:pt x="357" y="478"/>
                  <a:pt x="406" y="478"/>
                </a:cubicBezTo>
                <a:cubicBezTo>
                  <a:pt x="454" y="478"/>
                  <a:pt x="494" y="439"/>
                  <a:pt x="494" y="390"/>
                </a:cubicBezTo>
                <a:cubicBezTo>
                  <a:pt x="494" y="342"/>
                  <a:pt x="454" y="302"/>
                  <a:pt x="406" y="302"/>
                </a:cubicBezTo>
                <a:close/>
                <a:moveTo>
                  <a:pt x="406" y="454"/>
                </a:moveTo>
                <a:cubicBezTo>
                  <a:pt x="370" y="454"/>
                  <a:pt x="342" y="425"/>
                  <a:pt x="342" y="390"/>
                </a:cubicBezTo>
                <a:cubicBezTo>
                  <a:pt x="342" y="355"/>
                  <a:pt x="370" y="326"/>
                  <a:pt x="406" y="326"/>
                </a:cubicBezTo>
                <a:cubicBezTo>
                  <a:pt x="441" y="326"/>
                  <a:pt x="469" y="355"/>
                  <a:pt x="469" y="390"/>
                </a:cubicBezTo>
                <a:cubicBezTo>
                  <a:pt x="469" y="425"/>
                  <a:pt x="441" y="454"/>
                  <a:pt x="406" y="454"/>
                </a:cubicBezTo>
                <a:close/>
                <a:moveTo>
                  <a:pt x="170" y="302"/>
                </a:moveTo>
                <a:cubicBezTo>
                  <a:pt x="122" y="302"/>
                  <a:pt x="82" y="342"/>
                  <a:pt x="82" y="390"/>
                </a:cubicBezTo>
                <a:cubicBezTo>
                  <a:pt x="82" y="439"/>
                  <a:pt x="122" y="478"/>
                  <a:pt x="170" y="478"/>
                </a:cubicBezTo>
                <a:cubicBezTo>
                  <a:pt x="219" y="478"/>
                  <a:pt x="259" y="439"/>
                  <a:pt x="259" y="390"/>
                </a:cubicBezTo>
                <a:cubicBezTo>
                  <a:pt x="259" y="342"/>
                  <a:pt x="219" y="302"/>
                  <a:pt x="170" y="302"/>
                </a:cubicBezTo>
                <a:close/>
                <a:moveTo>
                  <a:pt x="170" y="454"/>
                </a:moveTo>
                <a:cubicBezTo>
                  <a:pt x="135" y="454"/>
                  <a:pt x="107" y="425"/>
                  <a:pt x="107" y="390"/>
                </a:cubicBezTo>
                <a:cubicBezTo>
                  <a:pt x="107" y="355"/>
                  <a:pt x="135" y="326"/>
                  <a:pt x="170" y="326"/>
                </a:cubicBezTo>
                <a:cubicBezTo>
                  <a:pt x="206" y="326"/>
                  <a:pt x="234" y="355"/>
                  <a:pt x="234" y="390"/>
                </a:cubicBezTo>
                <a:cubicBezTo>
                  <a:pt x="234" y="425"/>
                  <a:pt x="206" y="454"/>
                  <a:pt x="170" y="454"/>
                </a:cubicBezTo>
                <a:close/>
                <a:moveTo>
                  <a:pt x="406" y="345"/>
                </a:moveTo>
                <a:cubicBezTo>
                  <a:pt x="381" y="345"/>
                  <a:pt x="361" y="365"/>
                  <a:pt x="361" y="390"/>
                </a:cubicBezTo>
                <a:cubicBezTo>
                  <a:pt x="361" y="415"/>
                  <a:pt x="381" y="435"/>
                  <a:pt x="406" y="435"/>
                </a:cubicBezTo>
                <a:cubicBezTo>
                  <a:pt x="430" y="435"/>
                  <a:pt x="451" y="415"/>
                  <a:pt x="451" y="390"/>
                </a:cubicBezTo>
                <a:cubicBezTo>
                  <a:pt x="451" y="365"/>
                  <a:pt x="430" y="345"/>
                  <a:pt x="406" y="345"/>
                </a:cubicBezTo>
                <a:close/>
                <a:moveTo>
                  <a:pt x="406" y="411"/>
                </a:moveTo>
                <a:cubicBezTo>
                  <a:pt x="394" y="411"/>
                  <a:pt x="385" y="402"/>
                  <a:pt x="385" y="390"/>
                </a:cubicBezTo>
                <a:cubicBezTo>
                  <a:pt x="385" y="379"/>
                  <a:pt x="394" y="370"/>
                  <a:pt x="406" y="370"/>
                </a:cubicBezTo>
                <a:cubicBezTo>
                  <a:pt x="417" y="370"/>
                  <a:pt x="426" y="379"/>
                  <a:pt x="426" y="390"/>
                </a:cubicBezTo>
                <a:cubicBezTo>
                  <a:pt x="426" y="402"/>
                  <a:pt x="417" y="411"/>
                  <a:pt x="406" y="411"/>
                </a:cubicBezTo>
                <a:close/>
              </a:path>
            </a:pathLst>
          </a:custGeom>
          <a:solidFill>
            <a:srgbClr val="BA2E96"/>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dirty="0">
              <a:solidFill>
                <a:schemeClr val="accent1"/>
              </a:solidFill>
              <a:latin typeface="Arial"/>
              <a:ea typeface="Arial"/>
              <a:cs typeface="Arial"/>
              <a:sym typeface="Arial"/>
            </a:endParaRPr>
          </a:p>
        </p:txBody>
      </p:sp>
      <p:sp>
        <p:nvSpPr>
          <p:cNvPr id="4" name="Slide Number Placeholder 3">
            <a:extLst>
              <a:ext uri="{FF2B5EF4-FFF2-40B4-BE49-F238E27FC236}">
                <a16:creationId xmlns:a16="http://schemas.microsoft.com/office/drawing/2014/main" id="{13BD1073-F6AE-B316-1205-E0124AE13205}"/>
              </a:ext>
            </a:extLst>
          </p:cNvPr>
          <p:cNvSpPr>
            <a:spLocks noGrp="1"/>
          </p:cNvSpPr>
          <p:nvPr>
            <p:ph type="sldNum" sz="quarter" idx="12"/>
          </p:nvPr>
        </p:nvSpPr>
        <p:spPr/>
        <p:txBody>
          <a:bodyPr/>
          <a:lstStyle/>
          <a:p>
            <a:fld id="{C0F55C17-AF72-40D4-ADBD-B5505DEBF9BA}" type="slidenum">
              <a:rPr lang="en-AU" smtClean="0"/>
              <a:t>17</a:t>
            </a:fld>
            <a:endParaRPr lang="en-US" dirty="0"/>
          </a:p>
        </p:txBody>
      </p:sp>
      <p:sp>
        <p:nvSpPr>
          <p:cNvPr id="2" name="Footer Placeholder 1">
            <a:extLst>
              <a:ext uri="{FF2B5EF4-FFF2-40B4-BE49-F238E27FC236}">
                <a16:creationId xmlns:a16="http://schemas.microsoft.com/office/drawing/2014/main" id="{1DA46D9D-EA47-D4C4-FB22-8EE966C41332}"/>
              </a:ext>
            </a:extLst>
          </p:cNvPr>
          <p:cNvSpPr>
            <a:spLocks noGrp="1"/>
          </p:cNvSpPr>
          <p:nvPr>
            <p:ph type="ftr" sz="quarter" idx="11"/>
          </p:nvPr>
        </p:nvSpPr>
        <p:spPr>
          <a:xfrm>
            <a:off x="1158332" y="6356350"/>
            <a:ext cx="6783813" cy="180000"/>
          </a:xfrm>
        </p:spPr>
        <p:txBody>
          <a:bodyPr/>
          <a:lstStyle/>
          <a:p>
            <a:pPr algn="ctr"/>
            <a:r>
              <a:rPr lang="en-AU" smtClean="0"/>
              <a:t>NDIS Commission Workforce Plan 2023-2028</a:t>
            </a:r>
            <a:endParaRPr lang="en-US" dirty="0"/>
          </a:p>
        </p:txBody>
      </p:sp>
      <p:sp>
        <p:nvSpPr>
          <p:cNvPr id="31" name="Speech Bubble: Rectangle 30">
            <a:extLst>
              <a:ext uri="{FF2B5EF4-FFF2-40B4-BE49-F238E27FC236}">
                <a16:creationId xmlns:a16="http://schemas.microsoft.com/office/drawing/2014/main" id="{46372F27-0498-42B0-97E5-4C2089D4941D}"/>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32" name="Group 31">
            <a:extLst>
              <a:ext uri="{FF2B5EF4-FFF2-40B4-BE49-F238E27FC236}">
                <a16:creationId xmlns:a16="http://schemas.microsoft.com/office/drawing/2014/main" id="{7F13AA80-04D3-470C-90B0-AC26157D01B9}"/>
              </a:ext>
            </a:extLst>
          </p:cNvPr>
          <p:cNvGrpSpPr/>
          <p:nvPr/>
        </p:nvGrpSpPr>
        <p:grpSpPr>
          <a:xfrm>
            <a:off x="10609741" y="1048190"/>
            <a:ext cx="396000" cy="376186"/>
            <a:chOff x="627146" y="1619763"/>
            <a:chExt cx="396000" cy="396000"/>
          </a:xfrm>
        </p:grpSpPr>
        <p:sp>
          <p:nvSpPr>
            <p:cNvPr id="33" name="Rectangle 32">
              <a:extLst>
                <a:ext uri="{FF2B5EF4-FFF2-40B4-BE49-F238E27FC236}">
                  <a16:creationId xmlns:a16="http://schemas.microsoft.com/office/drawing/2014/main" id="{38EB1AED-3110-41A4-9198-1B2769F87E0B}"/>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4" name="Freeform 118">
              <a:extLst>
                <a:ext uri="{FF2B5EF4-FFF2-40B4-BE49-F238E27FC236}">
                  <a16:creationId xmlns:a16="http://schemas.microsoft.com/office/drawing/2014/main" id="{2D7EF49E-D1EC-41CF-9044-2093E475BAF2}"/>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19">
              <a:extLst>
                <a:ext uri="{FF2B5EF4-FFF2-40B4-BE49-F238E27FC236}">
                  <a16:creationId xmlns:a16="http://schemas.microsoft.com/office/drawing/2014/main" id="{705FEC42-B6B9-4FE4-A308-B15EBAB330F9}"/>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7" name="Freeform 120">
              <a:extLst>
                <a:ext uri="{FF2B5EF4-FFF2-40B4-BE49-F238E27FC236}">
                  <a16:creationId xmlns:a16="http://schemas.microsoft.com/office/drawing/2014/main" id="{E41468C3-BB5F-4D9D-96A2-807BA4251AA1}"/>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8" name="Freeform 121">
              <a:extLst>
                <a:ext uri="{FF2B5EF4-FFF2-40B4-BE49-F238E27FC236}">
                  <a16:creationId xmlns:a16="http://schemas.microsoft.com/office/drawing/2014/main" id="{9FA2E34C-2B1A-4D37-8FB5-37E33F1505D1}"/>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9" name="Freeform 122">
              <a:extLst>
                <a:ext uri="{FF2B5EF4-FFF2-40B4-BE49-F238E27FC236}">
                  <a16:creationId xmlns:a16="http://schemas.microsoft.com/office/drawing/2014/main" id="{72B1786E-D7B4-4A70-8070-EEB91DC40B36}"/>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0" name="Freeform 124">
              <a:extLst>
                <a:ext uri="{FF2B5EF4-FFF2-40B4-BE49-F238E27FC236}">
                  <a16:creationId xmlns:a16="http://schemas.microsoft.com/office/drawing/2014/main" id="{2E039A1B-9094-49F8-B139-6301F1252379}"/>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1" name="Freeform 128">
              <a:extLst>
                <a:ext uri="{FF2B5EF4-FFF2-40B4-BE49-F238E27FC236}">
                  <a16:creationId xmlns:a16="http://schemas.microsoft.com/office/drawing/2014/main" id="{2C064711-268B-4A4C-8210-0C89C8F22125}"/>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2" name="Freeform 129">
              <a:extLst>
                <a:ext uri="{FF2B5EF4-FFF2-40B4-BE49-F238E27FC236}">
                  <a16:creationId xmlns:a16="http://schemas.microsoft.com/office/drawing/2014/main" id="{EFBEC0BC-7654-4393-9077-FF810683B0F0}"/>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3" name="Freeform 130">
              <a:extLst>
                <a:ext uri="{FF2B5EF4-FFF2-40B4-BE49-F238E27FC236}">
                  <a16:creationId xmlns:a16="http://schemas.microsoft.com/office/drawing/2014/main" id="{7005C6A2-AA2A-4906-A08F-456CDCFFDD38}"/>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4" name="Freeform 131">
              <a:extLst>
                <a:ext uri="{FF2B5EF4-FFF2-40B4-BE49-F238E27FC236}">
                  <a16:creationId xmlns:a16="http://schemas.microsoft.com/office/drawing/2014/main" id="{C87522CB-1EF2-4171-9B0B-C6CA01CB8838}"/>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5" name="Freeform 133">
              <a:extLst>
                <a:ext uri="{FF2B5EF4-FFF2-40B4-BE49-F238E27FC236}">
                  <a16:creationId xmlns:a16="http://schemas.microsoft.com/office/drawing/2014/main" id="{36317068-857A-470A-86B5-B9FD2331BF8C}"/>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6" name="Freeform 134">
              <a:extLst>
                <a:ext uri="{FF2B5EF4-FFF2-40B4-BE49-F238E27FC236}">
                  <a16:creationId xmlns:a16="http://schemas.microsoft.com/office/drawing/2014/main" id="{6A238673-5DF7-4652-905B-32E1B745B3E0}"/>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8" name="Freeform 135">
              <a:extLst>
                <a:ext uri="{FF2B5EF4-FFF2-40B4-BE49-F238E27FC236}">
                  <a16:creationId xmlns:a16="http://schemas.microsoft.com/office/drawing/2014/main" id="{414BCF51-C15D-4F33-9263-B7D6399DD8DD}"/>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49" name="Google Shape;162;p4">
            <a:extLst>
              <a:ext uri="{FF2B5EF4-FFF2-40B4-BE49-F238E27FC236}">
                <a16:creationId xmlns:a16="http://schemas.microsoft.com/office/drawing/2014/main" id="{03ACA400-6A80-4E9D-92A8-B38A8EE5049E}"/>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50" name="Freeform 37">
            <a:extLst>
              <a:ext uri="{FF2B5EF4-FFF2-40B4-BE49-F238E27FC236}">
                <a16:creationId xmlns:a16="http://schemas.microsoft.com/office/drawing/2014/main" id="{1BB02C0F-583D-41EF-84B4-BF92387FA366}"/>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51" name="TextBox 50">
            <a:extLst>
              <a:ext uri="{FF2B5EF4-FFF2-40B4-BE49-F238E27FC236}">
                <a16:creationId xmlns:a16="http://schemas.microsoft.com/office/drawing/2014/main" id="{5B7E4D73-87B1-4C8D-AF35-108EBD91D3AE}"/>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2801306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5">
            <a:extLst>
              <a:ext uri="{FF2B5EF4-FFF2-40B4-BE49-F238E27FC236}">
                <a16:creationId xmlns:a16="http://schemas.microsoft.com/office/drawing/2014/main" id="{F8CD9169-69A6-4C99-BA88-43A85A097F05}"/>
              </a:ext>
            </a:extLst>
          </p:cNvPr>
          <p:cNvSpPr txBox="1">
            <a:spLocks/>
          </p:cNvSpPr>
          <p:nvPr/>
        </p:nvSpPr>
        <p:spPr>
          <a:xfrm>
            <a:off x="486019" y="1584069"/>
            <a:ext cx="4729905" cy="4513597"/>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spcAft>
                <a:spcPts val="300"/>
              </a:spcAft>
            </a:pPr>
            <a:r>
              <a:rPr lang="en-AU" sz="1100" dirty="0">
                <a:solidFill>
                  <a:schemeClr val="accent4"/>
                </a:solidFill>
                <a:latin typeface="+mj-lt"/>
              </a:rPr>
              <a:t>Our Aspiration</a:t>
            </a:r>
          </a:p>
          <a:p>
            <a:pPr>
              <a:lnSpc>
                <a:spcPct val="100000"/>
              </a:lnSpc>
              <a:spcBef>
                <a:spcPts val="300"/>
              </a:spcBef>
            </a:pPr>
            <a:r>
              <a:rPr lang="en-AU" sz="1100" b="0" dirty="0"/>
              <a:t>We continue to evolve and meaningfully embed contemporary and purpose-driven regulatory frameworks into capabilities, behaviours and ways of working. These are </a:t>
            </a:r>
            <a:r>
              <a:rPr lang="en-AU" sz="1100" b="0" i="1" dirty="0"/>
              <a:t>critical in transitioning into the future state </a:t>
            </a:r>
            <a:r>
              <a:rPr lang="en-AU" sz="1100" b="0" dirty="0"/>
              <a:t>and achieving our purpose. Our workforce is agile, flexible and willing to pivot with changes in demand as it arises, as the Commission shifts from </a:t>
            </a:r>
            <a:r>
              <a:rPr lang="en-AU" sz="1100" b="0" dirty="0" smtClean="0"/>
              <a:t>start-up </a:t>
            </a:r>
            <a:r>
              <a:rPr lang="en-AU" sz="1100" b="0" dirty="0"/>
              <a:t>to </a:t>
            </a:r>
            <a:r>
              <a:rPr lang="en-AU" sz="1100" b="0" dirty="0" smtClean="0"/>
              <a:t>scale-up </a:t>
            </a:r>
            <a:r>
              <a:rPr lang="en-AU" sz="1100" b="0" dirty="0"/>
              <a:t>with a reputation for regulatory excellence.</a:t>
            </a:r>
            <a:endParaRPr lang="en-AU" sz="1100" b="0" dirty="0">
              <a:cs typeface="Calibri"/>
            </a:endParaRPr>
          </a:p>
          <a:p>
            <a:pPr>
              <a:lnSpc>
                <a:spcPct val="100000"/>
              </a:lnSpc>
              <a:spcBef>
                <a:spcPts val="300"/>
              </a:spcBef>
            </a:pPr>
            <a:r>
              <a:rPr lang="en-AU" sz="1100" b="0" dirty="0"/>
              <a:t>We do this by:</a:t>
            </a:r>
            <a:endParaRPr lang="en-AU"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US" sz="1100" b="0" dirty="0"/>
              <a:t>leveraging capacity within the workforce, </a:t>
            </a:r>
            <a:r>
              <a:rPr lang="en-US" sz="1100" dirty="0"/>
              <a:t>by building internal capability and cross skilling </a:t>
            </a:r>
            <a:r>
              <a:rPr lang="en-US" sz="1100" b="0" dirty="0"/>
              <a:t>our people so they can flex and respond to increases in demand as it arises</a:t>
            </a:r>
            <a:endParaRPr lang="en-US"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US" sz="1100" b="0" dirty="0"/>
              <a:t>continuing to </a:t>
            </a:r>
            <a:r>
              <a:rPr lang="en-US" sz="1100" dirty="0"/>
              <a:t>attract diverse talent </a:t>
            </a:r>
            <a:r>
              <a:rPr lang="en-US" sz="1100" b="0" dirty="0"/>
              <a:t>to our </a:t>
            </a:r>
            <a:r>
              <a:rPr lang="en-US" sz="1100" dirty="0"/>
              <a:t>workforce</a:t>
            </a:r>
            <a:r>
              <a:rPr lang="en-US" sz="1100" b="0" dirty="0"/>
              <a:t> and encouraging workforce participation across different segments of the labour market</a:t>
            </a:r>
            <a:endParaRPr lang="en-US"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AU" sz="1100" b="0" dirty="0"/>
              <a:t>enabling our people and leaders</a:t>
            </a:r>
            <a:r>
              <a:rPr lang="en-AU" sz="1100" dirty="0"/>
              <a:t> to grow and develop </a:t>
            </a:r>
            <a:r>
              <a:rPr lang="en-AU" sz="1100" b="0" dirty="0"/>
              <a:t>through consistent and sustainable talent planning processes</a:t>
            </a:r>
            <a:endParaRPr lang="en-AU"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AU" sz="1100" dirty="0"/>
              <a:t>prioritising work and managing risk </a:t>
            </a:r>
            <a:r>
              <a:rPr lang="en-AU" sz="1100" b="0" dirty="0"/>
              <a:t>proportionately, taking decisive, proactive action through change uncertainty</a:t>
            </a:r>
            <a:endParaRPr lang="en-AU"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AU" sz="1100" b="0" dirty="0"/>
              <a:t>empowering </a:t>
            </a:r>
            <a:r>
              <a:rPr lang="en-AU" sz="1100" dirty="0"/>
              <a:t>continuous improvement</a:t>
            </a:r>
            <a:r>
              <a:rPr lang="en-AU" sz="1100" b="0" dirty="0"/>
              <a:t>, </a:t>
            </a:r>
            <a:r>
              <a:rPr lang="en-AU" sz="1100" dirty="0"/>
              <a:t>innovation</a:t>
            </a:r>
            <a:r>
              <a:rPr lang="en-AU" sz="1100" b="0" dirty="0"/>
              <a:t> and </a:t>
            </a:r>
            <a:r>
              <a:rPr lang="en-AU" sz="1100" dirty="0"/>
              <a:t>reflection</a:t>
            </a:r>
            <a:r>
              <a:rPr lang="en-AU" sz="1100" b="0" dirty="0"/>
              <a:t> at all levels and stages of the employee lifecycle</a:t>
            </a:r>
            <a:endParaRPr lang="en-AU"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AU" sz="1100" b="0" dirty="0"/>
              <a:t>enabling</a:t>
            </a:r>
            <a:r>
              <a:rPr lang="en-AU" sz="1100" dirty="0"/>
              <a:t> collaboration</a:t>
            </a:r>
            <a:r>
              <a:rPr lang="en-AU" sz="1100" b="0" dirty="0"/>
              <a:t>, cooperation, engagement, communication and </a:t>
            </a:r>
            <a:r>
              <a:rPr lang="en-AU" sz="1100" dirty="0"/>
              <a:t>information sharing </a:t>
            </a:r>
            <a:r>
              <a:rPr lang="en-AU" sz="1100" b="0" dirty="0"/>
              <a:t>with our </a:t>
            </a:r>
            <a:r>
              <a:rPr lang="en-AU" sz="1100" dirty="0"/>
              <a:t>peers and partners</a:t>
            </a:r>
            <a:endParaRPr lang="en-AU" sz="1100" b="0" i="0" u="none" strike="noStrike" kern="1200" cap="none" spc="0" normalizeH="0" baseline="0" noProof="0" dirty="0">
              <a:ln>
                <a:noFill/>
              </a:ln>
              <a:solidFill>
                <a:schemeClr val="bg2">
                  <a:lumMod val="10000"/>
                </a:schemeClr>
              </a:solidFill>
              <a:effectLst/>
              <a:uLnTx/>
              <a:uFillTx/>
              <a:cs typeface="Calibri"/>
            </a:endParaRPr>
          </a:p>
        </p:txBody>
      </p:sp>
      <p:pic>
        <p:nvPicPr>
          <p:cNvPr id="20" name="Graphic 19" descr="decorative">
            <a:extLst>
              <a:ext uri="{FF2B5EF4-FFF2-40B4-BE49-F238E27FC236}">
                <a16:creationId xmlns:a16="http://schemas.microsoft.com/office/drawing/2014/main" id="{9570A9FD-9825-4623-ADE0-F8DE89B72A4C}"/>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flipH="1">
            <a:off x="8725098" y="1954197"/>
            <a:ext cx="2973813" cy="1147333"/>
          </a:xfrm>
          <a:prstGeom prst="rect">
            <a:avLst/>
          </a:prstGeom>
        </p:spPr>
      </p:pic>
      <p:pic>
        <p:nvPicPr>
          <p:cNvPr id="22" name="Graphic 21" descr="decorative">
            <a:extLst>
              <a:ext uri="{FF2B5EF4-FFF2-40B4-BE49-F238E27FC236}">
                <a16:creationId xmlns:a16="http://schemas.microsoft.com/office/drawing/2014/main" id="{F01EF0AC-4DB5-427B-A984-80851E5C3908}"/>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8615925" y="3439517"/>
            <a:ext cx="3053675" cy="1134988"/>
          </a:xfrm>
          <a:prstGeom prst="rect">
            <a:avLst/>
          </a:prstGeom>
        </p:spPr>
      </p:pic>
      <p:pic>
        <p:nvPicPr>
          <p:cNvPr id="24" name="Graphic 23" descr="decorative">
            <a:extLst>
              <a:ext uri="{FF2B5EF4-FFF2-40B4-BE49-F238E27FC236}">
                <a16:creationId xmlns:a16="http://schemas.microsoft.com/office/drawing/2014/main" id="{DFF26BA5-872A-4751-B57E-D9A1E568238F}"/>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flipH="1" flipV="1">
            <a:off x="8632271" y="4921282"/>
            <a:ext cx="3172266" cy="1263701"/>
          </a:xfrm>
          <a:prstGeom prst="rect">
            <a:avLst/>
          </a:prstGeom>
        </p:spPr>
      </p:pic>
      <p:sp>
        <p:nvSpPr>
          <p:cNvPr id="31" name="Content Placeholder 5">
            <a:extLst>
              <a:ext uri="{FF2B5EF4-FFF2-40B4-BE49-F238E27FC236}">
                <a16:creationId xmlns:a16="http://schemas.microsoft.com/office/drawing/2014/main" id="{51469BA8-59BF-4339-93A1-6D159BA1BAF8}"/>
              </a:ext>
            </a:extLst>
          </p:cNvPr>
          <p:cNvSpPr txBox="1">
            <a:spLocks/>
          </p:cNvSpPr>
          <p:nvPr/>
        </p:nvSpPr>
        <p:spPr>
          <a:xfrm>
            <a:off x="5379863" y="1556796"/>
            <a:ext cx="3078246" cy="278386"/>
          </a:xfrm>
          <a:prstGeom prst="rect">
            <a:avLst/>
          </a:prstGeom>
          <a:solidFill>
            <a:schemeClr val="accent4"/>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Outcomes</a:t>
            </a:r>
            <a:r>
              <a:rPr lang="en-AU" sz="1200" dirty="0">
                <a:solidFill>
                  <a:schemeClr val="bg1"/>
                </a:solidFill>
              </a:rPr>
              <a:t> </a:t>
            </a:r>
          </a:p>
        </p:txBody>
      </p:sp>
      <p:sp>
        <p:nvSpPr>
          <p:cNvPr id="32" name="Content Placeholder 5">
            <a:extLst>
              <a:ext uri="{FF2B5EF4-FFF2-40B4-BE49-F238E27FC236}">
                <a16:creationId xmlns:a16="http://schemas.microsoft.com/office/drawing/2014/main" id="{4DB221D5-9B29-48B0-BE85-529EC6A7ADFD}"/>
              </a:ext>
            </a:extLst>
          </p:cNvPr>
          <p:cNvSpPr txBox="1">
            <a:spLocks/>
          </p:cNvSpPr>
          <p:nvPr/>
        </p:nvSpPr>
        <p:spPr>
          <a:xfrm>
            <a:off x="5379863" y="1899935"/>
            <a:ext cx="3078246" cy="3353722"/>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28650" indent="0">
              <a:buNone/>
              <a:tabLst>
                <a:tab pos="450850" algn="l"/>
                <a:tab pos="717550" algn="l"/>
              </a:tabLst>
              <a:defRPr/>
            </a:pPr>
            <a:r>
              <a:rPr lang="en-AU" sz="1000" b="0" dirty="0">
                <a:solidFill>
                  <a:schemeClr val="tx1"/>
                </a:solidFill>
              </a:rPr>
              <a:t>Increased representation of workers from diverse backgrounds with differing experience and skill sets</a:t>
            </a:r>
            <a:endParaRPr lang="en-AU" sz="1000" b="0" dirty="0">
              <a:solidFill>
                <a:schemeClr val="tx1"/>
              </a:solidFill>
              <a:cs typeface="Calibri"/>
            </a:endParaRPr>
          </a:p>
          <a:p>
            <a:pPr marL="628650" indent="0">
              <a:buNone/>
              <a:tabLst>
                <a:tab pos="450850" algn="l"/>
                <a:tab pos="717550" algn="l"/>
              </a:tabLst>
              <a:defRPr/>
            </a:pPr>
            <a:endParaRPr lang="en-AU" sz="1000" b="0" dirty="0">
              <a:solidFill>
                <a:schemeClr val="tx1"/>
              </a:solidFill>
              <a:cs typeface="Calibri"/>
            </a:endParaRPr>
          </a:p>
          <a:p>
            <a:pPr marL="628650" indent="0">
              <a:buNone/>
              <a:tabLst>
                <a:tab pos="450850" algn="l"/>
                <a:tab pos="717550" algn="l"/>
              </a:tabLst>
              <a:defRPr/>
            </a:pPr>
            <a:r>
              <a:rPr lang="en-AU" sz="1000" b="0" dirty="0">
                <a:solidFill>
                  <a:schemeClr val="tx1"/>
                </a:solidFill>
              </a:rPr>
              <a:t>Established talent pipelines with succession plans in place across all roles</a:t>
            </a:r>
            <a:endParaRPr lang="en-AU" sz="1000" b="0" dirty="0">
              <a:solidFill>
                <a:schemeClr val="tx1"/>
              </a:solidFill>
              <a:cs typeface="Calibri"/>
            </a:endParaRPr>
          </a:p>
          <a:p>
            <a:pPr marL="628650" indent="0">
              <a:buNone/>
              <a:tabLst>
                <a:tab pos="450850" algn="l"/>
                <a:tab pos="717550" algn="l"/>
              </a:tabLst>
              <a:defRPr/>
            </a:pPr>
            <a:endParaRPr lang="en-AU" sz="1000" b="0" dirty="0">
              <a:solidFill>
                <a:schemeClr val="tx1"/>
              </a:solidFill>
              <a:cs typeface="Calibri"/>
            </a:endParaRPr>
          </a:p>
          <a:p>
            <a:pPr marL="628650" indent="0">
              <a:buNone/>
              <a:tabLst>
                <a:tab pos="450850" algn="l"/>
                <a:tab pos="717550" algn="l"/>
              </a:tabLst>
              <a:defRPr/>
            </a:pPr>
            <a:r>
              <a:rPr lang="en-AU" sz="1000" b="0" dirty="0">
                <a:solidFill>
                  <a:schemeClr val="tx1"/>
                </a:solidFill>
              </a:rPr>
              <a:t>Nationally consistent approach in the ways in which the Commission collaborates, engages and operates across each state and territory</a:t>
            </a:r>
            <a:endParaRPr lang="en-AU" sz="1000" b="0" dirty="0">
              <a:solidFill>
                <a:schemeClr val="tx1"/>
              </a:solidFill>
              <a:cs typeface="Calibri"/>
            </a:endParaRPr>
          </a:p>
          <a:p>
            <a:pPr marL="628650" indent="0">
              <a:buNone/>
              <a:tabLst>
                <a:tab pos="450850" algn="l"/>
                <a:tab pos="717550" algn="l"/>
              </a:tabLst>
              <a:defRPr/>
            </a:pPr>
            <a:endParaRPr lang="en-AU" sz="1000" b="0" dirty="0">
              <a:solidFill>
                <a:schemeClr val="tx1"/>
              </a:solidFill>
              <a:cs typeface="Calibri"/>
            </a:endParaRPr>
          </a:p>
          <a:p>
            <a:pPr marL="628650" indent="0">
              <a:buNone/>
              <a:tabLst>
                <a:tab pos="450850" algn="l"/>
                <a:tab pos="717550" algn="l"/>
              </a:tabLst>
              <a:defRPr/>
            </a:pPr>
            <a:r>
              <a:rPr lang="en-AU" sz="1000" b="0" dirty="0">
                <a:solidFill>
                  <a:schemeClr val="tx1"/>
                </a:solidFill>
              </a:rPr>
              <a:t>Flexible and agile workforce that can respond to demand and reprioritise workload when needed</a:t>
            </a:r>
            <a:endParaRPr lang="en-AU" sz="1000" b="0" dirty="0">
              <a:solidFill>
                <a:schemeClr val="tx1"/>
              </a:solidFill>
              <a:cs typeface="Calibri"/>
            </a:endParaRPr>
          </a:p>
        </p:txBody>
      </p:sp>
      <p:sp>
        <p:nvSpPr>
          <p:cNvPr id="38" name="Content Placeholder 5">
            <a:extLst>
              <a:ext uri="{FF2B5EF4-FFF2-40B4-BE49-F238E27FC236}">
                <a16:creationId xmlns:a16="http://schemas.microsoft.com/office/drawing/2014/main" id="{450A5737-A024-4AFB-A73F-7A74526C6AE4}"/>
              </a:ext>
            </a:extLst>
          </p:cNvPr>
          <p:cNvSpPr txBox="1">
            <a:spLocks/>
          </p:cNvSpPr>
          <p:nvPr/>
        </p:nvSpPr>
        <p:spPr>
          <a:xfrm>
            <a:off x="8622048" y="1570214"/>
            <a:ext cx="3078246" cy="278386"/>
          </a:xfrm>
          <a:prstGeom prst="rect">
            <a:avLst/>
          </a:prstGeom>
          <a:solidFill>
            <a:schemeClr val="accent4"/>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sounds like …</a:t>
            </a:r>
            <a:endParaRPr lang="en-AU" sz="1100" dirty="0">
              <a:solidFill>
                <a:schemeClr val="bg1"/>
              </a:solidFill>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482588" y="200134"/>
            <a:ext cx="6992824" cy="1376364"/>
          </a:xfrm>
        </p:spPr>
        <p:txBody>
          <a:bodyPr>
            <a:noAutofit/>
          </a:bodyPr>
          <a:lstStyle/>
          <a:p>
            <a:r>
              <a:rPr lang="en-US" dirty="0" smtClean="0">
                <a:solidFill>
                  <a:srgbClr val="539250"/>
                </a:solidFill>
                <a:cs typeface="Calibri"/>
              </a:rPr>
              <a:t>Pillar: Growth</a:t>
            </a:r>
            <a:endParaRPr lang="en-US" dirty="0">
              <a:solidFill>
                <a:srgbClr val="539250"/>
              </a:solidFill>
              <a:cs typeface="Calibri"/>
            </a:endParaRPr>
          </a:p>
        </p:txBody>
      </p:sp>
      <p:sp>
        <p:nvSpPr>
          <p:cNvPr id="74" name="TextBox 73">
            <a:extLst>
              <a:ext uri="{FF2B5EF4-FFF2-40B4-BE49-F238E27FC236}">
                <a16:creationId xmlns:a16="http://schemas.microsoft.com/office/drawing/2014/main" id="{633D15A7-5BF1-4407-A703-0479C34F00FF}"/>
              </a:ext>
            </a:extLst>
          </p:cNvPr>
          <p:cNvSpPr txBox="1"/>
          <p:nvPr/>
        </p:nvSpPr>
        <p:spPr>
          <a:xfrm>
            <a:off x="8833956" y="2058798"/>
            <a:ext cx="2980881" cy="877163"/>
          </a:xfrm>
          <a:prstGeom prst="rect">
            <a:avLst/>
          </a:prstGeom>
          <a:noFill/>
        </p:spPr>
        <p:txBody>
          <a:bodyPr wrap="square" lIns="91440" tIns="45720" rIns="91440" bIns="45720" rtlCol="0" anchor="t">
            <a:spAutoFit/>
          </a:bodyPr>
          <a:lstStyle/>
          <a:p>
            <a:r>
              <a:rPr lang="en-AU" sz="1000" dirty="0"/>
              <a:t>“As a leader I have confidence that in times of peak workload or surge, I can flexibly draw on workers in other teams across the Commission who have the skills needed to get the work done”</a:t>
            </a:r>
            <a:endParaRPr lang="en-AU" sz="1000" dirty="0">
              <a:cs typeface="Calibri"/>
            </a:endParaRPr>
          </a:p>
          <a:p>
            <a:endParaRPr lang="en-AU" sz="1000" dirty="0">
              <a:cs typeface="Calibri"/>
            </a:endParaRPr>
          </a:p>
        </p:txBody>
      </p:sp>
      <p:sp>
        <p:nvSpPr>
          <p:cNvPr id="77" name="TextBox 76">
            <a:extLst>
              <a:ext uri="{FF2B5EF4-FFF2-40B4-BE49-F238E27FC236}">
                <a16:creationId xmlns:a16="http://schemas.microsoft.com/office/drawing/2014/main" id="{5AC801EB-177B-44CD-A428-C828759FE95A}"/>
              </a:ext>
            </a:extLst>
          </p:cNvPr>
          <p:cNvSpPr txBox="1"/>
          <p:nvPr/>
        </p:nvSpPr>
        <p:spPr>
          <a:xfrm>
            <a:off x="8644277" y="5227073"/>
            <a:ext cx="3231219" cy="861774"/>
          </a:xfrm>
          <a:prstGeom prst="rect">
            <a:avLst/>
          </a:prstGeom>
          <a:noFill/>
        </p:spPr>
        <p:txBody>
          <a:bodyPr wrap="square" lIns="91440" tIns="45720" rIns="91440" bIns="45720" rtlCol="0" anchor="t">
            <a:spAutoFit/>
          </a:bodyPr>
          <a:lstStyle/>
          <a:p>
            <a:r>
              <a:rPr lang="en-AU" sz="1000" dirty="0"/>
              <a:t>“I have an ambition to grow and develop ready for a leadership role one day soon. I have had the opportunity to build the skills and experience I need to be ready for my career path, including  shadowing, leading projects and supporting team development.”</a:t>
            </a:r>
            <a:endParaRPr lang="en-AU" sz="1000" dirty="0">
              <a:cs typeface="Calibri"/>
            </a:endParaRPr>
          </a:p>
        </p:txBody>
      </p:sp>
      <p:pic>
        <p:nvPicPr>
          <p:cNvPr id="61" name="Picture 60">
            <a:extLst>
              <a:ext uri="{FF2B5EF4-FFF2-40B4-BE49-F238E27FC236}">
                <a16:creationId xmlns:a16="http://schemas.microsoft.com/office/drawing/2014/main" id="{E3074A6C-79FA-4C5F-B299-25068685289B}"/>
              </a:ext>
            </a:extLst>
          </p:cNvPr>
          <p:cNvPicPr>
            <a:picLocks noChangeAspect="1"/>
          </p:cNvPicPr>
          <p:nvPr/>
        </p:nvPicPr>
        <p:blipFill>
          <a:blip r:embed="rId9"/>
          <a:stretch>
            <a:fillRect/>
          </a:stretch>
        </p:blipFill>
        <p:spPr>
          <a:xfrm>
            <a:off x="486020" y="469356"/>
            <a:ext cx="921600" cy="795928"/>
          </a:xfrm>
          <a:prstGeom prst="rect">
            <a:avLst/>
          </a:prstGeom>
        </p:spPr>
      </p:pic>
      <p:pic>
        <p:nvPicPr>
          <p:cNvPr id="42" name="Graphic 41" descr="decorative">
            <a:extLst>
              <a:ext uri="{FF2B5EF4-FFF2-40B4-BE49-F238E27FC236}">
                <a16:creationId xmlns:a16="http://schemas.microsoft.com/office/drawing/2014/main" id="{3B7B29AE-61CE-41BF-BF7F-4A7DDE953D65}"/>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8693384" y="4439759"/>
            <a:ext cx="648592" cy="692025"/>
          </a:xfrm>
          <a:prstGeom prst="rect">
            <a:avLst/>
          </a:prstGeom>
        </p:spPr>
      </p:pic>
      <p:sp>
        <p:nvSpPr>
          <p:cNvPr id="44" name="TextBox 43">
            <a:extLst>
              <a:ext uri="{FF2B5EF4-FFF2-40B4-BE49-F238E27FC236}">
                <a16:creationId xmlns:a16="http://schemas.microsoft.com/office/drawing/2014/main" id="{217F90E7-EB59-458C-9A4D-24FBB6D8BF0A}"/>
              </a:ext>
            </a:extLst>
          </p:cNvPr>
          <p:cNvSpPr txBox="1"/>
          <p:nvPr/>
        </p:nvSpPr>
        <p:spPr>
          <a:xfrm>
            <a:off x="8876419" y="3609161"/>
            <a:ext cx="2725145" cy="861774"/>
          </a:xfrm>
          <a:prstGeom prst="rect">
            <a:avLst/>
          </a:prstGeom>
          <a:noFill/>
        </p:spPr>
        <p:txBody>
          <a:bodyPr wrap="square" lIns="91440" tIns="45720" rIns="91440" bIns="45720" rtlCol="0" anchor="t">
            <a:spAutoFit/>
          </a:bodyPr>
          <a:lstStyle/>
          <a:p>
            <a:r>
              <a:rPr lang="en-AU" sz="1000" dirty="0"/>
              <a:t>“Today I work in XX, and thanks to our monthly all hands meeting,  I have clear understanding of other functions, the work they are undertaking, how our teams are connected and who I can contact”.</a:t>
            </a:r>
            <a:endParaRPr lang="en-AU" sz="1000" dirty="0">
              <a:cs typeface="Calibri"/>
            </a:endParaRPr>
          </a:p>
        </p:txBody>
      </p:sp>
      <p:pic>
        <p:nvPicPr>
          <p:cNvPr id="37" name="Graphic 36" descr="decorative">
            <a:extLst>
              <a:ext uri="{FF2B5EF4-FFF2-40B4-BE49-F238E27FC236}">
                <a16:creationId xmlns:a16="http://schemas.microsoft.com/office/drawing/2014/main" id="{53EFE9BC-1B2D-4FC4-817E-AF9250AC3F7A}"/>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9056791" y="2709595"/>
            <a:ext cx="646567" cy="795996"/>
          </a:xfrm>
          <a:prstGeom prst="rect">
            <a:avLst/>
          </a:prstGeom>
        </p:spPr>
      </p:pic>
      <p:pic>
        <p:nvPicPr>
          <p:cNvPr id="43" name="Graphic 42" descr="decorative">
            <a:extLst>
              <a:ext uri="{FF2B5EF4-FFF2-40B4-BE49-F238E27FC236}">
                <a16:creationId xmlns:a16="http://schemas.microsoft.com/office/drawing/2014/main" id="{D7C61AF2-B3CB-4591-A5FA-B01DEDBDD2A8}"/>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11328767" y="4183728"/>
            <a:ext cx="681666" cy="731789"/>
          </a:xfrm>
          <a:prstGeom prst="rect">
            <a:avLst/>
          </a:prstGeom>
        </p:spPr>
      </p:pic>
      <p:sp>
        <p:nvSpPr>
          <p:cNvPr id="23" name="Google Shape;25153;p300">
            <a:extLst>
              <a:ext uri="{FF2B5EF4-FFF2-40B4-BE49-F238E27FC236}">
                <a16:creationId xmlns:a16="http://schemas.microsoft.com/office/drawing/2014/main" id="{4726A319-399E-4B0D-8301-4CB376774395}"/>
              </a:ext>
            </a:extLst>
          </p:cNvPr>
          <p:cNvSpPr/>
          <p:nvPr/>
        </p:nvSpPr>
        <p:spPr>
          <a:xfrm>
            <a:off x="5455674" y="3159786"/>
            <a:ext cx="509388" cy="459986"/>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47" y="169"/>
                </a:moveTo>
                <a:cubicBezTo>
                  <a:pt x="347" y="137"/>
                  <a:pt x="320" y="111"/>
                  <a:pt x="288" y="111"/>
                </a:cubicBezTo>
                <a:cubicBezTo>
                  <a:pt x="256" y="111"/>
                  <a:pt x="229" y="137"/>
                  <a:pt x="229" y="169"/>
                </a:cubicBezTo>
                <a:cubicBezTo>
                  <a:pt x="229" y="202"/>
                  <a:pt x="256" y="228"/>
                  <a:pt x="288" y="228"/>
                </a:cubicBezTo>
                <a:cubicBezTo>
                  <a:pt x="320" y="228"/>
                  <a:pt x="347" y="202"/>
                  <a:pt x="347" y="169"/>
                </a:cubicBezTo>
                <a:close/>
                <a:moveTo>
                  <a:pt x="288" y="204"/>
                </a:moveTo>
                <a:cubicBezTo>
                  <a:pt x="269" y="204"/>
                  <a:pt x="254" y="188"/>
                  <a:pt x="254" y="169"/>
                </a:cubicBezTo>
                <a:cubicBezTo>
                  <a:pt x="254" y="151"/>
                  <a:pt x="269" y="135"/>
                  <a:pt x="288" y="135"/>
                </a:cubicBezTo>
                <a:cubicBezTo>
                  <a:pt x="307" y="135"/>
                  <a:pt x="322" y="151"/>
                  <a:pt x="322" y="169"/>
                </a:cubicBezTo>
                <a:cubicBezTo>
                  <a:pt x="322" y="188"/>
                  <a:pt x="307" y="204"/>
                  <a:pt x="288" y="204"/>
                </a:cubicBezTo>
                <a:close/>
                <a:moveTo>
                  <a:pt x="288" y="475"/>
                </a:moveTo>
                <a:cubicBezTo>
                  <a:pt x="277" y="455"/>
                  <a:pt x="277" y="455"/>
                  <a:pt x="277" y="455"/>
                </a:cubicBezTo>
                <a:cubicBezTo>
                  <a:pt x="273" y="447"/>
                  <a:pt x="171" y="257"/>
                  <a:pt x="171" y="169"/>
                </a:cubicBezTo>
                <a:cubicBezTo>
                  <a:pt x="171" y="105"/>
                  <a:pt x="224" y="53"/>
                  <a:pt x="288" y="53"/>
                </a:cubicBezTo>
                <a:cubicBezTo>
                  <a:pt x="352" y="53"/>
                  <a:pt x="405" y="105"/>
                  <a:pt x="405" y="169"/>
                </a:cubicBezTo>
                <a:cubicBezTo>
                  <a:pt x="405" y="259"/>
                  <a:pt x="303" y="447"/>
                  <a:pt x="299" y="455"/>
                </a:cubicBezTo>
                <a:lnTo>
                  <a:pt x="288" y="475"/>
                </a:lnTo>
                <a:close/>
                <a:moveTo>
                  <a:pt x="288" y="77"/>
                </a:moveTo>
                <a:cubicBezTo>
                  <a:pt x="237" y="77"/>
                  <a:pt x="196" y="119"/>
                  <a:pt x="196" y="169"/>
                </a:cubicBezTo>
                <a:cubicBezTo>
                  <a:pt x="196" y="235"/>
                  <a:pt x="262" y="370"/>
                  <a:pt x="288" y="422"/>
                </a:cubicBezTo>
                <a:cubicBezTo>
                  <a:pt x="314" y="371"/>
                  <a:pt x="380" y="236"/>
                  <a:pt x="380" y="169"/>
                </a:cubicBezTo>
                <a:cubicBezTo>
                  <a:pt x="380" y="119"/>
                  <a:pt x="339" y="77"/>
                  <a:pt x="288" y="77"/>
                </a:cubicBezTo>
                <a:close/>
                <a:moveTo>
                  <a:pt x="445" y="449"/>
                </a:moveTo>
                <a:cubicBezTo>
                  <a:pt x="445" y="482"/>
                  <a:pt x="391" y="515"/>
                  <a:pt x="288" y="515"/>
                </a:cubicBezTo>
                <a:cubicBezTo>
                  <a:pt x="185" y="515"/>
                  <a:pt x="131" y="482"/>
                  <a:pt x="131" y="449"/>
                </a:cubicBezTo>
                <a:cubicBezTo>
                  <a:pt x="131" y="427"/>
                  <a:pt x="156" y="405"/>
                  <a:pt x="204" y="392"/>
                </a:cubicBezTo>
                <a:cubicBezTo>
                  <a:pt x="208" y="401"/>
                  <a:pt x="212" y="408"/>
                  <a:pt x="215" y="416"/>
                </a:cubicBezTo>
                <a:cubicBezTo>
                  <a:pt x="178" y="424"/>
                  <a:pt x="156" y="438"/>
                  <a:pt x="156" y="449"/>
                </a:cubicBezTo>
                <a:cubicBezTo>
                  <a:pt x="156" y="466"/>
                  <a:pt x="207" y="491"/>
                  <a:pt x="288" y="491"/>
                </a:cubicBezTo>
                <a:cubicBezTo>
                  <a:pt x="369" y="491"/>
                  <a:pt x="420" y="466"/>
                  <a:pt x="420" y="449"/>
                </a:cubicBezTo>
                <a:cubicBezTo>
                  <a:pt x="420" y="438"/>
                  <a:pt x="399" y="424"/>
                  <a:pt x="361" y="416"/>
                </a:cubicBezTo>
                <a:cubicBezTo>
                  <a:pt x="365" y="408"/>
                  <a:pt x="368" y="401"/>
                  <a:pt x="372" y="393"/>
                </a:cubicBezTo>
                <a:cubicBezTo>
                  <a:pt x="420" y="405"/>
                  <a:pt x="445" y="427"/>
                  <a:pt x="445" y="449"/>
                </a:cubicBezTo>
                <a:close/>
              </a:path>
            </a:pathLst>
          </a:custGeom>
          <a:solidFill>
            <a:schemeClr val="accent4"/>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chemeClr val="accent1"/>
              </a:solidFill>
              <a:latin typeface="Arial"/>
              <a:ea typeface="Arial"/>
              <a:cs typeface="Arial"/>
              <a:sym typeface="Arial"/>
            </a:endParaRPr>
          </a:p>
        </p:txBody>
      </p:sp>
      <p:sp>
        <p:nvSpPr>
          <p:cNvPr id="26" name="Google Shape;25085;p299">
            <a:extLst>
              <a:ext uri="{FF2B5EF4-FFF2-40B4-BE49-F238E27FC236}">
                <a16:creationId xmlns:a16="http://schemas.microsoft.com/office/drawing/2014/main" id="{6DE5DA3D-A01A-427B-82D1-A8D5DAD9085C}"/>
              </a:ext>
            </a:extLst>
          </p:cNvPr>
          <p:cNvSpPr/>
          <p:nvPr/>
        </p:nvSpPr>
        <p:spPr>
          <a:xfrm>
            <a:off x="5458222" y="2552761"/>
            <a:ext cx="509388" cy="459986"/>
          </a:xfrm>
          <a:custGeom>
            <a:avLst/>
            <a:gdLst/>
            <a:ahLst/>
            <a:cxnLst/>
            <a:rect l="l" t="t" r="r" b="b"/>
            <a:pathLst>
              <a:path w="396" h="396" extrusionOk="0">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chemeClr val="accent4"/>
          </a:solidFill>
          <a:ln>
            <a:noFill/>
          </a:ln>
        </p:spPr>
        <p:txBody>
          <a:bodyPr spcFirstLastPara="1" wrap="square" lIns="85725" tIns="42850" rIns="85725" bIns="42850" anchor="t" anchorCtr="0">
            <a:noAutofit/>
          </a:bodyPr>
          <a:lstStyle/>
          <a:p>
            <a:pPr marL="0" marR="0" lvl="0" indent="0" algn="l" rtl="0">
              <a:spcBef>
                <a:spcPts val="0"/>
              </a:spcBef>
              <a:spcAft>
                <a:spcPts val="0"/>
              </a:spcAft>
              <a:buNone/>
            </a:pPr>
            <a:endParaRPr sz="1000" b="1" dirty="0">
              <a:solidFill>
                <a:schemeClr val="accent1"/>
              </a:solidFill>
              <a:latin typeface="Arial"/>
              <a:ea typeface="Arial"/>
              <a:cs typeface="Arial"/>
              <a:sym typeface="Arial"/>
            </a:endParaRPr>
          </a:p>
        </p:txBody>
      </p:sp>
      <p:sp>
        <p:nvSpPr>
          <p:cNvPr id="27" name="Google Shape;25202;p300">
            <a:extLst>
              <a:ext uri="{FF2B5EF4-FFF2-40B4-BE49-F238E27FC236}">
                <a16:creationId xmlns:a16="http://schemas.microsoft.com/office/drawing/2014/main" id="{12E02004-45F6-4869-BFF0-04C7A228A897}"/>
              </a:ext>
            </a:extLst>
          </p:cNvPr>
          <p:cNvSpPr/>
          <p:nvPr/>
        </p:nvSpPr>
        <p:spPr>
          <a:xfrm>
            <a:off x="5457851" y="3792951"/>
            <a:ext cx="509566" cy="48729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460" y="398"/>
                </a:moveTo>
                <a:cubicBezTo>
                  <a:pt x="498" y="398"/>
                  <a:pt x="498" y="398"/>
                  <a:pt x="498" y="398"/>
                </a:cubicBezTo>
                <a:cubicBezTo>
                  <a:pt x="498" y="247"/>
                  <a:pt x="498" y="247"/>
                  <a:pt x="498" y="247"/>
                </a:cubicBezTo>
                <a:cubicBezTo>
                  <a:pt x="498" y="218"/>
                  <a:pt x="474" y="195"/>
                  <a:pt x="446" y="195"/>
                </a:cubicBezTo>
                <a:cubicBezTo>
                  <a:pt x="378" y="195"/>
                  <a:pt x="378" y="195"/>
                  <a:pt x="378" y="195"/>
                </a:cubicBezTo>
                <a:cubicBezTo>
                  <a:pt x="362" y="195"/>
                  <a:pt x="349" y="201"/>
                  <a:pt x="339" y="212"/>
                </a:cubicBezTo>
                <a:cubicBezTo>
                  <a:pt x="338" y="213"/>
                  <a:pt x="338" y="213"/>
                  <a:pt x="338" y="213"/>
                </a:cubicBezTo>
                <a:cubicBezTo>
                  <a:pt x="356" y="229"/>
                  <a:pt x="356" y="229"/>
                  <a:pt x="356" y="229"/>
                </a:cubicBezTo>
                <a:cubicBezTo>
                  <a:pt x="357" y="228"/>
                  <a:pt x="357" y="228"/>
                  <a:pt x="357" y="228"/>
                </a:cubicBezTo>
                <a:cubicBezTo>
                  <a:pt x="362" y="222"/>
                  <a:pt x="369" y="219"/>
                  <a:pt x="378" y="219"/>
                </a:cubicBezTo>
                <a:cubicBezTo>
                  <a:pt x="446" y="219"/>
                  <a:pt x="446" y="219"/>
                  <a:pt x="446" y="219"/>
                </a:cubicBezTo>
                <a:cubicBezTo>
                  <a:pt x="461" y="219"/>
                  <a:pt x="474" y="231"/>
                  <a:pt x="474" y="247"/>
                </a:cubicBezTo>
                <a:cubicBezTo>
                  <a:pt x="474" y="375"/>
                  <a:pt x="474" y="375"/>
                  <a:pt x="474" y="375"/>
                </a:cubicBezTo>
                <a:cubicBezTo>
                  <a:pt x="436" y="375"/>
                  <a:pt x="436" y="375"/>
                  <a:pt x="436" y="375"/>
                </a:cubicBezTo>
                <a:cubicBezTo>
                  <a:pt x="436" y="552"/>
                  <a:pt x="436" y="552"/>
                  <a:pt x="436" y="552"/>
                </a:cubicBezTo>
                <a:cubicBezTo>
                  <a:pt x="387" y="552"/>
                  <a:pt x="387" y="552"/>
                  <a:pt x="387" y="552"/>
                </a:cubicBezTo>
                <a:cubicBezTo>
                  <a:pt x="387" y="375"/>
                  <a:pt x="387" y="375"/>
                  <a:pt x="387" y="375"/>
                </a:cubicBezTo>
                <a:cubicBezTo>
                  <a:pt x="233" y="375"/>
                  <a:pt x="233" y="375"/>
                  <a:pt x="233" y="375"/>
                </a:cubicBezTo>
                <a:cubicBezTo>
                  <a:pt x="265" y="342"/>
                  <a:pt x="265" y="342"/>
                  <a:pt x="265" y="342"/>
                </a:cubicBezTo>
                <a:cubicBezTo>
                  <a:pt x="248" y="325"/>
                  <a:pt x="248" y="325"/>
                  <a:pt x="248" y="325"/>
                </a:cubicBezTo>
                <a:cubicBezTo>
                  <a:pt x="187" y="387"/>
                  <a:pt x="187" y="387"/>
                  <a:pt x="187" y="387"/>
                </a:cubicBezTo>
                <a:cubicBezTo>
                  <a:pt x="248" y="448"/>
                  <a:pt x="248" y="448"/>
                  <a:pt x="248" y="448"/>
                </a:cubicBezTo>
                <a:cubicBezTo>
                  <a:pt x="265" y="431"/>
                  <a:pt x="265" y="431"/>
                  <a:pt x="265" y="431"/>
                </a:cubicBezTo>
                <a:cubicBezTo>
                  <a:pt x="233" y="398"/>
                  <a:pt x="233" y="398"/>
                  <a:pt x="233" y="398"/>
                </a:cubicBezTo>
                <a:cubicBezTo>
                  <a:pt x="363" y="398"/>
                  <a:pt x="363" y="398"/>
                  <a:pt x="363" y="398"/>
                </a:cubicBezTo>
                <a:cubicBezTo>
                  <a:pt x="363" y="552"/>
                  <a:pt x="363" y="552"/>
                  <a:pt x="363" y="552"/>
                </a:cubicBezTo>
                <a:cubicBezTo>
                  <a:pt x="212" y="552"/>
                  <a:pt x="212" y="552"/>
                  <a:pt x="212" y="552"/>
                </a:cubicBezTo>
                <a:cubicBezTo>
                  <a:pt x="212" y="440"/>
                  <a:pt x="212" y="440"/>
                  <a:pt x="212" y="440"/>
                </a:cubicBezTo>
                <a:cubicBezTo>
                  <a:pt x="188" y="416"/>
                  <a:pt x="188" y="416"/>
                  <a:pt x="188" y="416"/>
                </a:cubicBezTo>
                <a:cubicBezTo>
                  <a:pt x="188" y="552"/>
                  <a:pt x="188" y="552"/>
                  <a:pt x="188" y="552"/>
                </a:cubicBezTo>
                <a:cubicBezTo>
                  <a:pt x="139" y="552"/>
                  <a:pt x="139" y="552"/>
                  <a:pt x="139" y="552"/>
                </a:cubicBezTo>
                <a:cubicBezTo>
                  <a:pt x="139" y="375"/>
                  <a:pt x="139" y="375"/>
                  <a:pt x="139" y="375"/>
                </a:cubicBezTo>
                <a:cubicBezTo>
                  <a:pt x="101" y="375"/>
                  <a:pt x="101" y="375"/>
                  <a:pt x="101" y="375"/>
                </a:cubicBezTo>
                <a:cubicBezTo>
                  <a:pt x="101" y="247"/>
                  <a:pt x="101" y="247"/>
                  <a:pt x="101" y="247"/>
                </a:cubicBezTo>
                <a:cubicBezTo>
                  <a:pt x="101" y="231"/>
                  <a:pt x="114" y="219"/>
                  <a:pt x="130" y="219"/>
                </a:cubicBezTo>
                <a:cubicBezTo>
                  <a:pt x="198" y="219"/>
                  <a:pt x="198" y="219"/>
                  <a:pt x="198" y="219"/>
                </a:cubicBezTo>
                <a:cubicBezTo>
                  <a:pt x="214" y="219"/>
                  <a:pt x="226" y="231"/>
                  <a:pt x="226" y="247"/>
                </a:cubicBezTo>
                <a:cubicBezTo>
                  <a:pt x="226" y="297"/>
                  <a:pt x="226" y="297"/>
                  <a:pt x="226" y="297"/>
                </a:cubicBezTo>
                <a:cubicBezTo>
                  <a:pt x="343" y="297"/>
                  <a:pt x="343" y="297"/>
                  <a:pt x="343" y="297"/>
                </a:cubicBezTo>
                <a:cubicBezTo>
                  <a:pt x="310" y="330"/>
                  <a:pt x="310" y="330"/>
                  <a:pt x="310" y="330"/>
                </a:cubicBezTo>
                <a:cubicBezTo>
                  <a:pt x="327" y="347"/>
                  <a:pt x="327" y="347"/>
                  <a:pt x="327" y="347"/>
                </a:cubicBezTo>
                <a:cubicBezTo>
                  <a:pt x="388" y="286"/>
                  <a:pt x="388" y="286"/>
                  <a:pt x="388" y="286"/>
                </a:cubicBezTo>
                <a:cubicBezTo>
                  <a:pt x="327" y="224"/>
                  <a:pt x="327" y="224"/>
                  <a:pt x="327" y="224"/>
                </a:cubicBezTo>
                <a:cubicBezTo>
                  <a:pt x="310" y="241"/>
                  <a:pt x="310" y="241"/>
                  <a:pt x="310" y="241"/>
                </a:cubicBezTo>
                <a:cubicBezTo>
                  <a:pt x="343" y="274"/>
                  <a:pt x="343" y="274"/>
                  <a:pt x="343" y="274"/>
                </a:cubicBezTo>
                <a:cubicBezTo>
                  <a:pt x="250" y="274"/>
                  <a:pt x="250" y="274"/>
                  <a:pt x="250" y="274"/>
                </a:cubicBezTo>
                <a:cubicBezTo>
                  <a:pt x="250" y="247"/>
                  <a:pt x="250" y="247"/>
                  <a:pt x="250" y="247"/>
                </a:cubicBezTo>
                <a:cubicBezTo>
                  <a:pt x="250" y="218"/>
                  <a:pt x="227" y="195"/>
                  <a:pt x="198" y="195"/>
                </a:cubicBezTo>
                <a:cubicBezTo>
                  <a:pt x="130" y="195"/>
                  <a:pt x="130" y="195"/>
                  <a:pt x="130" y="195"/>
                </a:cubicBezTo>
                <a:cubicBezTo>
                  <a:pt x="101" y="195"/>
                  <a:pt x="77" y="218"/>
                  <a:pt x="77" y="247"/>
                </a:cubicBezTo>
                <a:cubicBezTo>
                  <a:pt x="77" y="398"/>
                  <a:pt x="77" y="398"/>
                  <a:pt x="77" y="398"/>
                </a:cubicBezTo>
                <a:cubicBezTo>
                  <a:pt x="116" y="398"/>
                  <a:pt x="116" y="398"/>
                  <a:pt x="116" y="398"/>
                </a:cubicBezTo>
                <a:cubicBezTo>
                  <a:pt x="116" y="552"/>
                  <a:pt x="116" y="552"/>
                  <a:pt x="116" y="552"/>
                </a:cubicBezTo>
                <a:cubicBezTo>
                  <a:pt x="23" y="552"/>
                  <a:pt x="23" y="552"/>
                  <a:pt x="23" y="552"/>
                </a:cubicBezTo>
                <a:cubicBezTo>
                  <a:pt x="23" y="24"/>
                  <a:pt x="23" y="24"/>
                  <a:pt x="23" y="24"/>
                </a:cubicBezTo>
                <a:cubicBezTo>
                  <a:pt x="552" y="24"/>
                  <a:pt x="552" y="24"/>
                  <a:pt x="552" y="24"/>
                </a:cubicBezTo>
                <a:cubicBezTo>
                  <a:pt x="552" y="552"/>
                  <a:pt x="552" y="552"/>
                  <a:pt x="552" y="552"/>
                </a:cubicBezTo>
                <a:cubicBezTo>
                  <a:pt x="460" y="552"/>
                  <a:pt x="460" y="552"/>
                  <a:pt x="460" y="552"/>
                </a:cubicBezTo>
                <a:lnTo>
                  <a:pt x="460" y="398"/>
                </a:lnTo>
                <a:close/>
                <a:moveTo>
                  <a:pt x="164" y="75"/>
                </a:moveTo>
                <a:cubicBezTo>
                  <a:pt x="137" y="75"/>
                  <a:pt x="116" y="97"/>
                  <a:pt x="116" y="125"/>
                </a:cubicBezTo>
                <a:cubicBezTo>
                  <a:pt x="116" y="151"/>
                  <a:pt x="137" y="173"/>
                  <a:pt x="164" y="173"/>
                </a:cubicBezTo>
                <a:cubicBezTo>
                  <a:pt x="190" y="173"/>
                  <a:pt x="212" y="151"/>
                  <a:pt x="212" y="125"/>
                </a:cubicBezTo>
                <a:cubicBezTo>
                  <a:pt x="212" y="97"/>
                  <a:pt x="190" y="75"/>
                  <a:pt x="164" y="75"/>
                </a:cubicBezTo>
                <a:close/>
                <a:moveTo>
                  <a:pt x="164" y="149"/>
                </a:moveTo>
                <a:cubicBezTo>
                  <a:pt x="150" y="149"/>
                  <a:pt x="139" y="138"/>
                  <a:pt x="139" y="125"/>
                </a:cubicBezTo>
                <a:cubicBezTo>
                  <a:pt x="139" y="110"/>
                  <a:pt x="150" y="99"/>
                  <a:pt x="164" y="99"/>
                </a:cubicBezTo>
                <a:cubicBezTo>
                  <a:pt x="177" y="99"/>
                  <a:pt x="188" y="110"/>
                  <a:pt x="188" y="125"/>
                </a:cubicBezTo>
                <a:cubicBezTo>
                  <a:pt x="188" y="138"/>
                  <a:pt x="177" y="149"/>
                  <a:pt x="164" y="149"/>
                </a:cubicBezTo>
                <a:close/>
                <a:moveTo>
                  <a:pt x="412" y="75"/>
                </a:moveTo>
                <a:cubicBezTo>
                  <a:pt x="386" y="75"/>
                  <a:pt x="364" y="97"/>
                  <a:pt x="364" y="125"/>
                </a:cubicBezTo>
                <a:cubicBezTo>
                  <a:pt x="364" y="151"/>
                  <a:pt x="386" y="173"/>
                  <a:pt x="412" y="173"/>
                </a:cubicBezTo>
                <a:cubicBezTo>
                  <a:pt x="439" y="173"/>
                  <a:pt x="460" y="151"/>
                  <a:pt x="460" y="125"/>
                </a:cubicBezTo>
                <a:cubicBezTo>
                  <a:pt x="460" y="97"/>
                  <a:pt x="439" y="75"/>
                  <a:pt x="412" y="75"/>
                </a:cubicBezTo>
                <a:close/>
                <a:moveTo>
                  <a:pt x="436" y="125"/>
                </a:moveTo>
                <a:cubicBezTo>
                  <a:pt x="436" y="138"/>
                  <a:pt x="426" y="149"/>
                  <a:pt x="412" y="149"/>
                </a:cubicBezTo>
                <a:cubicBezTo>
                  <a:pt x="399" y="149"/>
                  <a:pt x="388" y="138"/>
                  <a:pt x="388" y="125"/>
                </a:cubicBezTo>
                <a:cubicBezTo>
                  <a:pt x="388" y="111"/>
                  <a:pt x="399" y="99"/>
                  <a:pt x="412" y="99"/>
                </a:cubicBezTo>
                <a:cubicBezTo>
                  <a:pt x="426" y="99"/>
                  <a:pt x="436" y="110"/>
                  <a:pt x="436" y="125"/>
                </a:cubicBezTo>
                <a:close/>
              </a:path>
            </a:pathLst>
          </a:custGeom>
          <a:solidFill>
            <a:schemeClr val="accent4"/>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2250" dirty="0">
              <a:solidFill>
                <a:schemeClr val="accent1"/>
              </a:solidFill>
              <a:latin typeface="Arial"/>
              <a:ea typeface="Arial"/>
              <a:cs typeface="Arial"/>
              <a:sym typeface="Arial"/>
            </a:endParaRPr>
          </a:p>
        </p:txBody>
      </p:sp>
      <p:sp>
        <p:nvSpPr>
          <p:cNvPr id="28" name="Google Shape;25916;p308">
            <a:extLst>
              <a:ext uri="{FF2B5EF4-FFF2-40B4-BE49-F238E27FC236}">
                <a16:creationId xmlns:a16="http://schemas.microsoft.com/office/drawing/2014/main" id="{D0D20F57-1367-4BCF-8FA5-D607445F2E25}"/>
              </a:ext>
            </a:extLst>
          </p:cNvPr>
          <p:cNvSpPr/>
          <p:nvPr/>
        </p:nvSpPr>
        <p:spPr>
          <a:xfrm>
            <a:off x="5458029" y="1951283"/>
            <a:ext cx="509389" cy="459986"/>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205" y="314"/>
                </a:moveTo>
                <a:cubicBezTo>
                  <a:pt x="169" y="314"/>
                  <a:pt x="141" y="342"/>
                  <a:pt x="141" y="377"/>
                </a:cubicBezTo>
                <a:cubicBezTo>
                  <a:pt x="141" y="413"/>
                  <a:pt x="169" y="441"/>
                  <a:pt x="205" y="441"/>
                </a:cubicBezTo>
                <a:cubicBezTo>
                  <a:pt x="240" y="441"/>
                  <a:pt x="268" y="413"/>
                  <a:pt x="268" y="377"/>
                </a:cubicBezTo>
                <a:cubicBezTo>
                  <a:pt x="268" y="342"/>
                  <a:pt x="240" y="314"/>
                  <a:pt x="205" y="314"/>
                </a:cubicBezTo>
                <a:close/>
                <a:moveTo>
                  <a:pt x="205" y="417"/>
                </a:moveTo>
                <a:cubicBezTo>
                  <a:pt x="183" y="417"/>
                  <a:pt x="165" y="399"/>
                  <a:pt x="165" y="377"/>
                </a:cubicBezTo>
                <a:cubicBezTo>
                  <a:pt x="165" y="356"/>
                  <a:pt x="183" y="338"/>
                  <a:pt x="205" y="338"/>
                </a:cubicBezTo>
                <a:cubicBezTo>
                  <a:pt x="226" y="338"/>
                  <a:pt x="244" y="356"/>
                  <a:pt x="244" y="377"/>
                </a:cubicBezTo>
                <a:cubicBezTo>
                  <a:pt x="244" y="399"/>
                  <a:pt x="226" y="417"/>
                  <a:pt x="205" y="417"/>
                </a:cubicBezTo>
                <a:close/>
                <a:moveTo>
                  <a:pt x="412" y="295"/>
                </a:moveTo>
                <a:cubicBezTo>
                  <a:pt x="396" y="297"/>
                  <a:pt x="384" y="298"/>
                  <a:pt x="372" y="298"/>
                </a:cubicBezTo>
                <a:cubicBezTo>
                  <a:pt x="361" y="299"/>
                  <a:pt x="349" y="300"/>
                  <a:pt x="335" y="302"/>
                </a:cubicBezTo>
                <a:cubicBezTo>
                  <a:pt x="354" y="283"/>
                  <a:pt x="373" y="263"/>
                  <a:pt x="392" y="244"/>
                </a:cubicBezTo>
                <a:cubicBezTo>
                  <a:pt x="404" y="232"/>
                  <a:pt x="409" y="218"/>
                  <a:pt x="405" y="205"/>
                </a:cubicBezTo>
                <a:cubicBezTo>
                  <a:pt x="402" y="191"/>
                  <a:pt x="391" y="181"/>
                  <a:pt x="375" y="176"/>
                </a:cubicBezTo>
                <a:cubicBezTo>
                  <a:pt x="318" y="159"/>
                  <a:pt x="261" y="142"/>
                  <a:pt x="211" y="127"/>
                </a:cubicBezTo>
                <a:cubicBezTo>
                  <a:pt x="194" y="122"/>
                  <a:pt x="178" y="126"/>
                  <a:pt x="167" y="138"/>
                </a:cubicBezTo>
                <a:cubicBezTo>
                  <a:pt x="158" y="147"/>
                  <a:pt x="150" y="155"/>
                  <a:pt x="141" y="164"/>
                </a:cubicBezTo>
                <a:cubicBezTo>
                  <a:pt x="134" y="171"/>
                  <a:pt x="127" y="178"/>
                  <a:pt x="119" y="185"/>
                </a:cubicBezTo>
                <a:cubicBezTo>
                  <a:pt x="111" y="194"/>
                  <a:pt x="106" y="204"/>
                  <a:pt x="106" y="214"/>
                </a:cubicBezTo>
                <a:cubicBezTo>
                  <a:pt x="106" y="224"/>
                  <a:pt x="110" y="234"/>
                  <a:pt x="118" y="242"/>
                </a:cubicBezTo>
                <a:cubicBezTo>
                  <a:pt x="134" y="258"/>
                  <a:pt x="156" y="257"/>
                  <a:pt x="174" y="241"/>
                </a:cubicBezTo>
                <a:cubicBezTo>
                  <a:pt x="179" y="236"/>
                  <a:pt x="184" y="230"/>
                  <a:pt x="189" y="225"/>
                </a:cubicBezTo>
                <a:cubicBezTo>
                  <a:pt x="195" y="219"/>
                  <a:pt x="201" y="214"/>
                  <a:pt x="207" y="208"/>
                </a:cubicBezTo>
                <a:cubicBezTo>
                  <a:pt x="207" y="208"/>
                  <a:pt x="207" y="208"/>
                  <a:pt x="207" y="208"/>
                </a:cubicBezTo>
                <a:cubicBezTo>
                  <a:pt x="220" y="211"/>
                  <a:pt x="232" y="215"/>
                  <a:pt x="245" y="219"/>
                </a:cubicBezTo>
                <a:cubicBezTo>
                  <a:pt x="216" y="251"/>
                  <a:pt x="216" y="251"/>
                  <a:pt x="216" y="251"/>
                </a:cubicBezTo>
                <a:cubicBezTo>
                  <a:pt x="212" y="250"/>
                  <a:pt x="208" y="250"/>
                  <a:pt x="205" y="250"/>
                </a:cubicBezTo>
                <a:cubicBezTo>
                  <a:pt x="189" y="250"/>
                  <a:pt x="173" y="253"/>
                  <a:pt x="159" y="259"/>
                </a:cubicBezTo>
                <a:cubicBezTo>
                  <a:pt x="111" y="277"/>
                  <a:pt x="77" y="323"/>
                  <a:pt x="77" y="377"/>
                </a:cubicBezTo>
                <a:cubicBezTo>
                  <a:pt x="77" y="448"/>
                  <a:pt x="134" y="505"/>
                  <a:pt x="205" y="505"/>
                </a:cubicBezTo>
                <a:cubicBezTo>
                  <a:pt x="239" y="505"/>
                  <a:pt x="270" y="491"/>
                  <a:pt x="293" y="469"/>
                </a:cubicBezTo>
                <a:cubicBezTo>
                  <a:pt x="308" y="455"/>
                  <a:pt x="319" y="437"/>
                  <a:pt x="325" y="417"/>
                </a:cubicBezTo>
                <a:cubicBezTo>
                  <a:pt x="330" y="405"/>
                  <a:pt x="332" y="392"/>
                  <a:pt x="332" y="378"/>
                </a:cubicBezTo>
                <a:cubicBezTo>
                  <a:pt x="334" y="378"/>
                  <a:pt x="334" y="378"/>
                  <a:pt x="334" y="378"/>
                </a:cubicBezTo>
                <a:cubicBezTo>
                  <a:pt x="349" y="378"/>
                  <a:pt x="369" y="378"/>
                  <a:pt x="369" y="378"/>
                </a:cubicBezTo>
                <a:cubicBezTo>
                  <a:pt x="366" y="391"/>
                  <a:pt x="363" y="404"/>
                  <a:pt x="360" y="416"/>
                </a:cubicBezTo>
                <a:cubicBezTo>
                  <a:pt x="356" y="436"/>
                  <a:pt x="351" y="456"/>
                  <a:pt x="347" y="476"/>
                </a:cubicBezTo>
                <a:cubicBezTo>
                  <a:pt x="341" y="500"/>
                  <a:pt x="354" y="521"/>
                  <a:pt x="377" y="526"/>
                </a:cubicBezTo>
                <a:cubicBezTo>
                  <a:pt x="380" y="526"/>
                  <a:pt x="382" y="527"/>
                  <a:pt x="385" y="527"/>
                </a:cubicBezTo>
                <a:cubicBezTo>
                  <a:pt x="403" y="527"/>
                  <a:pt x="418" y="514"/>
                  <a:pt x="423" y="494"/>
                </a:cubicBezTo>
                <a:cubicBezTo>
                  <a:pt x="432" y="452"/>
                  <a:pt x="444" y="398"/>
                  <a:pt x="456" y="344"/>
                </a:cubicBezTo>
                <a:cubicBezTo>
                  <a:pt x="458" y="330"/>
                  <a:pt x="455" y="317"/>
                  <a:pt x="447" y="308"/>
                </a:cubicBezTo>
                <a:cubicBezTo>
                  <a:pt x="439" y="299"/>
                  <a:pt x="426" y="294"/>
                  <a:pt x="412" y="295"/>
                </a:cubicBezTo>
                <a:close/>
                <a:moveTo>
                  <a:pt x="289" y="207"/>
                </a:moveTo>
                <a:cubicBezTo>
                  <a:pt x="271" y="201"/>
                  <a:pt x="271" y="201"/>
                  <a:pt x="271" y="201"/>
                </a:cubicBezTo>
                <a:cubicBezTo>
                  <a:pt x="265" y="200"/>
                  <a:pt x="260" y="198"/>
                  <a:pt x="255" y="197"/>
                </a:cubicBezTo>
                <a:cubicBezTo>
                  <a:pt x="240" y="192"/>
                  <a:pt x="226" y="188"/>
                  <a:pt x="212" y="184"/>
                </a:cubicBezTo>
                <a:cubicBezTo>
                  <a:pt x="204" y="182"/>
                  <a:pt x="195" y="186"/>
                  <a:pt x="190" y="191"/>
                </a:cubicBezTo>
                <a:cubicBezTo>
                  <a:pt x="184" y="196"/>
                  <a:pt x="178" y="202"/>
                  <a:pt x="172" y="208"/>
                </a:cubicBezTo>
                <a:cubicBezTo>
                  <a:pt x="167" y="213"/>
                  <a:pt x="162" y="218"/>
                  <a:pt x="157" y="223"/>
                </a:cubicBezTo>
                <a:cubicBezTo>
                  <a:pt x="149" y="231"/>
                  <a:pt x="142" y="231"/>
                  <a:pt x="135" y="225"/>
                </a:cubicBezTo>
                <a:cubicBezTo>
                  <a:pt x="132" y="222"/>
                  <a:pt x="130" y="218"/>
                  <a:pt x="130" y="215"/>
                </a:cubicBezTo>
                <a:cubicBezTo>
                  <a:pt x="130" y="211"/>
                  <a:pt x="132" y="206"/>
                  <a:pt x="137" y="202"/>
                </a:cubicBezTo>
                <a:cubicBezTo>
                  <a:pt x="144" y="195"/>
                  <a:pt x="151" y="188"/>
                  <a:pt x="158" y="181"/>
                </a:cubicBezTo>
                <a:cubicBezTo>
                  <a:pt x="167" y="172"/>
                  <a:pt x="175" y="163"/>
                  <a:pt x="184" y="155"/>
                </a:cubicBezTo>
                <a:cubicBezTo>
                  <a:pt x="190" y="149"/>
                  <a:pt x="196" y="147"/>
                  <a:pt x="204" y="150"/>
                </a:cubicBezTo>
                <a:cubicBezTo>
                  <a:pt x="254" y="165"/>
                  <a:pt x="311" y="182"/>
                  <a:pt x="368" y="199"/>
                </a:cubicBezTo>
                <a:cubicBezTo>
                  <a:pt x="376" y="202"/>
                  <a:pt x="381" y="206"/>
                  <a:pt x="382" y="211"/>
                </a:cubicBezTo>
                <a:cubicBezTo>
                  <a:pt x="383" y="215"/>
                  <a:pt x="381" y="221"/>
                  <a:pt x="375" y="227"/>
                </a:cubicBezTo>
                <a:cubicBezTo>
                  <a:pt x="352" y="251"/>
                  <a:pt x="328" y="275"/>
                  <a:pt x="305" y="297"/>
                </a:cubicBezTo>
                <a:cubicBezTo>
                  <a:pt x="290" y="280"/>
                  <a:pt x="271" y="266"/>
                  <a:pt x="249" y="258"/>
                </a:cubicBezTo>
                <a:cubicBezTo>
                  <a:pt x="249" y="258"/>
                  <a:pt x="248" y="258"/>
                  <a:pt x="248" y="258"/>
                </a:cubicBezTo>
                <a:cubicBezTo>
                  <a:pt x="246" y="257"/>
                  <a:pt x="245" y="257"/>
                  <a:pt x="243" y="256"/>
                </a:cubicBezTo>
                <a:lnTo>
                  <a:pt x="289" y="207"/>
                </a:lnTo>
                <a:close/>
                <a:moveTo>
                  <a:pt x="279" y="448"/>
                </a:moveTo>
                <a:cubicBezTo>
                  <a:pt x="267" y="461"/>
                  <a:pt x="251" y="471"/>
                  <a:pt x="232" y="476"/>
                </a:cubicBezTo>
                <a:cubicBezTo>
                  <a:pt x="224" y="479"/>
                  <a:pt x="214" y="480"/>
                  <a:pt x="205" y="480"/>
                </a:cubicBezTo>
                <a:cubicBezTo>
                  <a:pt x="148" y="480"/>
                  <a:pt x="102" y="434"/>
                  <a:pt x="102" y="377"/>
                </a:cubicBezTo>
                <a:cubicBezTo>
                  <a:pt x="102" y="352"/>
                  <a:pt x="111" y="328"/>
                  <a:pt x="127" y="310"/>
                </a:cubicBezTo>
                <a:cubicBezTo>
                  <a:pt x="139" y="296"/>
                  <a:pt x="155" y="286"/>
                  <a:pt x="173" y="280"/>
                </a:cubicBezTo>
                <a:cubicBezTo>
                  <a:pt x="183" y="276"/>
                  <a:pt x="193" y="275"/>
                  <a:pt x="205" y="275"/>
                </a:cubicBezTo>
                <a:cubicBezTo>
                  <a:pt x="216" y="275"/>
                  <a:pt x="227" y="277"/>
                  <a:pt x="238" y="280"/>
                </a:cubicBezTo>
                <a:cubicBezTo>
                  <a:pt x="238" y="280"/>
                  <a:pt x="239" y="280"/>
                  <a:pt x="239" y="280"/>
                </a:cubicBezTo>
                <a:cubicBezTo>
                  <a:pt x="239" y="281"/>
                  <a:pt x="239" y="281"/>
                  <a:pt x="239" y="281"/>
                </a:cubicBezTo>
                <a:cubicBezTo>
                  <a:pt x="240" y="281"/>
                  <a:pt x="240" y="281"/>
                  <a:pt x="240" y="281"/>
                </a:cubicBezTo>
                <a:cubicBezTo>
                  <a:pt x="264" y="290"/>
                  <a:pt x="284" y="307"/>
                  <a:pt x="296" y="330"/>
                </a:cubicBezTo>
                <a:cubicBezTo>
                  <a:pt x="296" y="330"/>
                  <a:pt x="296" y="330"/>
                  <a:pt x="296" y="330"/>
                </a:cubicBezTo>
                <a:cubicBezTo>
                  <a:pt x="303" y="344"/>
                  <a:pt x="307" y="360"/>
                  <a:pt x="307" y="377"/>
                </a:cubicBezTo>
                <a:cubicBezTo>
                  <a:pt x="307" y="405"/>
                  <a:pt x="297" y="429"/>
                  <a:pt x="279" y="448"/>
                </a:cubicBezTo>
                <a:close/>
                <a:moveTo>
                  <a:pt x="432" y="339"/>
                </a:moveTo>
                <a:cubicBezTo>
                  <a:pt x="421" y="393"/>
                  <a:pt x="408" y="447"/>
                  <a:pt x="399" y="489"/>
                </a:cubicBezTo>
                <a:cubicBezTo>
                  <a:pt x="397" y="499"/>
                  <a:pt x="390" y="504"/>
                  <a:pt x="382" y="502"/>
                </a:cubicBezTo>
                <a:cubicBezTo>
                  <a:pt x="368" y="499"/>
                  <a:pt x="369" y="488"/>
                  <a:pt x="370" y="481"/>
                </a:cubicBezTo>
                <a:cubicBezTo>
                  <a:pt x="375" y="461"/>
                  <a:pt x="397" y="352"/>
                  <a:pt x="397" y="352"/>
                </a:cubicBezTo>
                <a:cubicBezTo>
                  <a:pt x="382" y="353"/>
                  <a:pt x="382" y="353"/>
                  <a:pt x="382" y="353"/>
                </a:cubicBezTo>
                <a:cubicBezTo>
                  <a:pt x="377" y="353"/>
                  <a:pt x="333" y="355"/>
                  <a:pt x="332" y="355"/>
                </a:cubicBezTo>
                <a:cubicBezTo>
                  <a:pt x="332" y="354"/>
                  <a:pt x="332" y="353"/>
                  <a:pt x="331" y="353"/>
                </a:cubicBezTo>
                <a:cubicBezTo>
                  <a:pt x="331" y="353"/>
                  <a:pt x="331" y="353"/>
                  <a:pt x="331" y="353"/>
                </a:cubicBezTo>
                <a:cubicBezTo>
                  <a:pt x="329" y="344"/>
                  <a:pt x="327" y="335"/>
                  <a:pt x="323" y="327"/>
                </a:cubicBezTo>
                <a:cubicBezTo>
                  <a:pt x="325" y="327"/>
                  <a:pt x="325" y="327"/>
                  <a:pt x="325" y="327"/>
                </a:cubicBezTo>
                <a:cubicBezTo>
                  <a:pt x="346" y="325"/>
                  <a:pt x="360" y="324"/>
                  <a:pt x="374" y="322"/>
                </a:cubicBezTo>
                <a:cubicBezTo>
                  <a:pt x="386" y="322"/>
                  <a:pt x="398" y="321"/>
                  <a:pt x="414" y="319"/>
                </a:cubicBezTo>
                <a:cubicBezTo>
                  <a:pt x="421" y="319"/>
                  <a:pt x="426" y="320"/>
                  <a:pt x="429" y="324"/>
                </a:cubicBezTo>
                <a:cubicBezTo>
                  <a:pt x="432" y="327"/>
                  <a:pt x="433" y="333"/>
                  <a:pt x="432" y="339"/>
                </a:cubicBezTo>
                <a:close/>
                <a:moveTo>
                  <a:pt x="411" y="49"/>
                </a:moveTo>
                <a:cubicBezTo>
                  <a:pt x="411" y="49"/>
                  <a:pt x="411" y="49"/>
                  <a:pt x="411" y="49"/>
                </a:cubicBezTo>
                <a:cubicBezTo>
                  <a:pt x="375" y="49"/>
                  <a:pt x="347" y="77"/>
                  <a:pt x="347" y="112"/>
                </a:cubicBezTo>
                <a:cubicBezTo>
                  <a:pt x="347" y="129"/>
                  <a:pt x="354" y="146"/>
                  <a:pt x="366" y="159"/>
                </a:cubicBezTo>
                <a:cubicBezTo>
                  <a:pt x="378" y="171"/>
                  <a:pt x="394" y="178"/>
                  <a:pt x="411" y="178"/>
                </a:cubicBezTo>
                <a:cubicBezTo>
                  <a:pt x="411" y="178"/>
                  <a:pt x="411" y="178"/>
                  <a:pt x="411" y="178"/>
                </a:cubicBezTo>
                <a:cubicBezTo>
                  <a:pt x="428" y="177"/>
                  <a:pt x="444" y="170"/>
                  <a:pt x="457" y="157"/>
                </a:cubicBezTo>
                <a:cubicBezTo>
                  <a:pt x="469" y="145"/>
                  <a:pt x="476" y="128"/>
                  <a:pt x="476" y="112"/>
                </a:cubicBezTo>
                <a:cubicBezTo>
                  <a:pt x="475" y="77"/>
                  <a:pt x="446" y="49"/>
                  <a:pt x="411" y="49"/>
                </a:cubicBezTo>
                <a:close/>
                <a:moveTo>
                  <a:pt x="383" y="142"/>
                </a:moveTo>
                <a:cubicBezTo>
                  <a:pt x="375" y="134"/>
                  <a:pt x="371" y="123"/>
                  <a:pt x="371" y="112"/>
                </a:cubicBezTo>
                <a:cubicBezTo>
                  <a:pt x="371" y="90"/>
                  <a:pt x="388" y="73"/>
                  <a:pt x="411" y="73"/>
                </a:cubicBezTo>
                <a:cubicBezTo>
                  <a:pt x="433" y="73"/>
                  <a:pt x="451" y="90"/>
                  <a:pt x="452" y="112"/>
                </a:cubicBezTo>
                <a:cubicBezTo>
                  <a:pt x="452" y="122"/>
                  <a:pt x="447" y="133"/>
                  <a:pt x="440" y="141"/>
                </a:cubicBezTo>
                <a:cubicBezTo>
                  <a:pt x="432" y="149"/>
                  <a:pt x="421" y="153"/>
                  <a:pt x="411" y="154"/>
                </a:cubicBezTo>
                <a:cubicBezTo>
                  <a:pt x="401" y="153"/>
                  <a:pt x="391" y="149"/>
                  <a:pt x="383" y="142"/>
                </a:cubicBezTo>
                <a:close/>
              </a:path>
            </a:pathLst>
          </a:custGeom>
          <a:solidFill>
            <a:schemeClr val="accent4"/>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dirty="0">
              <a:solidFill>
                <a:schemeClr val="accent1"/>
              </a:solidFill>
              <a:latin typeface="Arial"/>
              <a:ea typeface="Arial"/>
              <a:cs typeface="Arial"/>
              <a:sym typeface="Arial"/>
            </a:endParaRPr>
          </a:p>
        </p:txBody>
      </p:sp>
      <p:sp>
        <p:nvSpPr>
          <p:cNvPr id="4" name="Slide Number Placeholder 3">
            <a:extLst>
              <a:ext uri="{FF2B5EF4-FFF2-40B4-BE49-F238E27FC236}">
                <a16:creationId xmlns:a16="http://schemas.microsoft.com/office/drawing/2014/main" id="{73F438D7-FCC1-6909-C6FB-F0DAEFD473C9}"/>
              </a:ext>
            </a:extLst>
          </p:cNvPr>
          <p:cNvSpPr>
            <a:spLocks noGrp="1"/>
          </p:cNvSpPr>
          <p:nvPr>
            <p:ph type="sldNum" sz="quarter" idx="12"/>
          </p:nvPr>
        </p:nvSpPr>
        <p:spPr/>
        <p:txBody>
          <a:bodyPr/>
          <a:lstStyle/>
          <a:p>
            <a:fld id="{C0F55C17-AF72-40D4-ADBD-B5505DEBF9BA}" type="slidenum">
              <a:rPr lang="en-AU" smtClean="0"/>
              <a:t>18</a:t>
            </a:fld>
            <a:endParaRPr lang="en-US" dirty="0"/>
          </a:p>
        </p:txBody>
      </p:sp>
      <p:sp>
        <p:nvSpPr>
          <p:cNvPr id="2" name="Footer Placeholder 1">
            <a:extLst>
              <a:ext uri="{FF2B5EF4-FFF2-40B4-BE49-F238E27FC236}">
                <a16:creationId xmlns:a16="http://schemas.microsoft.com/office/drawing/2014/main" id="{EDEC9E97-3238-AE95-702B-278A7FF9BF55}"/>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25" name="Speech Bubble: Rectangle 24">
            <a:extLst>
              <a:ext uri="{FF2B5EF4-FFF2-40B4-BE49-F238E27FC236}">
                <a16:creationId xmlns:a16="http://schemas.microsoft.com/office/drawing/2014/main" id="{40D74FAC-D641-49B7-AF0E-BDEE8FA7843C}"/>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29" name="Group 28">
            <a:extLst>
              <a:ext uri="{FF2B5EF4-FFF2-40B4-BE49-F238E27FC236}">
                <a16:creationId xmlns:a16="http://schemas.microsoft.com/office/drawing/2014/main" id="{CFEDAE67-C1EA-4D2D-99CD-468206F4F2F8}"/>
              </a:ext>
            </a:extLst>
          </p:cNvPr>
          <p:cNvGrpSpPr/>
          <p:nvPr/>
        </p:nvGrpSpPr>
        <p:grpSpPr>
          <a:xfrm>
            <a:off x="10609741" y="1048190"/>
            <a:ext cx="396000" cy="376186"/>
            <a:chOff x="627146" y="1619763"/>
            <a:chExt cx="396000" cy="396000"/>
          </a:xfrm>
        </p:grpSpPr>
        <p:sp>
          <p:nvSpPr>
            <p:cNvPr id="30" name="Rectangle 29">
              <a:extLst>
                <a:ext uri="{FF2B5EF4-FFF2-40B4-BE49-F238E27FC236}">
                  <a16:creationId xmlns:a16="http://schemas.microsoft.com/office/drawing/2014/main" id="{F7BEAAE7-0A4D-4757-B1C9-50EF9439A2EA}"/>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3" name="Freeform 118">
              <a:extLst>
                <a:ext uri="{FF2B5EF4-FFF2-40B4-BE49-F238E27FC236}">
                  <a16:creationId xmlns:a16="http://schemas.microsoft.com/office/drawing/2014/main" id="{6CE94E77-0608-4F9B-9DF2-051E4C4A1F4F}"/>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4" name="Freeform 119">
              <a:extLst>
                <a:ext uri="{FF2B5EF4-FFF2-40B4-BE49-F238E27FC236}">
                  <a16:creationId xmlns:a16="http://schemas.microsoft.com/office/drawing/2014/main" id="{B4B6A42F-C91D-4F28-9797-62DB102E1B58}"/>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20">
              <a:extLst>
                <a:ext uri="{FF2B5EF4-FFF2-40B4-BE49-F238E27FC236}">
                  <a16:creationId xmlns:a16="http://schemas.microsoft.com/office/drawing/2014/main" id="{E3BFFF69-4BF2-4096-A81B-C53840620125}"/>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9" name="Freeform 121">
              <a:extLst>
                <a:ext uri="{FF2B5EF4-FFF2-40B4-BE49-F238E27FC236}">
                  <a16:creationId xmlns:a16="http://schemas.microsoft.com/office/drawing/2014/main" id="{6955D0C8-017A-4E28-982E-F2DE15CFDB10}"/>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0" name="Freeform 122">
              <a:extLst>
                <a:ext uri="{FF2B5EF4-FFF2-40B4-BE49-F238E27FC236}">
                  <a16:creationId xmlns:a16="http://schemas.microsoft.com/office/drawing/2014/main" id="{FA0A725E-6500-48AC-B561-9F11D36D9E01}"/>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1" name="Freeform 124">
              <a:extLst>
                <a:ext uri="{FF2B5EF4-FFF2-40B4-BE49-F238E27FC236}">
                  <a16:creationId xmlns:a16="http://schemas.microsoft.com/office/drawing/2014/main" id="{CD77B2D8-4DFB-4710-BE4B-36E7D3C8D41D}"/>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5" name="Freeform 128">
              <a:extLst>
                <a:ext uri="{FF2B5EF4-FFF2-40B4-BE49-F238E27FC236}">
                  <a16:creationId xmlns:a16="http://schemas.microsoft.com/office/drawing/2014/main" id="{CC88B93D-D901-4338-B3F8-6E63CFD61239}"/>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6" name="Freeform 129">
              <a:extLst>
                <a:ext uri="{FF2B5EF4-FFF2-40B4-BE49-F238E27FC236}">
                  <a16:creationId xmlns:a16="http://schemas.microsoft.com/office/drawing/2014/main" id="{885CD022-EA08-424D-8209-AE207C07B2DE}"/>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7" name="Freeform 130">
              <a:extLst>
                <a:ext uri="{FF2B5EF4-FFF2-40B4-BE49-F238E27FC236}">
                  <a16:creationId xmlns:a16="http://schemas.microsoft.com/office/drawing/2014/main" id="{3D577E12-55AA-486D-9E8A-19AF42171B99}"/>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8" name="Freeform 131">
              <a:extLst>
                <a:ext uri="{FF2B5EF4-FFF2-40B4-BE49-F238E27FC236}">
                  <a16:creationId xmlns:a16="http://schemas.microsoft.com/office/drawing/2014/main" id="{EA4FBE52-AD49-46C1-83DA-0B126646D5E2}"/>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9" name="Freeform 133">
              <a:extLst>
                <a:ext uri="{FF2B5EF4-FFF2-40B4-BE49-F238E27FC236}">
                  <a16:creationId xmlns:a16="http://schemas.microsoft.com/office/drawing/2014/main" id="{7B439C12-6CE5-4924-94CF-2A3070B1B929}"/>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0" name="Freeform 134">
              <a:extLst>
                <a:ext uri="{FF2B5EF4-FFF2-40B4-BE49-F238E27FC236}">
                  <a16:creationId xmlns:a16="http://schemas.microsoft.com/office/drawing/2014/main" id="{F426443C-35FB-4E35-91C7-5B2F9AEC0B7F}"/>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1" name="Freeform 135">
              <a:extLst>
                <a:ext uri="{FF2B5EF4-FFF2-40B4-BE49-F238E27FC236}">
                  <a16:creationId xmlns:a16="http://schemas.microsoft.com/office/drawing/2014/main" id="{BB1CD378-9F0A-4FE4-BFE3-4D663ED2A623}"/>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52" name="Google Shape;162;p4">
            <a:extLst>
              <a:ext uri="{FF2B5EF4-FFF2-40B4-BE49-F238E27FC236}">
                <a16:creationId xmlns:a16="http://schemas.microsoft.com/office/drawing/2014/main" id="{FEDE6CA5-5C5C-481F-ADA1-54D2A0E0F310}"/>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53" name="Freeform 37">
            <a:extLst>
              <a:ext uri="{FF2B5EF4-FFF2-40B4-BE49-F238E27FC236}">
                <a16:creationId xmlns:a16="http://schemas.microsoft.com/office/drawing/2014/main" id="{AAD5AA39-D389-4821-B73F-47350D831705}"/>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54" name="TextBox 53">
            <a:extLst>
              <a:ext uri="{FF2B5EF4-FFF2-40B4-BE49-F238E27FC236}">
                <a16:creationId xmlns:a16="http://schemas.microsoft.com/office/drawing/2014/main" id="{22DE5311-888A-4F8C-ADC2-83AD69066702}"/>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26110140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phic 21" descr="decorative">
            <a:extLst>
              <a:ext uri="{FF2B5EF4-FFF2-40B4-BE49-F238E27FC236}">
                <a16:creationId xmlns:a16="http://schemas.microsoft.com/office/drawing/2014/main" id="{6B2B9F71-103E-4379-9941-8A83AE6606A6}"/>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flipH="1">
            <a:off x="8725098" y="1954197"/>
            <a:ext cx="2973813" cy="1147333"/>
          </a:xfrm>
          <a:prstGeom prst="rect">
            <a:avLst/>
          </a:prstGeom>
        </p:spPr>
      </p:pic>
      <p:pic>
        <p:nvPicPr>
          <p:cNvPr id="23" name="Graphic 22" descr="decorative">
            <a:extLst>
              <a:ext uri="{FF2B5EF4-FFF2-40B4-BE49-F238E27FC236}">
                <a16:creationId xmlns:a16="http://schemas.microsoft.com/office/drawing/2014/main" id="{2F7D8455-9A53-43A3-BEDB-205D678F2F0A}"/>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8794041" y="3574639"/>
            <a:ext cx="2645107" cy="1134988"/>
          </a:xfrm>
          <a:prstGeom prst="rect">
            <a:avLst/>
          </a:prstGeom>
        </p:spPr>
      </p:pic>
      <p:pic>
        <p:nvPicPr>
          <p:cNvPr id="24" name="Graphic 23" descr="decorative">
            <a:extLst>
              <a:ext uri="{FF2B5EF4-FFF2-40B4-BE49-F238E27FC236}">
                <a16:creationId xmlns:a16="http://schemas.microsoft.com/office/drawing/2014/main" id="{45033439-4007-4F59-B765-48E88FEC09CC}"/>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flipH="1" flipV="1">
            <a:off x="8607977" y="5064883"/>
            <a:ext cx="3172266" cy="1134987"/>
          </a:xfrm>
          <a:prstGeom prst="rect">
            <a:avLst/>
          </a:prstGeom>
        </p:spPr>
      </p:pic>
      <p:sp>
        <p:nvSpPr>
          <p:cNvPr id="26" name="Content Placeholder 5">
            <a:extLst>
              <a:ext uri="{FF2B5EF4-FFF2-40B4-BE49-F238E27FC236}">
                <a16:creationId xmlns:a16="http://schemas.microsoft.com/office/drawing/2014/main" id="{19D04F93-C5F4-4EF8-9F79-4F12236CB266}"/>
              </a:ext>
            </a:extLst>
          </p:cNvPr>
          <p:cNvSpPr txBox="1">
            <a:spLocks/>
          </p:cNvSpPr>
          <p:nvPr/>
        </p:nvSpPr>
        <p:spPr>
          <a:xfrm>
            <a:off x="5379863" y="1556796"/>
            <a:ext cx="3139200" cy="278386"/>
          </a:xfrm>
          <a:prstGeom prst="rect">
            <a:avLst/>
          </a:prstGeom>
          <a:solidFill>
            <a:srgbClr val="7F7F7F"/>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Outcomes</a:t>
            </a:r>
            <a:r>
              <a:rPr lang="en-AU" sz="1200" dirty="0">
                <a:solidFill>
                  <a:schemeClr val="bg1"/>
                </a:solidFill>
              </a:rPr>
              <a:t> </a:t>
            </a:r>
          </a:p>
        </p:txBody>
      </p:sp>
      <p:sp>
        <p:nvSpPr>
          <p:cNvPr id="27" name="Content Placeholder 5">
            <a:extLst>
              <a:ext uri="{FF2B5EF4-FFF2-40B4-BE49-F238E27FC236}">
                <a16:creationId xmlns:a16="http://schemas.microsoft.com/office/drawing/2014/main" id="{4B8EC702-B374-4429-BE2E-71A798716651}"/>
              </a:ext>
            </a:extLst>
          </p:cNvPr>
          <p:cNvSpPr txBox="1">
            <a:spLocks/>
          </p:cNvSpPr>
          <p:nvPr/>
        </p:nvSpPr>
        <p:spPr>
          <a:xfrm>
            <a:off x="5379863" y="1899934"/>
            <a:ext cx="3139200" cy="3194893"/>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25475" indent="-625475">
              <a:spcBef>
                <a:spcPts val="600"/>
              </a:spcBef>
              <a:tabLst>
                <a:tab pos="450850" algn="l"/>
                <a:tab pos="717550" algn="l"/>
              </a:tabLst>
              <a:defRPr/>
            </a:pPr>
            <a:r>
              <a:rPr lang="en-AU" sz="1000" b="0" dirty="0">
                <a:solidFill>
                  <a:schemeClr val="tx1"/>
                </a:solidFill>
              </a:rPr>
              <a:t>Our leaders are capable, confident and feel empowered to lead and develop their people and teams across all levels </a:t>
            </a:r>
            <a:endParaRPr lang="en-AU" sz="1000" b="0" dirty="0">
              <a:solidFill>
                <a:schemeClr val="tx1"/>
              </a:solidFill>
              <a:cs typeface="Calibri"/>
            </a:endParaRPr>
          </a:p>
          <a:p>
            <a:pPr marL="625475" lvl="0" indent="-625475">
              <a:spcBef>
                <a:spcPts val="600"/>
              </a:spcBef>
              <a:tabLst>
                <a:tab pos="450850" algn="l"/>
                <a:tab pos="717550" algn="l"/>
              </a:tabLst>
              <a:defRPr/>
            </a:pPr>
            <a:r>
              <a:rPr lang="en-AU" sz="1000" b="0" dirty="0">
                <a:solidFill>
                  <a:schemeClr val="tx1"/>
                </a:solidFill>
              </a:rPr>
              <a:t>Enhanced and consistent approach to performance management with Professional Development Plans in place</a:t>
            </a:r>
            <a:endParaRPr lang="en-AU" sz="1000" b="0" dirty="0">
              <a:solidFill>
                <a:schemeClr val="tx1"/>
              </a:solidFill>
              <a:cs typeface="Calibri"/>
            </a:endParaRPr>
          </a:p>
          <a:p>
            <a:pPr marL="625475" lvl="0" indent="-625475">
              <a:spcBef>
                <a:spcPts val="600"/>
              </a:spcBef>
              <a:tabLst>
                <a:tab pos="450850" algn="l"/>
                <a:tab pos="717550" algn="l"/>
              </a:tabLst>
              <a:defRPr/>
            </a:pPr>
            <a:r>
              <a:rPr lang="en-AU" sz="1000" b="0" dirty="0">
                <a:solidFill>
                  <a:schemeClr val="tx1"/>
                </a:solidFill>
              </a:rPr>
              <a:t>Streamlined approach where all employees have defined roles and responsibilities that align to the </a:t>
            </a:r>
            <a:r>
              <a:rPr lang="en-AU" sz="1000" b="0" dirty="0" smtClean="0">
                <a:solidFill>
                  <a:schemeClr val="tx1"/>
                </a:solidFill>
              </a:rPr>
              <a:t>Commission’s </a:t>
            </a:r>
            <a:r>
              <a:rPr lang="en-AU" sz="1000" b="0" dirty="0">
                <a:solidFill>
                  <a:schemeClr val="tx1"/>
                </a:solidFill>
              </a:rPr>
              <a:t>purpose and cultural principles</a:t>
            </a:r>
            <a:endParaRPr lang="en-AU" sz="1000" b="0" dirty="0">
              <a:solidFill>
                <a:schemeClr val="tx1"/>
              </a:solidFill>
              <a:cs typeface="Calibri"/>
            </a:endParaRPr>
          </a:p>
          <a:p>
            <a:pPr marL="625475" lvl="0" indent="-625475">
              <a:spcBef>
                <a:spcPts val="600"/>
              </a:spcBef>
              <a:tabLst>
                <a:tab pos="450850" algn="l"/>
                <a:tab pos="717550" algn="l"/>
              </a:tabLst>
              <a:defRPr/>
            </a:pPr>
            <a:r>
              <a:rPr lang="en-AU" sz="1000" b="0" dirty="0">
                <a:solidFill>
                  <a:schemeClr val="tx1"/>
                </a:solidFill>
              </a:rPr>
              <a:t>Our people feel valued, recognised and can connect their contribution to our purpose, reflected as increased employee engagement across both APS Census and internal pulse surveys</a:t>
            </a:r>
            <a:endParaRPr lang="en-AU" sz="1000" dirty="0">
              <a:solidFill>
                <a:schemeClr val="tx1"/>
              </a:solidFill>
            </a:endParaRPr>
          </a:p>
        </p:txBody>
      </p:sp>
      <p:sp>
        <p:nvSpPr>
          <p:cNvPr id="28" name="Content Placeholder 5">
            <a:extLst>
              <a:ext uri="{FF2B5EF4-FFF2-40B4-BE49-F238E27FC236}">
                <a16:creationId xmlns:a16="http://schemas.microsoft.com/office/drawing/2014/main" id="{9E1657B2-AE27-4D3D-A412-42CFB6EDB49E}"/>
              </a:ext>
            </a:extLst>
          </p:cNvPr>
          <p:cNvSpPr txBox="1">
            <a:spLocks/>
          </p:cNvSpPr>
          <p:nvPr/>
        </p:nvSpPr>
        <p:spPr>
          <a:xfrm>
            <a:off x="8622048" y="1570214"/>
            <a:ext cx="3078246" cy="278386"/>
          </a:xfrm>
          <a:prstGeom prst="rect">
            <a:avLst/>
          </a:prstGeom>
          <a:solidFill>
            <a:srgbClr val="7F7F7F"/>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sounds like …</a:t>
            </a:r>
            <a:endParaRPr lang="en-AU" sz="1100" dirty="0">
              <a:solidFill>
                <a:schemeClr val="bg1"/>
              </a:solidFill>
              <a:cs typeface="Calibri"/>
            </a:endParaRPr>
          </a:p>
        </p:txBody>
      </p:sp>
      <p:sp>
        <p:nvSpPr>
          <p:cNvPr id="40" name="Content Placeholder 5">
            <a:extLst>
              <a:ext uri="{FF2B5EF4-FFF2-40B4-BE49-F238E27FC236}">
                <a16:creationId xmlns:a16="http://schemas.microsoft.com/office/drawing/2014/main" id="{CC9971B9-3BEC-4056-841B-CB6A30242A85}"/>
              </a:ext>
            </a:extLst>
          </p:cNvPr>
          <p:cNvSpPr txBox="1">
            <a:spLocks/>
          </p:cNvSpPr>
          <p:nvPr/>
        </p:nvSpPr>
        <p:spPr>
          <a:xfrm>
            <a:off x="544076" y="1584070"/>
            <a:ext cx="4699647" cy="4151712"/>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en-AU" sz="1100" dirty="0">
                <a:latin typeface="+mj-lt"/>
              </a:rPr>
              <a:t>Our Aspiration</a:t>
            </a:r>
            <a:endParaRPr lang="en-AU" sz="1100" b="0" dirty="0">
              <a:latin typeface="Calibri" panose="020F0502020204030204"/>
              <a:cs typeface="Calibri Light"/>
            </a:endParaRPr>
          </a:p>
          <a:p>
            <a:pPr>
              <a:lnSpc>
                <a:spcPct val="100000"/>
              </a:lnSpc>
              <a:spcBef>
                <a:spcPts val="600"/>
              </a:spcBef>
              <a:defRPr/>
            </a:pPr>
            <a:r>
              <a:rPr lang="en-AU" sz="1000" b="0" dirty="0">
                <a:latin typeface="Calibri" panose="020F0502020204030204"/>
                <a:cs typeface="Calibri Light"/>
              </a:rPr>
              <a:t>We are passionate, engaged and high-performing, having strong collaborative relationships with peers, </a:t>
            </a:r>
            <a:r>
              <a:rPr lang="en-AU" sz="1000" b="0" dirty="0" smtClean="0">
                <a:latin typeface="Calibri" panose="020F0502020204030204"/>
                <a:cs typeface="Calibri Light"/>
              </a:rPr>
              <a:t>providers </a:t>
            </a:r>
            <a:r>
              <a:rPr lang="en-AU" sz="1000" b="0" dirty="0">
                <a:latin typeface="Calibri" panose="020F0502020204030204"/>
                <a:cs typeface="Calibri Light"/>
              </a:rPr>
              <a:t>and </a:t>
            </a:r>
            <a:r>
              <a:rPr lang="en-AU" sz="1000" b="0" dirty="0" smtClean="0">
                <a:latin typeface="Calibri" panose="020F0502020204030204"/>
                <a:cs typeface="Calibri Light"/>
              </a:rPr>
              <a:t>participants and </a:t>
            </a:r>
            <a:r>
              <a:rPr lang="en-AU" sz="1000" b="0" dirty="0">
                <a:latin typeface="Calibri" panose="020F0502020204030204"/>
                <a:cs typeface="Calibri Light"/>
              </a:rPr>
              <a:t>we are committed to operating and working as ‘One Commission’.  </a:t>
            </a:r>
          </a:p>
          <a:p>
            <a:pPr>
              <a:lnSpc>
                <a:spcPct val="100000"/>
              </a:lnSpc>
              <a:spcBef>
                <a:spcPts val="600"/>
              </a:spcBef>
              <a:defRPr/>
            </a:pPr>
            <a:r>
              <a:rPr lang="en-AU" sz="1000" b="0" dirty="0">
                <a:latin typeface="Calibri" panose="020F0502020204030204"/>
                <a:cs typeface="Calibri Light"/>
              </a:rPr>
              <a:t>We empower our workforce to be proactive, manage risks proportionately and maintain essential safeguards whilst minimising regulatory burden.</a:t>
            </a:r>
          </a:p>
          <a:p>
            <a:pPr>
              <a:lnSpc>
                <a:spcPct val="100000"/>
              </a:lnSpc>
              <a:spcBef>
                <a:spcPts val="600"/>
              </a:spcBef>
              <a:defRPr/>
            </a:pPr>
            <a:r>
              <a:rPr lang="en-AU" sz="1000" b="0" dirty="0">
                <a:latin typeface="Calibri" panose="020F0502020204030204"/>
                <a:cs typeface="Calibri Light"/>
              </a:rPr>
              <a:t>We do this by:</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clearly defining roles, responsibilities and goals </a:t>
            </a:r>
            <a:r>
              <a:rPr lang="en-AU" sz="1000" b="0" dirty="0">
                <a:latin typeface="Calibri" panose="020F0502020204030204"/>
                <a:cs typeface="Calibri Light"/>
              </a:rPr>
              <a:t>that align to our strategic objectives </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establishing engaging </a:t>
            </a:r>
            <a:r>
              <a:rPr lang="en-AU" sz="1000" dirty="0" smtClean="0">
                <a:latin typeface="Calibri" panose="020F0502020204030204"/>
                <a:cs typeface="Calibri Light"/>
              </a:rPr>
              <a:t>performance and development </a:t>
            </a:r>
            <a:r>
              <a:rPr lang="en-AU" sz="1000" dirty="0">
                <a:latin typeface="Calibri" panose="020F0502020204030204"/>
                <a:cs typeface="Calibri Light"/>
              </a:rPr>
              <a:t>planning processes </a:t>
            </a:r>
            <a:r>
              <a:rPr lang="en-AU" sz="1000" b="0" dirty="0">
                <a:latin typeface="Calibri" panose="020F0502020204030204"/>
                <a:cs typeface="Calibri Light"/>
              </a:rPr>
              <a:t>that </a:t>
            </a:r>
            <a:r>
              <a:rPr lang="en-AU" sz="1000" b="0" dirty="0" smtClean="0">
                <a:latin typeface="Calibri" panose="020F0502020204030204"/>
                <a:cs typeface="Calibri Light"/>
              </a:rPr>
              <a:t>nurture </a:t>
            </a:r>
            <a:r>
              <a:rPr lang="en-AU" sz="1000" b="0" dirty="0">
                <a:latin typeface="Calibri" panose="020F0502020204030204"/>
                <a:cs typeface="Calibri Light"/>
              </a:rPr>
              <a:t>and </a:t>
            </a:r>
            <a:r>
              <a:rPr lang="en-AU" sz="1000" b="0" dirty="0" smtClean="0">
                <a:latin typeface="Calibri" panose="020F0502020204030204"/>
                <a:cs typeface="Calibri Light"/>
              </a:rPr>
              <a:t>grow </a:t>
            </a:r>
            <a:r>
              <a:rPr lang="en-AU" sz="1000" b="0" dirty="0">
                <a:latin typeface="Calibri" panose="020F0502020204030204"/>
                <a:cs typeface="Calibri Light"/>
              </a:rPr>
              <a:t>talent </a:t>
            </a:r>
            <a:endParaRPr lang="en-AU" sz="1000" dirty="0">
              <a:latin typeface="Calibri" panose="020F0502020204030204"/>
              <a:cs typeface="Calibri Light"/>
            </a:endParaRP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empowering our leaders </a:t>
            </a:r>
            <a:r>
              <a:rPr lang="en-AU" sz="1000" b="0" dirty="0">
                <a:latin typeface="Calibri" panose="020F0502020204030204"/>
                <a:cs typeface="Calibri Light"/>
              </a:rPr>
              <a:t>to role model desired leadership skills, knowledge, attitudes and behaviours </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equipping our leaders </a:t>
            </a:r>
            <a:r>
              <a:rPr lang="en-AU" sz="1000" b="0" dirty="0">
                <a:latin typeface="Calibri" panose="020F0502020204030204"/>
                <a:cs typeface="Calibri Light"/>
              </a:rPr>
              <a:t>with the tools and guides enabling them to </a:t>
            </a:r>
            <a:r>
              <a:rPr lang="en-AU" sz="1000" dirty="0">
                <a:latin typeface="Calibri" panose="020F0502020204030204"/>
                <a:cs typeface="Calibri Light"/>
              </a:rPr>
              <a:t>manage performance </a:t>
            </a:r>
            <a:r>
              <a:rPr lang="en-AU" sz="1000" b="0" dirty="0">
                <a:latin typeface="Calibri" panose="020F0502020204030204"/>
                <a:cs typeface="Calibri Light"/>
              </a:rPr>
              <a:t>and </a:t>
            </a:r>
            <a:r>
              <a:rPr lang="en-AU" sz="1000" dirty="0">
                <a:latin typeface="Calibri" panose="020F0502020204030204"/>
                <a:cs typeface="Calibri Light"/>
              </a:rPr>
              <a:t>develop their people </a:t>
            </a:r>
            <a:r>
              <a:rPr lang="en-AU" sz="1000" b="0" dirty="0">
                <a:latin typeface="Calibri" panose="020F0502020204030204"/>
                <a:cs typeface="Calibri Light"/>
              </a:rPr>
              <a:t>consistently</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creating a shared understanding and connection </a:t>
            </a:r>
            <a:r>
              <a:rPr lang="en-AU" sz="1000" b="0" dirty="0">
                <a:latin typeface="Calibri" panose="020F0502020204030204"/>
                <a:cs typeface="Calibri Light"/>
              </a:rPr>
              <a:t>of how everyone contributes to our vision, purpose and ambition</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recognising our people </a:t>
            </a:r>
            <a:r>
              <a:rPr lang="en-AU" sz="1000" b="0" dirty="0">
                <a:latin typeface="Calibri" panose="020F0502020204030204"/>
                <a:cs typeface="Calibri Light"/>
              </a:rPr>
              <a:t>and acknowledging their positive contribution across our cultural principles and workforce pillars </a:t>
            </a:r>
            <a:r>
              <a:rPr lang="en-AU" sz="1000" dirty="0">
                <a:latin typeface="Calibri" panose="020F0502020204030204"/>
                <a:cs typeface="Calibri Light"/>
              </a:rPr>
              <a:t> </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being proactive and showing initiative, focusing on continuous improvement </a:t>
            </a:r>
            <a:r>
              <a:rPr lang="en-AU" sz="1000" b="0" dirty="0">
                <a:latin typeface="Calibri" panose="020F0502020204030204"/>
                <a:cs typeface="Calibri Light"/>
              </a:rPr>
              <a:t>and action orientation</a:t>
            </a:r>
          </a:p>
          <a:p>
            <a:pPr marR="0" lvl="0" defTabSz="914400" rtl="0" eaLnBrk="1" fontAlgn="auto" latinLnBrk="0" hangingPunct="1">
              <a:lnSpc>
                <a:spcPct val="100000"/>
              </a:lnSpc>
              <a:spcBef>
                <a:spcPts val="300"/>
              </a:spcBef>
              <a:spcAft>
                <a:spcPts val="0"/>
              </a:spcAft>
              <a:buClrTx/>
              <a:buSzTx/>
              <a:tabLst/>
              <a:defRPr/>
            </a:pPr>
            <a:endParaRPr lang="en-AU" sz="1000" b="0" i="0" u="none" strike="noStrike" kern="1200" cap="none" spc="0" normalizeH="0" baseline="0" noProof="0" dirty="0">
              <a:ln>
                <a:noFill/>
              </a:ln>
              <a:solidFill>
                <a:schemeClr val="bg2">
                  <a:lumMod val="10000"/>
                </a:schemeClr>
              </a:solidFill>
              <a:effectLst/>
              <a:uLnTx/>
              <a:uFillTx/>
              <a:latin typeface="Calibri" panose="020F0502020204030204"/>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i="0" u="none" strike="noStrike" kern="1200" cap="none" spc="0" normalizeH="0" baseline="0" noProof="0" dirty="0">
              <a:ln>
                <a:noFill/>
              </a:ln>
              <a:effectLst/>
              <a:uLnTx/>
              <a:uFillTx/>
              <a:latin typeface="Calibri" panose="020F0502020204030204"/>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59481" y="281777"/>
            <a:ext cx="6992824" cy="1376364"/>
          </a:xfrm>
        </p:spPr>
        <p:txBody>
          <a:bodyPr>
            <a:noAutofit/>
          </a:bodyPr>
          <a:lstStyle/>
          <a:p>
            <a:r>
              <a:rPr lang="en-US" dirty="0" smtClean="0">
                <a:solidFill>
                  <a:srgbClr val="7F7F7F"/>
                </a:solidFill>
              </a:rPr>
              <a:t>Pillar: Performance</a:t>
            </a:r>
            <a:r>
              <a:rPr lang="en-US" dirty="0">
                <a:solidFill>
                  <a:schemeClr val="tx2"/>
                </a:solidFill>
              </a:rPr>
              <a:t> </a:t>
            </a:r>
            <a:endParaRPr lang="en-AU" dirty="0">
              <a:solidFill>
                <a:schemeClr val="tx2"/>
              </a:solidFill>
            </a:endParaRPr>
          </a:p>
        </p:txBody>
      </p:sp>
      <p:sp>
        <p:nvSpPr>
          <p:cNvPr id="75" name="TextBox 74">
            <a:extLst>
              <a:ext uri="{FF2B5EF4-FFF2-40B4-BE49-F238E27FC236}">
                <a16:creationId xmlns:a16="http://schemas.microsoft.com/office/drawing/2014/main" id="{65EA5DAB-8E06-4F0F-B96C-9CBBD2D9344B}"/>
              </a:ext>
            </a:extLst>
          </p:cNvPr>
          <p:cNvSpPr txBox="1"/>
          <p:nvPr/>
        </p:nvSpPr>
        <p:spPr>
          <a:xfrm>
            <a:off x="8919469" y="2063305"/>
            <a:ext cx="2579762" cy="1015663"/>
          </a:xfrm>
          <a:prstGeom prst="rect">
            <a:avLst/>
          </a:prstGeom>
          <a:noFill/>
        </p:spPr>
        <p:txBody>
          <a:bodyPr wrap="square" lIns="91440" tIns="45720" rIns="91440" bIns="45720" rtlCol="0" anchor="t">
            <a:spAutoFit/>
          </a:bodyPr>
          <a:lstStyle/>
          <a:p>
            <a:r>
              <a:rPr lang="en-AU" sz="1000" dirty="0"/>
              <a:t>“As a new starter, I understand my role and responsibilities and can see how my role align with and feed into to the overall purpose of the Commission.”</a:t>
            </a:r>
            <a:endParaRPr lang="en-AU" sz="1000" dirty="0">
              <a:cs typeface="Calibri"/>
            </a:endParaRPr>
          </a:p>
          <a:p>
            <a:endParaRPr lang="en-AU" sz="1000" dirty="0">
              <a:cs typeface="Calibri"/>
            </a:endParaRPr>
          </a:p>
          <a:p>
            <a:endParaRPr lang="en-AU" sz="1000" dirty="0">
              <a:cs typeface="Calibri"/>
            </a:endParaRPr>
          </a:p>
        </p:txBody>
      </p:sp>
      <p:sp>
        <p:nvSpPr>
          <p:cNvPr id="76" name="TextBox 75">
            <a:extLst>
              <a:ext uri="{FF2B5EF4-FFF2-40B4-BE49-F238E27FC236}">
                <a16:creationId xmlns:a16="http://schemas.microsoft.com/office/drawing/2014/main" id="{5BAB4E29-8B6B-4C1B-8766-2202885CCEE0}"/>
              </a:ext>
            </a:extLst>
          </p:cNvPr>
          <p:cNvSpPr txBox="1"/>
          <p:nvPr/>
        </p:nvSpPr>
        <p:spPr>
          <a:xfrm>
            <a:off x="8723339" y="3797321"/>
            <a:ext cx="2417456" cy="707886"/>
          </a:xfrm>
          <a:prstGeom prst="rect">
            <a:avLst/>
          </a:prstGeom>
          <a:noFill/>
        </p:spPr>
        <p:txBody>
          <a:bodyPr wrap="square" lIns="91440" tIns="45720" rIns="91440" bIns="45720" rtlCol="0" anchor="t">
            <a:spAutoFit/>
          </a:bodyPr>
          <a:lstStyle>
            <a:defPPr>
              <a:defRPr lang="en-US"/>
            </a:defPPr>
            <a:lvl1pPr>
              <a:defRPr sz="900"/>
            </a:lvl1pPr>
          </a:lstStyle>
          <a:p>
            <a:pPr algn="r"/>
            <a:r>
              <a:rPr lang="en-AU" sz="1000" dirty="0"/>
              <a:t>“As a leader I feel confident and empowered to manage performance within my team, including  courageous conversations.” </a:t>
            </a:r>
            <a:endParaRPr lang="en-AU" sz="1000" dirty="0">
              <a:cs typeface="Calibri"/>
            </a:endParaRPr>
          </a:p>
        </p:txBody>
      </p:sp>
      <p:sp>
        <p:nvSpPr>
          <p:cNvPr id="78" name="TextBox 77">
            <a:extLst>
              <a:ext uri="{FF2B5EF4-FFF2-40B4-BE49-F238E27FC236}">
                <a16:creationId xmlns:a16="http://schemas.microsoft.com/office/drawing/2014/main" id="{38B3C0D4-4C7F-46D7-90CC-222908B3AD56}"/>
              </a:ext>
            </a:extLst>
          </p:cNvPr>
          <p:cNvSpPr txBox="1"/>
          <p:nvPr/>
        </p:nvSpPr>
        <p:spPr>
          <a:xfrm>
            <a:off x="8783154" y="5304895"/>
            <a:ext cx="2922826" cy="861774"/>
          </a:xfrm>
          <a:prstGeom prst="rect">
            <a:avLst/>
          </a:prstGeom>
          <a:noFill/>
        </p:spPr>
        <p:txBody>
          <a:bodyPr wrap="square" lIns="91440" tIns="45720" rIns="91440" bIns="45720" rtlCol="0" anchor="t">
            <a:spAutoFit/>
          </a:bodyPr>
          <a:lstStyle>
            <a:defPPr>
              <a:defRPr lang="en-US"/>
            </a:defPPr>
            <a:lvl1pPr>
              <a:defRPr sz="900"/>
            </a:lvl1pPr>
          </a:lstStyle>
          <a:p>
            <a:r>
              <a:rPr lang="en-AU" sz="1000" dirty="0"/>
              <a:t>“I feel engaged with my performance at work, as my performance and positive behaviours are recognised by my leader and the wider leadership team including through the reward and recognition program.”</a:t>
            </a:r>
            <a:endParaRPr lang="en-AU" sz="1000" dirty="0">
              <a:cs typeface="Calibri"/>
            </a:endParaRPr>
          </a:p>
        </p:txBody>
      </p:sp>
      <p:pic>
        <p:nvPicPr>
          <p:cNvPr id="113" name="Picture 112">
            <a:extLst>
              <a:ext uri="{FF2B5EF4-FFF2-40B4-BE49-F238E27FC236}">
                <a16:creationId xmlns:a16="http://schemas.microsoft.com/office/drawing/2014/main" id="{DA1DBD27-8E33-4F29-8203-13EE84E5BF8F}"/>
              </a:ext>
            </a:extLst>
          </p:cNvPr>
          <p:cNvPicPr>
            <a:picLocks noChangeAspect="1"/>
          </p:cNvPicPr>
          <p:nvPr/>
        </p:nvPicPr>
        <p:blipFill>
          <a:blip r:embed="rId9"/>
          <a:stretch>
            <a:fillRect/>
          </a:stretch>
        </p:blipFill>
        <p:spPr>
          <a:xfrm>
            <a:off x="486021" y="456449"/>
            <a:ext cx="1037980" cy="867928"/>
          </a:xfrm>
          <a:prstGeom prst="rect">
            <a:avLst/>
          </a:prstGeom>
        </p:spPr>
      </p:pic>
      <p:pic>
        <p:nvPicPr>
          <p:cNvPr id="39" name="Graphic 40" descr="decorative">
            <a:extLst>
              <a:ext uri="{FF2B5EF4-FFF2-40B4-BE49-F238E27FC236}">
                <a16:creationId xmlns:a16="http://schemas.microsoft.com/office/drawing/2014/main" id="{531A11B5-1C2F-48EC-981E-2B2265CCECF7}"/>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8638833" y="4629582"/>
            <a:ext cx="698470" cy="711774"/>
          </a:xfrm>
          <a:prstGeom prst="rect">
            <a:avLst/>
          </a:prstGeom>
        </p:spPr>
      </p:pic>
      <p:pic>
        <p:nvPicPr>
          <p:cNvPr id="44" name="Graphic 11" descr="decorative">
            <a:extLst>
              <a:ext uri="{FF2B5EF4-FFF2-40B4-BE49-F238E27FC236}">
                <a16:creationId xmlns:a16="http://schemas.microsoft.com/office/drawing/2014/main" id="{17647FC2-6CEB-4CA7-9939-0CB161DD9EE1}"/>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11070092" y="4181449"/>
            <a:ext cx="635888" cy="803390"/>
          </a:xfrm>
          <a:prstGeom prst="rect">
            <a:avLst/>
          </a:prstGeom>
        </p:spPr>
      </p:pic>
      <p:pic>
        <p:nvPicPr>
          <p:cNvPr id="45" name="Graphic 4" descr="decorative">
            <a:extLst>
              <a:ext uri="{FF2B5EF4-FFF2-40B4-BE49-F238E27FC236}">
                <a16:creationId xmlns:a16="http://schemas.microsoft.com/office/drawing/2014/main" id="{902DAC13-C0FC-476B-9505-57E91988B290}"/>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8988068" y="2905092"/>
            <a:ext cx="708749" cy="735749"/>
          </a:xfrm>
          <a:prstGeom prst="rect">
            <a:avLst/>
          </a:prstGeom>
        </p:spPr>
      </p:pic>
      <p:sp>
        <p:nvSpPr>
          <p:cNvPr id="49" name="Rectangle 48">
            <a:extLst>
              <a:ext uri="{FF2B5EF4-FFF2-40B4-BE49-F238E27FC236}">
                <a16:creationId xmlns:a16="http://schemas.microsoft.com/office/drawing/2014/main" id="{6F46628A-61DD-4249-B2DA-3F8EEC7CB539}"/>
              </a:ext>
            </a:extLst>
          </p:cNvPr>
          <p:cNvSpPr/>
          <p:nvPr/>
        </p:nvSpPr>
        <p:spPr>
          <a:xfrm>
            <a:off x="5424506" y="1849192"/>
            <a:ext cx="585574" cy="3717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25" name="Google Shape;1204;g12f6fb1d8b0_2_1111">
            <a:extLst>
              <a:ext uri="{FF2B5EF4-FFF2-40B4-BE49-F238E27FC236}">
                <a16:creationId xmlns:a16="http://schemas.microsoft.com/office/drawing/2014/main" id="{F5C380C4-BB75-44F7-BDE3-BABA9334AC4A}"/>
              </a:ext>
            </a:extLst>
          </p:cNvPr>
          <p:cNvGrpSpPr/>
          <p:nvPr/>
        </p:nvGrpSpPr>
        <p:grpSpPr>
          <a:xfrm>
            <a:off x="5494602" y="3706565"/>
            <a:ext cx="458309" cy="416958"/>
            <a:chOff x="7468136" y="5322517"/>
            <a:chExt cx="457199" cy="457200"/>
          </a:xfrm>
          <a:solidFill>
            <a:schemeClr val="tx1">
              <a:lumMod val="50000"/>
              <a:lumOff val="50000"/>
            </a:schemeClr>
          </a:solidFill>
        </p:grpSpPr>
        <p:sp>
          <p:nvSpPr>
            <p:cNvPr id="29" name="Google Shape;1205;g12f6fb1d8b0_2_1111">
              <a:extLst>
                <a:ext uri="{FF2B5EF4-FFF2-40B4-BE49-F238E27FC236}">
                  <a16:creationId xmlns:a16="http://schemas.microsoft.com/office/drawing/2014/main" id="{B87616CA-B1A4-4F2C-898D-9E0179FD7B6C}"/>
                </a:ext>
              </a:extLst>
            </p:cNvPr>
            <p:cNvSpPr/>
            <p:nvPr/>
          </p:nvSpPr>
          <p:spPr>
            <a:xfrm>
              <a:off x="7657652" y="5511207"/>
              <a:ext cx="2063" cy="98043"/>
            </a:xfrm>
            <a:custGeom>
              <a:avLst/>
              <a:gdLst/>
              <a:ahLst/>
              <a:cxnLst/>
              <a:rect l="l" t="t" r="r" b="b"/>
              <a:pathLst>
                <a:path w="2063" h="98043" extrusionOk="0">
                  <a:moveTo>
                    <a:pt x="2064" y="0"/>
                  </a:moveTo>
                  <a:lnTo>
                    <a:pt x="0" y="413"/>
                  </a:lnTo>
                  <a:lnTo>
                    <a:pt x="0" y="98044"/>
                  </a:lnTo>
                  <a:lnTo>
                    <a:pt x="0" y="98044"/>
                  </a:lnTo>
                  <a:lnTo>
                    <a:pt x="0" y="413"/>
                  </a:lnTo>
                  <a:lnTo>
                    <a:pt x="2064" y="0"/>
                  </a:lnTo>
                  <a:lnTo>
                    <a:pt x="2064" y="0"/>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0" name="Google Shape;1206;g12f6fb1d8b0_2_1111">
              <a:extLst>
                <a:ext uri="{FF2B5EF4-FFF2-40B4-BE49-F238E27FC236}">
                  <a16:creationId xmlns:a16="http://schemas.microsoft.com/office/drawing/2014/main" id="{9330C42E-014F-43B1-A860-D9D621DD9BCE}"/>
                </a:ext>
              </a:extLst>
            </p:cNvPr>
            <p:cNvSpPr/>
            <p:nvPr/>
          </p:nvSpPr>
          <p:spPr>
            <a:xfrm>
              <a:off x="7582563" y="5510942"/>
              <a:ext cx="12096" cy="154474"/>
            </a:xfrm>
            <a:custGeom>
              <a:avLst/>
              <a:gdLst/>
              <a:ahLst/>
              <a:cxnLst/>
              <a:rect l="l" t="t" r="r" b="b"/>
              <a:pathLst>
                <a:path w="12096" h="154474" extrusionOk="0">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1" name="Google Shape;1207;g12f6fb1d8b0_2_1111">
              <a:extLst>
                <a:ext uri="{FF2B5EF4-FFF2-40B4-BE49-F238E27FC236}">
                  <a16:creationId xmlns:a16="http://schemas.microsoft.com/office/drawing/2014/main" id="{4EBCC75D-0DAE-4B4F-B1D8-A05AD75E8FFE}"/>
                </a:ext>
              </a:extLst>
            </p:cNvPr>
            <p:cNvSpPr/>
            <p:nvPr/>
          </p:nvSpPr>
          <p:spPr>
            <a:xfrm>
              <a:off x="7522887" y="5628682"/>
              <a:ext cx="69644" cy="131667"/>
            </a:xfrm>
            <a:custGeom>
              <a:avLst/>
              <a:gdLst/>
              <a:ahLst/>
              <a:cxnLst/>
              <a:rect l="l" t="t" r="r" b="b"/>
              <a:pathLst>
                <a:path w="69644" h="131667" extrusionOk="0">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2" name="Google Shape;1208;g12f6fb1d8b0_2_1111">
              <a:extLst>
                <a:ext uri="{FF2B5EF4-FFF2-40B4-BE49-F238E27FC236}">
                  <a16:creationId xmlns:a16="http://schemas.microsoft.com/office/drawing/2014/main" id="{350B8717-5823-42A6-A952-5082D6D28F33}"/>
                </a:ext>
              </a:extLst>
            </p:cNvPr>
            <p:cNvSpPr/>
            <p:nvPr/>
          </p:nvSpPr>
          <p:spPr>
            <a:xfrm>
              <a:off x="7618377" y="5485648"/>
              <a:ext cx="9969" cy="36036"/>
            </a:xfrm>
            <a:custGeom>
              <a:avLst/>
              <a:gdLst/>
              <a:ahLst/>
              <a:cxnLst/>
              <a:rect l="l" t="t" r="r" b="b"/>
              <a:pathLst>
                <a:path w="9969" h="36036" extrusionOk="0">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3" name="Google Shape;1209;g12f6fb1d8b0_2_1111">
              <a:extLst>
                <a:ext uri="{FF2B5EF4-FFF2-40B4-BE49-F238E27FC236}">
                  <a16:creationId xmlns:a16="http://schemas.microsoft.com/office/drawing/2014/main" id="{1009CCE2-7826-4DED-81F8-E971F7CF6C1E}"/>
                </a:ext>
              </a:extLst>
            </p:cNvPr>
            <p:cNvSpPr/>
            <p:nvPr/>
          </p:nvSpPr>
          <p:spPr>
            <a:xfrm>
              <a:off x="7596692" y="5510985"/>
              <a:ext cx="2031" cy="98266"/>
            </a:xfrm>
            <a:custGeom>
              <a:avLst/>
              <a:gdLst/>
              <a:ahLst/>
              <a:cxnLst/>
              <a:rect l="l" t="t" r="r" b="b"/>
              <a:pathLst>
                <a:path w="2031" h="98266" extrusionOk="0">
                  <a:moveTo>
                    <a:pt x="0" y="0"/>
                  </a:moveTo>
                  <a:lnTo>
                    <a:pt x="2032" y="0"/>
                  </a:lnTo>
                  <a:lnTo>
                    <a:pt x="2032" y="98266"/>
                  </a:lnTo>
                  <a:lnTo>
                    <a:pt x="2032" y="98266"/>
                  </a:lnTo>
                  <a:lnTo>
                    <a:pt x="2032" y="32"/>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4" name="Google Shape;1210;g12f6fb1d8b0_2_1111">
              <a:extLst>
                <a:ext uri="{FF2B5EF4-FFF2-40B4-BE49-F238E27FC236}">
                  <a16:creationId xmlns:a16="http://schemas.microsoft.com/office/drawing/2014/main" id="{6A5E4FFF-A67C-49C7-8946-8EBC88089ECD}"/>
                </a:ext>
              </a:extLst>
            </p:cNvPr>
            <p:cNvSpPr/>
            <p:nvPr/>
          </p:nvSpPr>
          <p:spPr>
            <a:xfrm>
              <a:off x="7540494" y="5628682"/>
              <a:ext cx="42068" cy="36734"/>
            </a:xfrm>
            <a:custGeom>
              <a:avLst/>
              <a:gdLst/>
              <a:ahLst/>
              <a:cxnLst/>
              <a:rect l="l" t="t" r="r" b="b"/>
              <a:pathLst>
                <a:path w="42068" h="36734" extrusionOk="0">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5" name="Google Shape;1211;g12f6fb1d8b0_2_1111">
              <a:extLst>
                <a:ext uri="{FF2B5EF4-FFF2-40B4-BE49-F238E27FC236}">
                  <a16:creationId xmlns:a16="http://schemas.microsoft.com/office/drawing/2014/main" id="{4E97170B-1A31-42BA-BF54-D24B0374A0AE}"/>
                </a:ext>
              </a:extLst>
            </p:cNvPr>
            <p:cNvSpPr/>
            <p:nvPr/>
          </p:nvSpPr>
          <p:spPr>
            <a:xfrm>
              <a:off x="7660668" y="5511270"/>
              <a:ext cx="13430" cy="97980"/>
            </a:xfrm>
            <a:custGeom>
              <a:avLst/>
              <a:gdLst/>
              <a:ahLst/>
              <a:cxnLst/>
              <a:rect l="l" t="t" r="r" b="b"/>
              <a:pathLst>
                <a:path w="13430" h="97980" extrusionOk="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6" name="Google Shape;1212;g12f6fb1d8b0_2_1111">
              <a:extLst>
                <a:ext uri="{FF2B5EF4-FFF2-40B4-BE49-F238E27FC236}">
                  <a16:creationId xmlns:a16="http://schemas.microsoft.com/office/drawing/2014/main" id="{0CB8EBDE-9DD2-48B9-95C7-0D74EA6FBC0C}"/>
                </a:ext>
              </a:extLst>
            </p:cNvPr>
            <p:cNvSpPr/>
            <p:nvPr/>
          </p:nvSpPr>
          <p:spPr>
            <a:xfrm>
              <a:off x="7618345" y="5521684"/>
              <a:ext cx="31" cy="3175"/>
            </a:xfrm>
            <a:custGeom>
              <a:avLst/>
              <a:gdLst/>
              <a:ahLst/>
              <a:cxnLst/>
              <a:rect l="l" t="t" r="r" b="b"/>
              <a:pathLst>
                <a:path w="31" h="3175" extrusionOk="0">
                  <a:moveTo>
                    <a:pt x="0" y="0"/>
                  </a:moveTo>
                  <a:lnTo>
                    <a:pt x="32" y="0"/>
                  </a:lnTo>
                  <a:lnTo>
                    <a:pt x="32" y="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7" name="Google Shape;1213;g12f6fb1d8b0_2_1111">
              <a:extLst>
                <a:ext uri="{FF2B5EF4-FFF2-40B4-BE49-F238E27FC236}">
                  <a16:creationId xmlns:a16="http://schemas.microsoft.com/office/drawing/2014/main" id="{FB45C4DE-1407-4575-8A7A-4A1303E733D6}"/>
                </a:ext>
              </a:extLst>
            </p:cNvPr>
            <p:cNvSpPr/>
            <p:nvPr/>
          </p:nvSpPr>
          <p:spPr>
            <a:xfrm>
              <a:off x="7628346" y="5485648"/>
              <a:ext cx="9937" cy="15906"/>
            </a:xfrm>
            <a:custGeom>
              <a:avLst/>
              <a:gdLst/>
              <a:ahLst/>
              <a:cxnLst/>
              <a:rect l="l" t="t" r="r" b="b"/>
              <a:pathLst>
                <a:path w="9937" h="15906" extrusionOk="0">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8" name="Google Shape;1214;g12f6fb1d8b0_2_1111">
              <a:extLst>
                <a:ext uri="{FF2B5EF4-FFF2-40B4-BE49-F238E27FC236}">
                  <a16:creationId xmlns:a16="http://schemas.microsoft.com/office/drawing/2014/main" id="{68EFE337-ABC6-4336-9BB5-4EBD00737448}"/>
                </a:ext>
              </a:extLst>
            </p:cNvPr>
            <p:cNvSpPr/>
            <p:nvPr/>
          </p:nvSpPr>
          <p:spPr>
            <a:xfrm>
              <a:off x="7501273" y="5361128"/>
              <a:ext cx="383845" cy="399093"/>
            </a:xfrm>
            <a:custGeom>
              <a:avLst/>
              <a:gdLst/>
              <a:ahLst/>
              <a:cxnLst/>
              <a:rect l="l" t="t" r="r" b="b"/>
              <a:pathLst>
                <a:path w="383845" h="399093" extrusionOk="0">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41" name="Google Shape;1215;g12f6fb1d8b0_2_1111">
              <a:extLst>
                <a:ext uri="{FF2B5EF4-FFF2-40B4-BE49-F238E27FC236}">
                  <a16:creationId xmlns:a16="http://schemas.microsoft.com/office/drawing/2014/main" id="{68975BE8-DE6E-48F5-BB9E-9A1A910352FA}"/>
                </a:ext>
              </a:extLst>
            </p:cNvPr>
            <p:cNvSpPr/>
            <p:nvPr/>
          </p:nvSpPr>
          <p:spPr>
            <a:xfrm>
              <a:off x="7468136" y="5322517"/>
              <a:ext cx="457199" cy="457200"/>
            </a:xfrm>
            <a:custGeom>
              <a:avLst/>
              <a:gdLst/>
              <a:ahLst/>
              <a:cxnLst/>
              <a:rect l="l" t="t" r="r" b="b"/>
              <a:pathLst>
                <a:path w="457199" h="457200" extrusionOk="0">
                  <a:moveTo>
                    <a:pt x="0" y="0"/>
                  </a:moveTo>
                  <a:lnTo>
                    <a:pt x="0" y="457200"/>
                  </a:lnTo>
                  <a:lnTo>
                    <a:pt x="124524" y="457200"/>
                  </a:lnTo>
                  <a:lnTo>
                    <a:pt x="124524" y="437706"/>
                  </a:lnTo>
                  <a:lnTo>
                    <a:pt x="19463" y="437706"/>
                  </a:lnTo>
                  <a:lnTo>
                    <a:pt x="19463" y="19495"/>
                  </a:lnTo>
                  <a:lnTo>
                    <a:pt x="437706" y="19495"/>
                  </a:lnTo>
                  <a:lnTo>
                    <a:pt x="437706" y="437706"/>
                  </a:lnTo>
                  <a:lnTo>
                    <a:pt x="225616" y="437706"/>
                  </a:lnTo>
                  <a:lnTo>
                    <a:pt x="225616" y="396875"/>
                  </a:lnTo>
                  <a:lnTo>
                    <a:pt x="242443" y="373348"/>
                  </a:lnTo>
                  <a:lnTo>
                    <a:pt x="242443" y="224123"/>
                  </a:lnTo>
                  <a:cubicBezTo>
                    <a:pt x="241808" y="220663"/>
                    <a:pt x="233426" y="217773"/>
                    <a:pt x="227902" y="216884"/>
                  </a:cubicBezTo>
                  <a:lnTo>
                    <a:pt x="225457" y="216535"/>
                  </a:lnTo>
                  <a:lnTo>
                    <a:pt x="225457" y="216535"/>
                  </a:lnTo>
                  <a:lnTo>
                    <a:pt x="227902" y="216884"/>
                  </a:lnTo>
                  <a:cubicBezTo>
                    <a:pt x="233426" y="217646"/>
                    <a:pt x="241808" y="220663"/>
                    <a:pt x="242443" y="224123"/>
                  </a:cubicBezTo>
                  <a:lnTo>
                    <a:pt x="242443" y="373348"/>
                  </a:lnTo>
                  <a:lnTo>
                    <a:pt x="225616" y="396875"/>
                  </a:lnTo>
                  <a:lnTo>
                    <a:pt x="225616" y="457200"/>
                  </a:lnTo>
                  <a:lnTo>
                    <a:pt x="457200" y="457200"/>
                  </a:lnTo>
                  <a:lnTo>
                    <a:pt x="457200" y="0"/>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43" name="Google Shape;1216;g12f6fb1d8b0_2_1111">
              <a:extLst>
                <a:ext uri="{FF2B5EF4-FFF2-40B4-BE49-F238E27FC236}">
                  <a16:creationId xmlns:a16="http://schemas.microsoft.com/office/drawing/2014/main" id="{7A3858B7-4975-4E9D-8431-D347C48131AA}"/>
                </a:ext>
              </a:extLst>
            </p:cNvPr>
            <p:cNvSpPr/>
            <p:nvPr/>
          </p:nvSpPr>
          <p:spPr>
            <a:xfrm>
              <a:off x="7507855" y="5461677"/>
              <a:ext cx="56102" cy="19050"/>
            </a:xfrm>
            <a:custGeom>
              <a:avLst/>
              <a:gdLst/>
              <a:ahLst/>
              <a:cxnLst/>
              <a:rect l="l" t="t" r="r" b="b"/>
              <a:pathLst>
                <a:path w="56102" h="19050" extrusionOk="0">
                  <a:moveTo>
                    <a:pt x="0" y="0"/>
                  </a:moveTo>
                  <a:lnTo>
                    <a:pt x="56102" y="0"/>
                  </a:lnTo>
                  <a:lnTo>
                    <a:pt x="56102" y="19050"/>
                  </a:lnTo>
                  <a:lnTo>
                    <a:pt x="0" y="19050"/>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46" name="Google Shape;1217;g12f6fb1d8b0_2_1111">
              <a:extLst>
                <a:ext uri="{FF2B5EF4-FFF2-40B4-BE49-F238E27FC236}">
                  <a16:creationId xmlns:a16="http://schemas.microsoft.com/office/drawing/2014/main" id="{AB794140-0C1B-4C73-9E84-7A2A41A7277C}"/>
                </a:ext>
              </a:extLst>
            </p:cNvPr>
            <p:cNvSpPr/>
            <p:nvPr/>
          </p:nvSpPr>
          <p:spPr>
            <a:xfrm rot="-2912686">
              <a:off x="7548610" y="5384319"/>
              <a:ext cx="19063" cy="55125"/>
            </a:xfrm>
            <a:custGeom>
              <a:avLst/>
              <a:gdLst/>
              <a:ahLst/>
              <a:cxnLst/>
              <a:rect l="l" t="t" r="r" b="b"/>
              <a:pathLst>
                <a:path w="19050" h="55086" extrusionOk="0">
                  <a:moveTo>
                    <a:pt x="0" y="0"/>
                  </a:moveTo>
                  <a:lnTo>
                    <a:pt x="19050" y="0"/>
                  </a:lnTo>
                  <a:lnTo>
                    <a:pt x="19050" y="55086"/>
                  </a:lnTo>
                  <a:lnTo>
                    <a:pt x="0" y="55086"/>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47" name="Google Shape;1218;g12f6fb1d8b0_2_1111">
              <a:extLst>
                <a:ext uri="{FF2B5EF4-FFF2-40B4-BE49-F238E27FC236}">
                  <a16:creationId xmlns:a16="http://schemas.microsoft.com/office/drawing/2014/main" id="{0586E707-607E-43D1-9589-9B4CFE1BD6D0}"/>
                </a:ext>
              </a:extLst>
            </p:cNvPr>
            <p:cNvSpPr/>
            <p:nvPr/>
          </p:nvSpPr>
          <p:spPr>
            <a:xfrm>
              <a:off x="7606979" y="5359124"/>
              <a:ext cx="19050" cy="58578"/>
            </a:xfrm>
            <a:custGeom>
              <a:avLst/>
              <a:gdLst/>
              <a:ahLst/>
              <a:cxnLst/>
              <a:rect l="l" t="t" r="r" b="b"/>
              <a:pathLst>
                <a:path w="19050" h="58578" extrusionOk="0">
                  <a:moveTo>
                    <a:pt x="0" y="0"/>
                  </a:moveTo>
                  <a:lnTo>
                    <a:pt x="19050" y="0"/>
                  </a:lnTo>
                  <a:lnTo>
                    <a:pt x="19050" y="58579"/>
                  </a:lnTo>
                  <a:lnTo>
                    <a:pt x="0" y="58579"/>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grpSp>
      <p:sp>
        <p:nvSpPr>
          <p:cNvPr id="50" name="Google Shape;1203;g12f6fb1d8b0_2_1111">
            <a:extLst>
              <a:ext uri="{FF2B5EF4-FFF2-40B4-BE49-F238E27FC236}">
                <a16:creationId xmlns:a16="http://schemas.microsoft.com/office/drawing/2014/main" id="{549134DD-24EE-4DC3-BC34-ABC20FA7AA7D}"/>
              </a:ext>
            </a:extLst>
          </p:cNvPr>
          <p:cNvSpPr/>
          <p:nvPr/>
        </p:nvSpPr>
        <p:spPr>
          <a:xfrm>
            <a:off x="5500579" y="1954511"/>
            <a:ext cx="458334" cy="416957"/>
          </a:xfrm>
          <a:custGeom>
            <a:avLst/>
            <a:gdLst/>
            <a:ahLst/>
            <a:cxnLst/>
            <a:rect l="l" t="t" r="r" b="b"/>
            <a:pathLst>
              <a:path w="576" h="576" extrusionOk="0">
                <a:moveTo>
                  <a:pt x="0" y="0"/>
                </a:moveTo>
                <a:cubicBezTo>
                  <a:pt x="0" y="576"/>
                  <a:pt x="0" y="576"/>
                  <a:pt x="0" y="576"/>
                </a:cubicBezTo>
                <a:cubicBezTo>
                  <a:pt x="179" y="576"/>
                  <a:pt x="179" y="576"/>
                  <a:pt x="179" y="576"/>
                </a:cubicBezTo>
                <a:cubicBezTo>
                  <a:pt x="179" y="411"/>
                  <a:pt x="179" y="411"/>
                  <a:pt x="179" y="411"/>
                </a:cubicBezTo>
                <a:cubicBezTo>
                  <a:pt x="174" y="407"/>
                  <a:pt x="174" y="407"/>
                  <a:pt x="174" y="407"/>
                </a:cubicBezTo>
                <a:cubicBezTo>
                  <a:pt x="130" y="375"/>
                  <a:pt x="104" y="324"/>
                  <a:pt x="104" y="270"/>
                </a:cubicBezTo>
                <a:cubicBezTo>
                  <a:pt x="104" y="191"/>
                  <a:pt x="166" y="120"/>
                  <a:pt x="248" y="104"/>
                </a:cubicBezTo>
                <a:cubicBezTo>
                  <a:pt x="248" y="104"/>
                  <a:pt x="263" y="100"/>
                  <a:pt x="285" y="100"/>
                </a:cubicBezTo>
                <a:cubicBezTo>
                  <a:pt x="311" y="100"/>
                  <a:pt x="329" y="105"/>
                  <a:pt x="329" y="105"/>
                </a:cubicBezTo>
                <a:cubicBezTo>
                  <a:pt x="420" y="126"/>
                  <a:pt x="448" y="216"/>
                  <a:pt x="478" y="311"/>
                </a:cubicBezTo>
                <a:cubicBezTo>
                  <a:pt x="481" y="320"/>
                  <a:pt x="484" y="329"/>
                  <a:pt x="486" y="337"/>
                </a:cubicBezTo>
                <a:cubicBezTo>
                  <a:pt x="435" y="337"/>
                  <a:pt x="435" y="337"/>
                  <a:pt x="435" y="337"/>
                </a:cubicBezTo>
                <a:cubicBezTo>
                  <a:pt x="435" y="406"/>
                  <a:pt x="435" y="406"/>
                  <a:pt x="435" y="406"/>
                </a:cubicBezTo>
                <a:cubicBezTo>
                  <a:pt x="435" y="430"/>
                  <a:pt x="415" y="450"/>
                  <a:pt x="391" y="450"/>
                </a:cubicBezTo>
                <a:cubicBezTo>
                  <a:pt x="341" y="450"/>
                  <a:pt x="341" y="450"/>
                  <a:pt x="341" y="450"/>
                </a:cubicBezTo>
                <a:cubicBezTo>
                  <a:pt x="341" y="576"/>
                  <a:pt x="341" y="576"/>
                  <a:pt x="341" y="576"/>
                </a:cubicBezTo>
                <a:cubicBezTo>
                  <a:pt x="576" y="576"/>
                  <a:pt x="576" y="576"/>
                  <a:pt x="576" y="576"/>
                </a:cubicBezTo>
                <a:cubicBezTo>
                  <a:pt x="576" y="0"/>
                  <a:pt x="576" y="0"/>
                  <a:pt x="576" y="0"/>
                </a:cubicBezTo>
                <a:lnTo>
                  <a:pt x="0" y="0"/>
                </a:lnTo>
                <a:close/>
                <a:moveTo>
                  <a:pt x="551" y="551"/>
                </a:moveTo>
                <a:cubicBezTo>
                  <a:pt x="366" y="551"/>
                  <a:pt x="366" y="551"/>
                  <a:pt x="366" y="551"/>
                </a:cubicBezTo>
                <a:cubicBezTo>
                  <a:pt x="366" y="474"/>
                  <a:pt x="366" y="474"/>
                  <a:pt x="366" y="474"/>
                </a:cubicBezTo>
                <a:cubicBezTo>
                  <a:pt x="391" y="474"/>
                  <a:pt x="391" y="474"/>
                  <a:pt x="391" y="474"/>
                </a:cubicBezTo>
                <a:cubicBezTo>
                  <a:pt x="429" y="474"/>
                  <a:pt x="460" y="444"/>
                  <a:pt x="460" y="406"/>
                </a:cubicBezTo>
                <a:cubicBezTo>
                  <a:pt x="460" y="362"/>
                  <a:pt x="460" y="362"/>
                  <a:pt x="460" y="362"/>
                </a:cubicBezTo>
                <a:cubicBezTo>
                  <a:pt x="490" y="362"/>
                  <a:pt x="490" y="362"/>
                  <a:pt x="490" y="362"/>
                </a:cubicBezTo>
                <a:cubicBezTo>
                  <a:pt x="497" y="362"/>
                  <a:pt x="504" y="359"/>
                  <a:pt x="508" y="353"/>
                </a:cubicBezTo>
                <a:cubicBezTo>
                  <a:pt x="512" y="348"/>
                  <a:pt x="513" y="340"/>
                  <a:pt x="511" y="334"/>
                </a:cubicBezTo>
                <a:cubicBezTo>
                  <a:pt x="508" y="324"/>
                  <a:pt x="505" y="314"/>
                  <a:pt x="502" y="304"/>
                </a:cubicBezTo>
                <a:cubicBezTo>
                  <a:pt x="470" y="204"/>
                  <a:pt x="438" y="102"/>
                  <a:pt x="329" y="80"/>
                </a:cubicBezTo>
                <a:cubicBezTo>
                  <a:pt x="329" y="80"/>
                  <a:pt x="310" y="75"/>
                  <a:pt x="290" y="75"/>
                </a:cubicBezTo>
                <a:cubicBezTo>
                  <a:pt x="269" y="75"/>
                  <a:pt x="248" y="79"/>
                  <a:pt x="248" y="79"/>
                </a:cubicBezTo>
                <a:cubicBezTo>
                  <a:pt x="153" y="96"/>
                  <a:pt x="80" y="178"/>
                  <a:pt x="80" y="270"/>
                </a:cubicBezTo>
                <a:cubicBezTo>
                  <a:pt x="80" y="330"/>
                  <a:pt x="107" y="387"/>
                  <a:pt x="154" y="423"/>
                </a:cubicBezTo>
                <a:cubicBezTo>
                  <a:pt x="154" y="551"/>
                  <a:pt x="154" y="551"/>
                  <a:pt x="154" y="551"/>
                </a:cubicBezTo>
                <a:cubicBezTo>
                  <a:pt x="25" y="551"/>
                  <a:pt x="25" y="551"/>
                  <a:pt x="25" y="551"/>
                </a:cubicBezTo>
                <a:cubicBezTo>
                  <a:pt x="25" y="24"/>
                  <a:pt x="25" y="24"/>
                  <a:pt x="25" y="24"/>
                </a:cubicBezTo>
                <a:cubicBezTo>
                  <a:pt x="551" y="24"/>
                  <a:pt x="551" y="24"/>
                  <a:pt x="551" y="24"/>
                </a:cubicBezTo>
                <a:lnTo>
                  <a:pt x="551" y="551"/>
                </a:lnTo>
                <a:close/>
                <a:moveTo>
                  <a:pt x="255" y="243"/>
                </a:moveTo>
                <a:cubicBezTo>
                  <a:pt x="270" y="234"/>
                  <a:pt x="270" y="234"/>
                  <a:pt x="270" y="234"/>
                </a:cubicBezTo>
                <a:cubicBezTo>
                  <a:pt x="258" y="213"/>
                  <a:pt x="258" y="213"/>
                  <a:pt x="258" y="213"/>
                </a:cubicBezTo>
                <a:cubicBezTo>
                  <a:pt x="243" y="222"/>
                  <a:pt x="243" y="222"/>
                  <a:pt x="243" y="222"/>
                </a:cubicBezTo>
                <a:cubicBezTo>
                  <a:pt x="242" y="221"/>
                  <a:pt x="241" y="219"/>
                  <a:pt x="239" y="218"/>
                </a:cubicBezTo>
                <a:cubicBezTo>
                  <a:pt x="248" y="204"/>
                  <a:pt x="248" y="204"/>
                  <a:pt x="248" y="204"/>
                </a:cubicBezTo>
                <a:cubicBezTo>
                  <a:pt x="227" y="191"/>
                  <a:pt x="227" y="191"/>
                  <a:pt x="227" y="191"/>
                </a:cubicBezTo>
                <a:cubicBezTo>
                  <a:pt x="218" y="206"/>
                  <a:pt x="218" y="206"/>
                  <a:pt x="218" y="206"/>
                </a:cubicBezTo>
                <a:cubicBezTo>
                  <a:pt x="216" y="205"/>
                  <a:pt x="214" y="204"/>
                  <a:pt x="212" y="204"/>
                </a:cubicBezTo>
                <a:cubicBezTo>
                  <a:pt x="212" y="187"/>
                  <a:pt x="212" y="187"/>
                  <a:pt x="212" y="187"/>
                </a:cubicBezTo>
                <a:cubicBezTo>
                  <a:pt x="188" y="187"/>
                  <a:pt x="188" y="187"/>
                  <a:pt x="188" y="187"/>
                </a:cubicBezTo>
                <a:cubicBezTo>
                  <a:pt x="188" y="204"/>
                  <a:pt x="188" y="204"/>
                  <a:pt x="188" y="204"/>
                </a:cubicBezTo>
                <a:cubicBezTo>
                  <a:pt x="185" y="204"/>
                  <a:pt x="183" y="205"/>
                  <a:pt x="180" y="206"/>
                </a:cubicBezTo>
                <a:cubicBezTo>
                  <a:pt x="171" y="192"/>
                  <a:pt x="171" y="192"/>
                  <a:pt x="171" y="192"/>
                </a:cubicBezTo>
                <a:cubicBezTo>
                  <a:pt x="150" y="205"/>
                  <a:pt x="150" y="205"/>
                  <a:pt x="150" y="205"/>
                </a:cubicBezTo>
                <a:cubicBezTo>
                  <a:pt x="159" y="219"/>
                  <a:pt x="159" y="219"/>
                  <a:pt x="159" y="219"/>
                </a:cubicBezTo>
                <a:cubicBezTo>
                  <a:pt x="159" y="220"/>
                  <a:pt x="158" y="221"/>
                  <a:pt x="158" y="221"/>
                </a:cubicBezTo>
                <a:cubicBezTo>
                  <a:pt x="143" y="212"/>
                  <a:pt x="143" y="212"/>
                  <a:pt x="143" y="212"/>
                </a:cubicBezTo>
                <a:cubicBezTo>
                  <a:pt x="130" y="234"/>
                  <a:pt x="130" y="234"/>
                  <a:pt x="130" y="234"/>
                </a:cubicBezTo>
                <a:cubicBezTo>
                  <a:pt x="145" y="242"/>
                  <a:pt x="145" y="242"/>
                  <a:pt x="145" y="242"/>
                </a:cubicBezTo>
                <a:cubicBezTo>
                  <a:pt x="145" y="244"/>
                  <a:pt x="144" y="246"/>
                  <a:pt x="144" y="248"/>
                </a:cubicBezTo>
                <a:cubicBezTo>
                  <a:pt x="127" y="248"/>
                  <a:pt x="127" y="248"/>
                  <a:pt x="127" y="248"/>
                </a:cubicBezTo>
                <a:cubicBezTo>
                  <a:pt x="127" y="272"/>
                  <a:pt x="127" y="272"/>
                  <a:pt x="127" y="272"/>
                </a:cubicBezTo>
                <a:cubicBezTo>
                  <a:pt x="144" y="272"/>
                  <a:pt x="144" y="272"/>
                  <a:pt x="144" y="272"/>
                </a:cubicBezTo>
                <a:cubicBezTo>
                  <a:pt x="144" y="274"/>
                  <a:pt x="145" y="275"/>
                  <a:pt x="145" y="277"/>
                </a:cubicBezTo>
                <a:cubicBezTo>
                  <a:pt x="130" y="285"/>
                  <a:pt x="130" y="285"/>
                  <a:pt x="130" y="285"/>
                </a:cubicBezTo>
                <a:cubicBezTo>
                  <a:pt x="142" y="307"/>
                  <a:pt x="142" y="307"/>
                  <a:pt x="142" y="307"/>
                </a:cubicBezTo>
                <a:cubicBezTo>
                  <a:pt x="157" y="298"/>
                  <a:pt x="157" y="298"/>
                  <a:pt x="157" y="298"/>
                </a:cubicBezTo>
                <a:cubicBezTo>
                  <a:pt x="158" y="299"/>
                  <a:pt x="159" y="300"/>
                  <a:pt x="160" y="301"/>
                </a:cubicBezTo>
                <a:cubicBezTo>
                  <a:pt x="151" y="316"/>
                  <a:pt x="151" y="316"/>
                  <a:pt x="151" y="316"/>
                </a:cubicBezTo>
                <a:cubicBezTo>
                  <a:pt x="172" y="329"/>
                  <a:pt x="172" y="329"/>
                  <a:pt x="172" y="329"/>
                </a:cubicBezTo>
                <a:cubicBezTo>
                  <a:pt x="181" y="314"/>
                  <a:pt x="181" y="314"/>
                  <a:pt x="181" y="314"/>
                </a:cubicBezTo>
                <a:cubicBezTo>
                  <a:pt x="183" y="315"/>
                  <a:pt x="186" y="316"/>
                  <a:pt x="188" y="316"/>
                </a:cubicBezTo>
                <a:cubicBezTo>
                  <a:pt x="188" y="333"/>
                  <a:pt x="188" y="333"/>
                  <a:pt x="188" y="333"/>
                </a:cubicBezTo>
                <a:cubicBezTo>
                  <a:pt x="212" y="333"/>
                  <a:pt x="212" y="333"/>
                  <a:pt x="212" y="333"/>
                </a:cubicBezTo>
                <a:cubicBezTo>
                  <a:pt x="212" y="316"/>
                  <a:pt x="212" y="316"/>
                  <a:pt x="212" y="316"/>
                </a:cubicBezTo>
                <a:cubicBezTo>
                  <a:pt x="215" y="315"/>
                  <a:pt x="217" y="315"/>
                  <a:pt x="220" y="314"/>
                </a:cubicBezTo>
                <a:cubicBezTo>
                  <a:pt x="229" y="328"/>
                  <a:pt x="229" y="328"/>
                  <a:pt x="229" y="328"/>
                </a:cubicBezTo>
                <a:cubicBezTo>
                  <a:pt x="250" y="315"/>
                  <a:pt x="250" y="315"/>
                  <a:pt x="250" y="315"/>
                </a:cubicBezTo>
                <a:cubicBezTo>
                  <a:pt x="240" y="301"/>
                  <a:pt x="240" y="301"/>
                  <a:pt x="240" y="301"/>
                </a:cubicBezTo>
                <a:cubicBezTo>
                  <a:pt x="241" y="300"/>
                  <a:pt x="242" y="299"/>
                  <a:pt x="242" y="299"/>
                </a:cubicBezTo>
                <a:cubicBezTo>
                  <a:pt x="257" y="307"/>
                  <a:pt x="257" y="307"/>
                  <a:pt x="257" y="307"/>
                </a:cubicBezTo>
                <a:cubicBezTo>
                  <a:pt x="270" y="286"/>
                  <a:pt x="270" y="286"/>
                  <a:pt x="270" y="286"/>
                </a:cubicBezTo>
                <a:cubicBezTo>
                  <a:pt x="255" y="278"/>
                  <a:pt x="255" y="278"/>
                  <a:pt x="255" y="278"/>
                </a:cubicBezTo>
                <a:cubicBezTo>
                  <a:pt x="255" y="276"/>
                  <a:pt x="256" y="274"/>
                  <a:pt x="256" y="272"/>
                </a:cubicBezTo>
                <a:cubicBezTo>
                  <a:pt x="273" y="272"/>
                  <a:pt x="273" y="272"/>
                  <a:pt x="273" y="272"/>
                </a:cubicBezTo>
                <a:cubicBezTo>
                  <a:pt x="273" y="248"/>
                  <a:pt x="273" y="248"/>
                  <a:pt x="273" y="248"/>
                </a:cubicBezTo>
                <a:cubicBezTo>
                  <a:pt x="256" y="248"/>
                  <a:pt x="256" y="248"/>
                  <a:pt x="256" y="248"/>
                </a:cubicBezTo>
                <a:cubicBezTo>
                  <a:pt x="256" y="246"/>
                  <a:pt x="255" y="245"/>
                  <a:pt x="255" y="243"/>
                </a:cubicBezTo>
                <a:close/>
                <a:moveTo>
                  <a:pt x="167" y="260"/>
                </a:moveTo>
                <a:cubicBezTo>
                  <a:pt x="167" y="242"/>
                  <a:pt x="182" y="227"/>
                  <a:pt x="200" y="227"/>
                </a:cubicBezTo>
                <a:cubicBezTo>
                  <a:pt x="218" y="227"/>
                  <a:pt x="233" y="242"/>
                  <a:pt x="233" y="260"/>
                </a:cubicBezTo>
                <a:cubicBezTo>
                  <a:pt x="233" y="278"/>
                  <a:pt x="218" y="293"/>
                  <a:pt x="200" y="293"/>
                </a:cubicBezTo>
                <a:cubicBezTo>
                  <a:pt x="182" y="293"/>
                  <a:pt x="167" y="278"/>
                  <a:pt x="167" y="260"/>
                </a:cubicBezTo>
                <a:close/>
                <a:moveTo>
                  <a:pt x="355" y="228"/>
                </a:moveTo>
                <a:cubicBezTo>
                  <a:pt x="350" y="216"/>
                  <a:pt x="350" y="216"/>
                  <a:pt x="350" y="216"/>
                </a:cubicBezTo>
                <a:cubicBezTo>
                  <a:pt x="352" y="214"/>
                  <a:pt x="354" y="212"/>
                  <a:pt x="356" y="210"/>
                </a:cubicBezTo>
                <a:cubicBezTo>
                  <a:pt x="367" y="215"/>
                  <a:pt x="367" y="215"/>
                  <a:pt x="367" y="215"/>
                </a:cubicBezTo>
                <a:cubicBezTo>
                  <a:pt x="377" y="193"/>
                  <a:pt x="377" y="193"/>
                  <a:pt x="377" y="193"/>
                </a:cubicBezTo>
                <a:cubicBezTo>
                  <a:pt x="365" y="188"/>
                  <a:pt x="365" y="188"/>
                  <a:pt x="365" y="188"/>
                </a:cubicBezTo>
                <a:cubicBezTo>
                  <a:pt x="366" y="185"/>
                  <a:pt x="366" y="182"/>
                  <a:pt x="365" y="179"/>
                </a:cubicBezTo>
                <a:cubicBezTo>
                  <a:pt x="377" y="174"/>
                  <a:pt x="377" y="174"/>
                  <a:pt x="377" y="174"/>
                </a:cubicBezTo>
                <a:cubicBezTo>
                  <a:pt x="368" y="151"/>
                  <a:pt x="368" y="151"/>
                  <a:pt x="368" y="151"/>
                </a:cubicBezTo>
                <a:cubicBezTo>
                  <a:pt x="356" y="156"/>
                  <a:pt x="356" y="156"/>
                  <a:pt x="356" y="156"/>
                </a:cubicBezTo>
                <a:cubicBezTo>
                  <a:pt x="354" y="154"/>
                  <a:pt x="352" y="152"/>
                  <a:pt x="350" y="150"/>
                </a:cubicBezTo>
                <a:cubicBezTo>
                  <a:pt x="355" y="138"/>
                  <a:pt x="355" y="138"/>
                  <a:pt x="355" y="138"/>
                </a:cubicBezTo>
                <a:cubicBezTo>
                  <a:pt x="333" y="128"/>
                  <a:pt x="333" y="128"/>
                  <a:pt x="333" y="128"/>
                </a:cubicBezTo>
                <a:cubicBezTo>
                  <a:pt x="327" y="140"/>
                  <a:pt x="327" y="140"/>
                  <a:pt x="327" y="140"/>
                </a:cubicBezTo>
                <a:cubicBezTo>
                  <a:pt x="324" y="140"/>
                  <a:pt x="321" y="140"/>
                  <a:pt x="318" y="140"/>
                </a:cubicBezTo>
                <a:cubicBezTo>
                  <a:pt x="313" y="128"/>
                  <a:pt x="313" y="128"/>
                  <a:pt x="313" y="128"/>
                </a:cubicBezTo>
                <a:cubicBezTo>
                  <a:pt x="290" y="137"/>
                  <a:pt x="290" y="137"/>
                  <a:pt x="290" y="137"/>
                </a:cubicBezTo>
                <a:cubicBezTo>
                  <a:pt x="295" y="150"/>
                  <a:pt x="295" y="150"/>
                  <a:pt x="295" y="150"/>
                </a:cubicBezTo>
                <a:cubicBezTo>
                  <a:pt x="293" y="151"/>
                  <a:pt x="292" y="153"/>
                  <a:pt x="290" y="155"/>
                </a:cubicBezTo>
                <a:cubicBezTo>
                  <a:pt x="278" y="150"/>
                  <a:pt x="278" y="150"/>
                  <a:pt x="278" y="150"/>
                </a:cubicBezTo>
                <a:cubicBezTo>
                  <a:pt x="268" y="172"/>
                  <a:pt x="268" y="172"/>
                  <a:pt x="268" y="172"/>
                </a:cubicBezTo>
                <a:cubicBezTo>
                  <a:pt x="280" y="178"/>
                  <a:pt x="280" y="178"/>
                  <a:pt x="280" y="178"/>
                </a:cubicBezTo>
                <a:cubicBezTo>
                  <a:pt x="280" y="181"/>
                  <a:pt x="280" y="183"/>
                  <a:pt x="280" y="186"/>
                </a:cubicBezTo>
                <a:cubicBezTo>
                  <a:pt x="268" y="191"/>
                  <a:pt x="268" y="191"/>
                  <a:pt x="268" y="191"/>
                </a:cubicBezTo>
                <a:cubicBezTo>
                  <a:pt x="277" y="214"/>
                  <a:pt x="277" y="214"/>
                  <a:pt x="277" y="214"/>
                </a:cubicBezTo>
                <a:cubicBezTo>
                  <a:pt x="289" y="209"/>
                  <a:pt x="289" y="209"/>
                  <a:pt x="289" y="209"/>
                </a:cubicBezTo>
                <a:cubicBezTo>
                  <a:pt x="290" y="212"/>
                  <a:pt x="293" y="214"/>
                  <a:pt x="295" y="216"/>
                </a:cubicBezTo>
                <a:cubicBezTo>
                  <a:pt x="290" y="227"/>
                  <a:pt x="290" y="227"/>
                  <a:pt x="290" y="227"/>
                </a:cubicBezTo>
                <a:cubicBezTo>
                  <a:pt x="312" y="237"/>
                  <a:pt x="312" y="237"/>
                  <a:pt x="312" y="237"/>
                </a:cubicBezTo>
                <a:cubicBezTo>
                  <a:pt x="317" y="226"/>
                  <a:pt x="317" y="226"/>
                  <a:pt x="317" y="226"/>
                </a:cubicBezTo>
                <a:cubicBezTo>
                  <a:pt x="319" y="226"/>
                  <a:pt x="321" y="226"/>
                  <a:pt x="323" y="226"/>
                </a:cubicBezTo>
                <a:cubicBezTo>
                  <a:pt x="324" y="226"/>
                  <a:pt x="326" y="226"/>
                  <a:pt x="327" y="226"/>
                </a:cubicBezTo>
                <a:cubicBezTo>
                  <a:pt x="332" y="237"/>
                  <a:pt x="332" y="237"/>
                  <a:pt x="332" y="237"/>
                </a:cubicBezTo>
                <a:lnTo>
                  <a:pt x="355" y="228"/>
                </a:lnTo>
                <a:close/>
                <a:moveTo>
                  <a:pt x="315" y="200"/>
                </a:moveTo>
                <a:cubicBezTo>
                  <a:pt x="311" y="198"/>
                  <a:pt x="307" y="194"/>
                  <a:pt x="306" y="190"/>
                </a:cubicBezTo>
                <a:cubicBezTo>
                  <a:pt x="304" y="185"/>
                  <a:pt x="304" y="180"/>
                  <a:pt x="306" y="176"/>
                </a:cubicBezTo>
                <a:cubicBezTo>
                  <a:pt x="308" y="171"/>
                  <a:pt x="311" y="168"/>
                  <a:pt x="316" y="166"/>
                </a:cubicBezTo>
                <a:cubicBezTo>
                  <a:pt x="318" y="165"/>
                  <a:pt x="320" y="165"/>
                  <a:pt x="323" y="165"/>
                </a:cubicBezTo>
                <a:cubicBezTo>
                  <a:pt x="325" y="165"/>
                  <a:pt x="327" y="165"/>
                  <a:pt x="330" y="166"/>
                </a:cubicBezTo>
                <a:cubicBezTo>
                  <a:pt x="334" y="168"/>
                  <a:pt x="338" y="172"/>
                  <a:pt x="340" y="176"/>
                </a:cubicBezTo>
                <a:cubicBezTo>
                  <a:pt x="341" y="181"/>
                  <a:pt x="341" y="186"/>
                  <a:pt x="339" y="190"/>
                </a:cubicBezTo>
                <a:cubicBezTo>
                  <a:pt x="337" y="195"/>
                  <a:pt x="334" y="198"/>
                  <a:pt x="329" y="200"/>
                </a:cubicBezTo>
                <a:cubicBezTo>
                  <a:pt x="325" y="202"/>
                  <a:pt x="320" y="202"/>
                  <a:pt x="315" y="200"/>
                </a:cubicBezTo>
                <a:close/>
              </a:path>
            </a:pathLst>
          </a:custGeom>
          <a:solidFill>
            <a:schemeClr val="tx1">
              <a:lumMod val="50000"/>
              <a:lumOff val="50000"/>
            </a:schemeClr>
          </a:solidFill>
          <a:ln>
            <a:noFill/>
          </a:ln>
        </p:spPr>
        <p:txBody>
          <a:bodyPr spcFirstLastPara="1" wrap="square" lIns="114300" tIns="57150" rIns="114300" bIns="57150" anchor="t"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54" name="Google Shape;1843;p198">
            <a:extLst>
              <a:ext uri="{FF2B5EF4-FFF2-40B4-BE49-F238E27FC236}">
                <a16:creationId xmlns:a16="http://schemas.microsoft.com/office/drawing/2014/main" id="{4B569813-0F7A-4414-92F0-6F3261102537}"/>
              </a:ext>
            </a:extLst>
          </p:cNvPr>
          <p:cNvSpPr/>
          <p:nvPr/>
        </p:nvSpPr>
        <p:spPr>
          <a:xfrm>
            <a:off x="5495239" y="3086427"/>
            <a:ext cx="446227" cy="442987"/>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tx1">
              <a:lumMod val="50000"/>
              <a:lumOff val="5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800" b="1" dirty="0">
              <a:solidFill>
                <a:schemeClr val="accent1"/>
              </a:solidFill>
              <a:latin typeface="Arial"/>
              <a:ea typeface="Arial"/>
              <a:cs typeface="Arial"/>
              <a:sym typeface="Arial"/>
            </a:endParaRPr>
          </a:p>
        </p:txBody>
      </p:sp>
      <p:sp>
        <p:nvSpPr>
          <p:cNvPr id="55" name="Google Shape;1906;p199">
            <a:extLst>
              <a:ext uri="{FF2B5EF4-FFF2-40B4-BE49-F238E27FC236}">
                <a16:creationId xmlns:a16="http://schemas.microsoft.com/office/drawing/2014/main" id="{34FC36C0-5C15-4EF1-8682-600FF339E6F8}"/>
              </a:ext>
            </a:extLst>
          </p:cNvPr>
          <p:cNvSpPr/>
          <p:nvPr/>
        </p:nvSpPr>
        <p:spPr>
          <a:xfrm>
            <a:off x="5492907" y="2526811"/>
            <a:ext cx="452399" cy="453684"/>
          </a:xfrm>
          <a:custGeom>
            <a:avLst/>
            <a:gdLst/>
            <a:ahLst/>
            <a:cxnLst/>
            <a:rect l="l" t="t" r="r" b="b"/>
            <a:pathLst>
              <a:path w="704" h="706" extrusionOk="0">
                <a:moveTo>
                  <a:pt x="704" y="706"/>
                </a:moveTo>
                <a:lnTo>
                  <a:pt x="0" y="706"/>
                </a:lnTo>
                <a:lnTo>
                  <a:pt x="0" y="0"/>
                </a:lnTo>
                <a:lnTo>
                  <a:pt x="704" y="0"/>
                </a:lnTo>
                <a:lnTo>
                  <a:pt x="704" y="706"/>
                </a:lnTo>
                <a:close/>
                <a:moveTo>
                  <a:pt x="29" y="675"/>
                </a:moveTo>
                <a:lnTo>
                  <a:pt x="673" y="675"/>
                </a:lnTo>
                <a:lnTo>
                  <a:pt x="673" y="29"/>
                </a:lnTo>
                <a:lnTo>
                  <a:pt x="29" y="29"/>
                </a:lnTo>
                <a:lnTo>
                  <a:pt x="29" y="675"/>
                </a:lnTo>
                <a:close/>
                <a:moveTo>
                  <a:pt x="483" y="371"/>
                </a:moveTo>
                <a:lnTo>
                  <a:pt x="465" y="402"/>
                </a:lnTo>
                <a:lnTo>
                  <a:pt x="434" y="384"/>
                </a:lnTo>
                <a:lnTo>
                  <a:pt x="451" y="353"/>
                </a:lnTo>
                <a:lnTo>
                  <a:pt x="434" y="322"/>
                </a:lnTo>
                <a:lnTo>
                  <a:pt x="465" y="304"/>
                </a:lnTo>
                <a:lnTo>
                  <a:pt x="483" y="335"/>
                </a:lnTo>
                <a:lnTo>
                  <a:pt x="584" y="335"/>
                </a:lnTo>
                <a:lnTo>
                  <a:pt x="634" y="247"/>
                </a:lnTo>
                <a:lnTo>
                  <a:pt x="584" y="159"/>
                </a:lnTo>
                <a:lnTo>
                  <a:pt x="483" y="159"/>
                </a:lnTo>
                <a:lnTo>
                  <a:pt x="432" y="247"/>
                </a:lnTo>
                <a:lnTo>
                  <a:pt x="450" y="278"/>
                </a:lnTo>
                <a:lnTo>
                  <a:pt x="418" y="295"/>
                </a:lnTo>
                <a:lnTo>
                  <a:pt x="401" y="265"/>
                </a:lnTo>
                <a:lnTo>
                  <a:pt x="365" y="265"/>
                </a:lnTo>
                <a:lnTo>
                  <a:pt x="365" y="229"/>
                </a:lnTo>
                <a:lnTo>
                  <a:pt x="401" y="229"/>
                </a:lnTo>
                <a:lnTo>
                  <a:pt x="451" y="141"/>
                </a:lnTo>
                <a:lnTo>
                  <a:pt x="401" y="54"/>
                </a:lnTo>
                <a:lnTo>
                  <a:pt x="299" y="54"/>
                </a:lnTo>
                <a:lnTo>
                  <a:pt x="249" y="141"/>
                </a:lnTo>
                <a:lnTo>
                  <a:pt x="299" y="229"/>
                </a:lnTo>
                <a:lnTo>
                  <a:pt x="335" y="229"/>
                </a:lnTo>
                <a:lnTo>
                  <a:pt x="335" y="265"/>
                </a:lnTo>
                <a:lnTo>
                  <a:pt x="299" y="265"/>
                </a:lnTo>
                <a:lnTo>
                  <a:pt x="282" y="295"/>
                </a:lnTo>
                <a:lnTo>
                  <a:pt x="253" y="279"/>
                </a:lnTo>
                <a:lnTo>
                  <a:pt x="271" y="247"/>
                </a:lnTo>
                <a:lnTo>
                  <a:pt x="220" y="159"/>
                </a:lnTo>
                <a:lnTo>
                  <a:pt x="120" y="159"/>
                </a:lnTo>
                <a:lnTo>
                  <a:pt x="68" y="247"/>
                </a:lnTo>
                <a:lnTo>
                  <a:pt x="120" y="335"/>
                </a:lnTo>
                <a:lnTo>
                  <a:pt x="220" y="335"/>
                </a:lnTo>
                <a:lnTo>
                  <a:pt x="237" y="305"/>
                </a:lnTo>
                <a:lnTo>
                  <a:pt x="266" y="322"/>
                </a:lnTo>
                <a:lnTo>
                  <a:pt x="249" y="353"/>
                </a:lnTo>
                <a:lnTo>
                  <a:pt x="266" y="384"/>
                </a:lnTo>
                <a:lnTo>
                  <a:pt x="237" y="401"/>
                </a:lnTo>
                <a:lnTo>
                  <a:pt x="220" y="371"/>
                </a:lnTo>
                <a:lnTo>
                  <a:pt x="120" y="371"/>
                </a:lnTo>
                <a:lnTo>
                  <a:pt x="68" y="458"/>
                </a:lnTo>
                <a:lnTo>
                  <a:pt x="120" y="547"/>
                </a:lnTo>
                <a:lnTo>
                  <a:pt x="220" y="547"/>
                </a:lnTo>
                <a:lnTo>
                  <a:pt x="271" y="458"/>
                </a:lnTo>
                <a:lnTo>
                  <a:pt x="253" y="426"/>
                </a:lnTo>
                <a:lnTo>
                  <a:pt x="282" y="409"/>
                </a:lnTo>
                <a:lnTo>
                  <a:pt x="299" y="440"/>
                </a:lnTo>
                <a:lnTo>
                  <a:pt x="335" y="440"/>
                </a:lnTo>
                <a:lnTo>
                  <a:pt x="335" y="477"/>
                </a:lnTo>
                <a:lnTo>
                  <a:pt x="299" y="477"/>
                </a:lnTo>
                <a:lnTo>
                  <a:pt x="249" y="564"/>
                </a:lnTo>
                <a:lnTo>
                  <a:pt x="299" y="652"/>
                </a:lnTo>
                <a:lnTo>
                  <a:pt x="401" y="652"/>
                </a:lnTo>
                <a:lnTo>
                  <a:pt x="451" y="564"/>
                </a:lnTo>
                <a:lnTo>
                  <a:pt x="401" y="477"/>
                </a:lnTo>
                <a:lnTo>
                  <a:pt x="365" y="477"/>
                </a:lnTo>
                <a:lnTo>
                  <a:pt x="365" y="440"/>
                </a:lnTo>
                <a:lnTo>
                  <a:pt x="401" y="440"/>
                </a:lnTo>
                <a:lnTo>
                  <a:pt x="418" y="409"/>
                </a:lnTo>
                <a:lnTo>
                  <a:pt x="450" y="428"/>
                </a:lnTo>
                <a:lnTo>
                  <a:pt x="432" y="458"/>
                </a:lnTo>
                <a:lnTo>
                  <a:pt x="483" y="547"/>
                </a:lnTo>
                <a:lnTo>
                  <a:pt x="584" y="547"/>
                </a:lnTo>
                <a:lnTo>
                  <a:pt x="634" y="458"/>
                </a:lnTo>
                <a:lnTo>
                  <a:pt x="584" y="371"/>
                </a:lnTo>
                <a:lnTo>
                  <a:pt x="483" y="371"/>
                </a:lnTo>
                <a:close/>
                <a:moveTo>
                  <a:pt x="500" y="190"/>
                </a:moveTo>
                <a:lnTo>
                  <a:pt x="567" y="190"/>
                </a:lnTo>
                <a:lnTo>
                  <a:pt x="600" y="247"/>
                </a:lnTo>
                <a:lnTo>
                  <a:pt x="567" y="305"/>
                </a:lnTo>
                <a:lnTo>
                  <a:pt x="500" y="305"/>
                </a:lnTo>
                <a:lnTo>
                  <a:pt x="467" y="247"/>
                </a:lnTo>
                <a:lnTo>
                  <a:pt x="500" y="190"/>
                </a:lnTo>
                <a:close/>
                <a:moveTo>
                  <a:pt x="316" y="198"/>
                </a:moveTo>
                <a:lnTo>
                  <a:pt x="283" y="141"/>
                </a:lnTo>
                <a:lnTo>
                  <a:pt x="316" y="83"/>
                </a:lnTo>
                <a:lnTo>
                  <a:pt x="384" y="83"/>
                </a:lnTo>
                <a:lnTo>
                  <a:pt x="417" y="141"/>
                </a:lnTo>
                <a:lnTo>
                  <a:pt x="384" y="198"/>
                </a:lnTo>
                <a:lnTo>
                  <a:pt x="316" y="198"/>
                </a:lnTo>
                <a:close/>
                <a:moveTo>
                  <a:pt x="203" y="305"/>
                </a:moveTo>
                <a:lnTo>
                  <a:pt x="137" y="305"/>
                </a:lnTo>
                <a:lnTo>
                  <a:pt x="104" y="247"/>
                </a:lnTo>
                <a:lnTo>
                  <a:pt x="137" y="190"/>
                </a:lnTo>
                <a:lnTo>
                  <a:pt x="203" y="190"/>
                </a:lnTo>
                <a:lnTo>
                  <a:pt x="236" y="247"/>
                </a:lnTo>
                <a:lnTo>
                  <a:pt x="203" y="305"/>
                </a:lnTo>
                <a:close/>
                <a:moveTo>
                  <a:pt x="203" y="516"/>
                </a:moveTo>
                <a:lnTo>
                  <a:pt x="137" y="516"/>
                </a:lnTo>
                <a:lnTo>
                  <a:pt x="104" y="458"/>
                </a:lnTo>
                <a:lnTo>
                  <a:pt x="137" y="401"/>
                </a:lnTo>
                <a:lnTo>
                  <a:pt x="203" y="401"/>
                </a:lnTo>
                <a:lnTo>
                  <a:pt x="236" y="458"/>
                </a:lnTo>
                <a:lnTo>
                  <a:pt x="203" y="516"/>
                </a:lnTo>
                <a:close/>
                <a:moveTo>
                  <a:pt x="384" y="506"/>
                </a:moveTo>
                <a:lnTo>
                  <a:pt x="417" y="564"/>
                </a:lnTo>
                <a:lnTo>
                  <a:pt x="384" y="621"/>
                </a:lnTo>
                <a:lnTo>
                  <a:pt x="316" y="621"/>
                </a:lnTo>
                <a:lnTo>
                  <a:pt x="283" y="564"/>
                </a:lnTo>
                <a:lnTo>
                  <a:pt x="316" y="506"/>
                </a:lnTo>
                <a:lnTo>
                  <a:pt x="384" y="506"/>
                </a:lnTo>
                <a:close/>
                <a:moveTo>
                  <a:pt x="384" y="411"/>
                </a:moveTo>
                <a:lnTo>
                  <a:pt x="316" y="411"/>
                </a:lnTo>
                <a:lnTo>
                  <a:pt x="283" y="353"/>
                </a:lnTo>
                <a:lnTo>
                  <a:pt x="316" y="295"/>
                </a:lnTo>
                <a:lnTo>
                  <a:pt x="384" y="295"/>
                </a:lnTo>
                <a:lnTo>
                  <a:pt x="417" y="353"/>
                </a:lnTo>
                <a:lnTo>
                  <a:pt x="384" y="411"/>
                </a:lnTo>
                <a:close/>
                <a:moveTo>
                  <a:pt x="567" y="516"/>
                </a:moveTo>
                <a:lnTo>
                  <a:pt x="500" y="516"/>
                </a:lnTo>
                <a:lnTo>
                  <a:pt x="467" y="458"/>
                </a:lnTo>
                <a:lnTo>
                  <a:pt x="500" y="401"/>
                </a:lnTo>
                <a:lnTo>
                  <a:pt x="567" y="401"/>
                </a:lnTo>
                <a:lnTo>
                  <a:pt x="600" y="458"/>
                </a:lnTo>
                <a:lnTo>
                  <a:pt x="567" y="516"/>
                </a:lnTo>
                <a:close/>
              </a:path>
            </a:pathLst>
          </a:custGeom>
          <a:solidFill>
            <a:schemeClr val="tx1">
              <a:lumMod val="50000"/>
              <a:lumOff val="5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dirty="0">
              <a:solidFill>
                <a:schemeClr val="accent1"/>
              </a:solidFill>
              <a:latin typeface="Arial"/>
              <a:ea typeface="Arial"/>
              <a:cs typeface="Arial"/>
              <a:sym typeface="Arial"/>
            </a:endParaRPr>
          </a:p>
        </p:txBody>
      </p:sp>
      <p:sp>
        <p:nvSpPr>
          <p:cNvPr id="4" name="Slide Number Placeholder 3">
            <a:extLst>
              <a:ext uri="{FF2B5EF4-FFF2-40B4-BE49-F238E27FC236}">
                <a16:creationId xmlns:a16="http://schemas.microsoft.com/office/drawing/2014/main" id="{502091C0-7641-6129-7958-AE72494ECF11}"/>
              </a:ext>
            </a:extLst>
          </p:cNvPr>
          <p:cNvSpPr>
            <a:spLocks noGrp="1"/>
          </p:cNvSpPr>
          <p:nvPr>
            <p:ph type="sldNum" sz="quarter" idx="12"/>
          </p:nvPr>
        </p:nvSpPr>
        <p:spPr/>
        <p:txBody>
          <a:bodyPr/>
          <a:lstStyle/>
          <a:p>
            <a:fld id="{C0F55C17-AF72-40D4-ADBD-B5505DEBF9BA}" type="slidenum">
              <a:rPr lang="en-AU" smtClean="0"/>
              <a:t>19</a:t>
            </a:fld>
            <a:endParaRPr lang="en-US" dirty="0"/>
          </a:p>
        </p:txBody>
      </p:sp>
      <p:sp>
        <p:nvSpPr>
          <p:cNvPr id="2" name="Footer Placeholder 1">
            <a:extLst>
              <a:ext uri="{FF2B5EF4-FFF2-40B4-BE49-F238E27FC236}">
                <a16:creationId xmlns:a16="http://schemas.microsoft.com/office/drawing/2014/main" id="{4A000F3E-B44F-C30B-FB87-7CAAA6870539}"/>
              </a:ext>
            </a:extLst>
          </p:cNvPr>
          <p:cNvSpPr>
            <a:spLocks noGrp="1"/>
          </p:cNvSpPr>
          <p:nvPr>
            <p:ph type="ftr" sz="quarter" idx="11"/>
          </p:nvPr>
        </p:nvSpPr>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688348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438E3BDB-0DD0-4887-8BA6-D7E8D5D8F7D3}"/>
              </a:ext>
            </a:extLst>
          </p:cNvPr>
          <p:cNvPicPr>
            <a:picLocks noChangeAspect="1"/>
          </p:cNvPicPr>
          <p:nvPr/>
        </p:nvPicPr>
        <p:blipFill rotWithShape="1">
          <a:blip r:embed="rId3">
            <a:extLst>
              <a:ext uri="{28A0092B-C50C-407E-A947-70E740481C1C}">
                <a14:useLocalDpi xmlns:a14="http://schemas.microsoft.com/office/drawing/2010/main" val="0"/>
              </a:ext>
            </a:extLst>
          </a:blip>
          <a:srcRect l="48317" r="-1"/>
          <a:stretch/>
        </p:blipFill>
        <p:spPr>
          <a:xfrm>
            <a:off x="7432964" y="1494337"/>
            <a:ext cx="4703544" cy="5119056"/>
          </a:xfrm>
          <a:prstGeom prst="rect">
            <a:avLst/>
          </a:prstGeom>
        </p:spPr>
      </p:pic>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471866" cy="992778"/>
          </a:xfrm>
        </p:spPr>
        <p:txBody>
          <a:bodyPr>
            <a:normAutofit/>
          </a:bodyPr>
          <a:lstStyle/>
          <a:p>
            <a:pPr>
              <a:lnSpc>
                <a:spcPct val="100000"/>
              </a:lnSpc>
            </a:pPr>
            <a:r>
              <a:rPr lang="en-US" sz="2400" dirty="0">
                <a:solidFill>
                  <a:schemeClr val="tx2"/>
                </a:solidFill>
              </a:rPr>
              <a:t>Contents</a:t>
            </a:r>
            <a:endParaRPr lang="en-AU" sz="2400" dirty="0">
              <a:solidFill>
                <a:schemeClr val="tx2"/>
              </a:solidFill>
            </a:endParaRPr>
          </a:p>
        </p:txBody>
      </p:sp>
      <p:grpSp>
        <p:nvGrpSpPr>
          <p:cNvPr id="52" name="Google Shape;705;g1231aa6b6f8_0_445">
            <a:extLst>
              <a:ext uri="{FF2B5EF4-FFF2-40B4-BE49-F238E27FC236}">
                <a16:creationId xmlns:a16="http://schemas.microsoft.com/office/drawing/2014/main" id="{21F17A7A-E48D-4B76-B790-27595705A4D6}"/>
              </a:ext>
            </a:extLst>
          </p:cNvPr>
          <p:cNvGrpSpPr/>
          <p:nvPr/>
        </p:nvGrpSpPr>
        <p:grpSpPr>
          <a:xfrm>
            <a:off x="503692" y="1976409"/>
            <a:ext cx="2028600" cy="1555800"/>
            <a:chOff x="461650" y="1482600"/>
            <a:chExt cx="2028600" cy="1555800"/>
          </a:xfrm>
        </p:grpSpPr>
        <p:sp>
          <p:nvSpPr>
            <p:cNvPr id="73" name="Google Shape;706;g1231aa6b6f8_0_445">
              <a:extLst>
                <a:ext uri="{FF2B5EF4-FFF2-40B4-BE49-F238E27FC236}">
                  <a16:creationId xmlns:a16="http://schemas.microsoft.com/office/drawing/2014/main" id="{B17FF88C-A7FC-41B8-9961-5A3EAA5DF2F5}"/>
                </a:ext>
              </a:extLst>
            </p:cNvPr>
            <p:cNvSpPr txBox="1"/>
            <p:nvPr/>
          </p:nvSpPr>
          <p:spPr>
            <a:xfrm>
              <a:off x="461650" y="2514600"/>
              <a:ext cx="2028600" cy="523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1600" b="0" i="0" u="none" strike="noStrike" cap="none" dirty="0">
                  <a:solidFill>
                    <a:schemeClr val="accent1"/>
                  </a:solidFill>
                  <a:latin typeface="+mn-lt"/>
                  <a:ea typeface="Public Sans"/>
                  <a:cs typeface="Public Sans"/>
                  <a:sym typeface="Public Sans"/>
                </a:rPr>
                <a:t>Executive Summary</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r>
                <a:rPr lang="en-AU" sz="1000" b="0" i="0" u="none" strike="noStrike" cap="none" dirty="0">
                  <a:solidFill>
                    <a:schemeClr val="accent1"/>
                  </a:solidFill>
                  <a:latin typeface="+mn-lt"/>
                  <a:ea typeface="Public Sans"/>
                  <a:cs typeface="Public Sans"/>
                  <a:sym typeface="Public Sans"/>
                </a:rPr>
                <a:t>(page 3 - 7</a:t>
              </a:r>
              <a:r>
                <a:rPr lang="en-AU" sz="1000" dirty="0">
                  <a:solidFill>
                    <a:schemeClr val="accent1"/>
                  </a:solidFill>
                  <a:latin typeface="+mn-lt"/>
                  <a:ea typeface="Public Sans"/>
                  <a:cs typeface="Public Sans"/>
                  <a:sym typeface="Public Sans"/>
                </a:rPr>
                <a:t>)</a:t>
              </a:r>
              <a:endParaRPr sz="1000" b="0" i="0" u="none" strike="noStrike" cap="none" dirty="0">
                <a:solidFill>
                  <a:schemeClr val="accent1"/>
                </a:solidFill>
                <a:latin typeface="+mn-lt"/>
                <a:ea typeface="Public Sans"/>
                <a:cs typeface="Public Sans"/>
                <a:sym typeface="Public Sans"/>
              </a:endParaRPr>
            </a:p>
          </p:txBody>
        </p:sp>
        <p:sp>
          <p:nvSpPr>
            <p:cNvPr id="74" name="Google Shape;707;g1231aa6b6f8_0_445">
              <a:extLst>
                <a:ext uri="{FF2B5EF4-FFF2-40B4-BE49-F238E27FC236}">
                  <a16:creationId xmlns:a16="http://schemas.microsoft.com/office/drawing/2014/main" id="{5880A8B8-1C2F-42D2-8D90-33AAA4C9423D}"/>
                </a:ext>
              </a:extLst>
            </p:cNvPr>
            <p:cNvSpPr txBox="1"/>
            <p:nvPr/>
          </p:nvSpPr>
          <p:spPr>
            <a:xfrm>
              <a:off x="461650" y="1482600"/>
              <a:ext cx="1844700" cy="869400"/>
            </a:xfrm>
            <a:prstGeom prst="rect">
              <a:avLst/>
            </a:prstGeom>
            <a:noFill/>
            <a:ln w="9525" cap="flat" cmpd="sng">
              <a:solidFill>
                <a:schemeClr val="lt1"/>
              </a:solidFill>
              <a:prstDash val="solid"/>
              <a:round/>
              <a:headEnd type="none" w="sm" len="sm"/>
              <a:tailEnd type="none" w="sm" len="sm"/>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i="0" u="none" strike="noStrike" cap="none" dirty="0">
                  <a:solidFill>
                    <a:schemeClr val="accent1"/>
                  </a:solidFill>
                  <a:latin typeface="+mn-lt"/>
                  <a:ea typeface="Public Sans"/>
                  <a:cs typeface="Public Sans"/>
                  <a:sym typeface="Public Sans"/>
                </a:rPr>
                <a:t>01</a:t>
              </a:r>
              <a:endParaRPr sz="6500" b="1" i="0" u="none" strike="noStrike" cap="none" dirty="0">
                <a:solidFill>
                  <a:schemeClr val="accent1"/>
                </a:solidFill>
                <a:latin typeface="+mn-lt"/>
                <a:ea typeface="Public Sans"/>
                <a:cs typeface="Public Sans"/>
                <a:sym typeface="Public Sans"/>
              </a:endParaRPr>
            </a:p>
          </p:txBody>
        </p:sp>
      </p:grpSp>
      <p:grpSp>
        <p:nvGrpSpPr>
          <p:cNvPr id="53" name="Google Shape;709;g1231aa6b6f8_0_445">
            <a:extLst>
              <a:ext uri="{FF2B5EF4-FFF2-40B4-BE49-F238E27FC236}">
                <a16:creationId xmlns:a16="http://schemas.microsoft.com/office/drawing/2014/main" id="{02A7207D-1DD3-4BE9-80D7-EBF93570F8F9}"/>
              </a:ext>
            </a:extLst>
          </p:cNvPr>
          <p:cNvGrpSpPr/>
          <p:nvPr/>
        </p:nvGrpSpPr>
        <p:grpSpPr>
          <a:xfrm>
            <a:off x="3404742" y="1976409"/>
            <a:ext cx="1844700" cy="1384500"/>
            <a:chOff x="3682225" y="1482600"/>
            <a:chExt cx="1844700" cy="1384500"/>
          </a:xfrm>
        </p:grpSpPr>
        <p:sp>
          <p:nvSpPr>
            <p:cNvPr id="70" name="Google Shape;710;g1231aa6b6f8_0_445">
              <a:extLst>
                <a:ext uri="{FF2B5EF4-FFF2-40B4-BE49-F238E27FC236}">
                  <a16:creationId xmlns:a16="http://schemas.microsoft.com/office/drawing/2014/main" id="{7FF0D65A-0904-4587-B75C-37EA2E4DD9B7}"/>
                </a:ext>
              </a:extLst>
            </p:cNvPr>
            <p:cNvSpPr txBox="1"/>
            <p:nvPr/>
          </p:nvSpPr>
          <p:spPr>
            <a:xfrm>
              <a:off x="3682225" y="2514600"/>
              <a:ext cx="1844700" cy="3525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US" sz="1600" dirty="0">
                  <a:solidFill>
                    <a:schemeClr val="accent1"/>
                  </a:solidFill>
                  <a:latin typeface="+mn-lt"/>
                  <a:ea typeface="Public Sans"/>
                  <a:cs typeface="Public Sans"/>
                  <a:sym typeface="Public Sans"/>
                </a:rPr>
                <a:t>About this </a:t>
              </a:r>
              <a:r>
                <a:rPr lang="en-US" sz="1600" dirty="0" smtClean="0">
                  <a:solidFill>
                    <a:schemeClr val="accent1"/>
                  </a:solidFill>
                  <a:latin typeface="+mn-lt"/>
                  <a:ea typeface="Public Sans"/>
                  <a:cs typeface="Public Sans"/>
                  <a:sym typeface="Public Sans"/>
                </a:rPr>
                <a:t>Plan</a:t>
              </a:r>
              <a:endParaRPr sz="1600"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r>
                <a:rPr lang="en-AU" sz="1000" b="0" i="0" u="none" strike="noStrike" cap="none" dirty="0">
                  <a:solidFill>
                    <a:schemeClr val="accent1"/>
                  </a:solidFill>
                  <a:latin typeface="+mn-lt"/>
                  <a:ea typeface="Public Sans"/>
                  <a:cs typeface="Public Sans"/>
                  <a:sym typeface="Public Sans"/>
                </a:rPr>
                <a:t>(pages</a:t>
              </a:r>
              <a:r>
                <a:rPr lang="en-AU" sz="1000" dirty="0">
                  <a:solidFill>
                    <a:schemeClr val="accent1"/>
                  </a:solidFill>
                  <a:latin typeface="+mn-lt"/>
                  <a:ea typeface="Public Sans"/>
                  <a:cs typeface="Public Sans"/>
                  <a:sym typeface="Public Sans"/>
                </a:rPr>
                <a:t> 8 </a:t>
              </a:r>
              <a:r>
                <a:rPr lang="en-AU" sz="1000" dirty="0" smtClean="0">
                  <a:solidFill>
                    <a:schemeClr val="accent1"/>
                  </a:solidFill>
                  <a:latin typeface="+mn-lt"/>
                  <a:ea typeface="Public Sans"/>
                  <a:cs typeface="Public Sans"/>
                  <a:sym typeface="Public Sans"/>
                </a:rPr>
                <a:t>-10)</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endParaRPr sz="1600" b="0" i="0" u="none" strike="noStrike" cap="none" dirty="0">
                <a:solidFill>
                  <a:schemeClr val="accent1"/>
                </a:solidFill>
                <a:latin typeface="+mn-lt"/>
                <a:ea typeface="Public Sans"/>
                <a:cs typeface="Public Sans"/>
                <a:sym typeface="Public Sans"/>
              </a:endParaRPr>
            </a:p>
          </p:txBody>
        </p:sp>
        <p:sp>
          <p:nvSpPr>
            <p:cNvPr id="71" name="Google Shape;711;g1231aa6b6f8_0_445">
              <a:extLst>
                <a:ext uri="{FF2B5EF4-FFF2-40B4-BE49-F238E27FC236}">
                  <a16:creationId xmlns:a16="http://schemas.microsoft.com/office/drawing/2014/main" id="{F0DA1F71-ECC3-4AA2-BE1B-CC975D40A368}"/>
                </a:ext>
              </a:extLst>
            </p:cNvPr>
            <p:cNvSpPr txBox="1"/>
            <p:nvPr/>
          </p:nvSpPr>
          <p:spPr>
            <a:xfrm>
              <a:off x="3682225" y="1482600"/>
              <a:ext cx="1844700" cy="869400"/>
            </a:xfrm>
            <a:prstGeom prst="rect">
              <a:avLst/>
            </a:prstGeom>
            <a:noFill/>
            <a:ln w="9525" cap="flat" cmpd="sng">
              <a:solidFill>
                <a:schemeClr val="lt1"/>
              </a:solidFill>
              <a:prstDash val="solid"/>
              <a:round/>
              <a:headEnd type="none" w="sm" len="sm"/>
              <a:tailEnd type="none" w="sm" len="sm"/>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i="0" u="none" strike="noStrike" cap="none" dirty="0">
                  <a:solidFill>
                    <a:schemeClr val="accent1"/>
                  </a:solidFill>
                  <a:latin typeface="+mn-lt"/>
                  <a:ea typeface="Public Sans"/>
                  <a:cs typeface="Public Sans"/>
                  <a:sym typeface="Public Sans"/>
                </a:rPr>
                <a:t>0</a:t>
              </a:r>
              <a:r>
                <a:rPr lang="en-AU" sz="6500" b="1" dirty="0">
                  <a:solidFill>
                    <a:schemeClr val="accent1"/>
                  </a:solidFill>
                  <a:latin typeface="+mn-lt"/>
                  <a:ea typeface="Public Sans"/>
                  <a:cs typeface="Public Sans"/>
                  <a:sym typeface="Public Sans"/>
                </a:rPr>
                <a:t>2</a:t>
              </a:r>
              <a:endParaRPr sz="6500" b="1" i="0" u="none" strike="noStrike" cap="none" dirty="0">
                <a:solidFill>
                  <a:schemeClr val="accent1"/>
                </a:solidFill>
                <a:latin typeface="+mn-lt"/>
                <a:ea typeface="Public Sans"/>
                <a:cs typeface="Public Sans"/>
                <a:sym typeface="Public Sans"/>
              </a:endParaRPr>
            </a:p>
          </p:txBody>
        </p:sp>
      </p:grpSp>
      <p:sp>
        <p:nvSpPr>
          <p:cNvPr id="68" name="Google Shape;714;g1231aa6b6f8_0_445">
            <a:extLst>
              <a:ext uri="{FF2B5EF4-FFF2-40B4-BE49-F238E27FC236}">
                <a16:creationId xmlns:a16="http://schemas.microsoft.com/office/drawing/2014/main" id="{7275F3A4-F449-486F-9460-830B1A3ACD17}"/>
              </a:ext>
            </a:extLst>
          </p:cNvPr>
          <p:cNvSpPr txBox="1"/>
          <p:nvPr/>
        </p:nvSpPr>
        <p:spPr>
          <a:xfrm>
            <a:off x="6305792" y="1976409"/>
            <a:ext cx="1844700" cy="523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dirty="0">
                <a:solidFill>
                  <a:schemeClr val="accent1"/>
                </a:solidFill>
                <a:latin typeface="+mn-lt"/>
                <a:ea typeface="Public Sans"/>
                <a:cs typeface="Public Sans"/>
                <a:sym typeface="Public Sans"/>
              </a:rPr>
              <a:t>03</a:t>
            </a:r>
            <a:endParaRPr sz="1400" b="0" i="0" u="none" strike="noStrike" cap="none" dirty="0">
              <a:solidFill>
                <a:schemeClr val="accent1"/>
              </a:solidFill>
              <a:latin typeface="+mn-lt"/>
              <a:ea typeface="Public Sans"/>
              <a:cs typeface="Public Sans"/>
              <a:sym typeface="Public Sans"/>
            </a:endParaRPr>
          </a:p>
        </p:txBody>
      </p:sp>
      <p:sp>
        <p:nvSpPr>
          <p:cNvPr id="65" name="Google Shape;717;g1231aa6b6f8_0_445">
            <a:extLst>
              <a:ext uri="{FF2B5EF4-FFF2-40B4-BE49-F238E27FC236}">
                <a16:creationId xmlns:a16="http://schemas.microsoft.com/office/drawing/2014/main" id="{62699821-63C7-4DFF-9D53-1AE6619F8834}"/>
              </a:ext>
            </a:extLst>
          </p:cNvPr>
          <p:cNvSpPr txBox="1"/>
          <p:nvPr/>
        </p:nvSpPr>
        <p:spPr>
          <a:xfrm>
            <a:off x="503692" y="5260611"/>
            <a:ext cx="1844700" cy="3525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1600" dirty="0">
                <a:solidFill>
                  <a:schemeClr val="accent1"/>
                </a:solidFill>
                <a:latin typeface="+mn-lt"/>
                <a:ea typeface="Public Sans"/>
                <a:cs typeface="Public Sans"/>
                <a:sym typeface="Public Sans"/>
              </a:rPr>
              <a:t>Future State View</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chemeClr val="lt1"/>
              </a:buClr>
              <a:buSzPts val="1200"/>
              <a:buFont typeface="Arial"/>
              <a:buNone/>
            </a:pPr>
            <a:r>
              <a:rPr lang="en-AU" sz="1000" b="0" i="0" u="none" strike="noStrike" cap="none" dirty="0">
                <a:solidFill>
                  <a:schemeClr val="accent1"/>
                </a:solidFill>
                <a:latin typeface="+mn-lt"/>
                <a:ea typeface="Public Sans"/>
                <a:cs typeface="Public Sans"/>
                <a:sym typeface="Public Sans"/>
              </a:rPr>
              <a:t>(pages </a:t>
            </a:r>
            <a:r>
              <a:rPr lang="en-AU" sz="1000" b="0" i="0" u="none" strike="noStrike" cap="none" dirty="0" smtClean="0">
                <a:solidFill>
                  <a:schemeClr val="accent1"/>
                </a:solidFill>
                <a:latin typeface="+mn-lt"/>
                <a:ea typeface="Public Sans"/>
                <a:cs typeface="Public Sans"/>
                <a:sym typeface="Public Sans"/>
              </a:rPr>
              <a:t>14 </a:t>
            </a:r>
            <a:r>
              <a:rPr lang="en-AU" sz="1000" b="0" i="0" u="none" strike="noStrike" cap="none" dirty="0">
                <a:solidFill>
                  <a:schemeClr val="accent1"/>
                </a:solidFill>
                <a:latin typeface="+mn-lt"/>
                <a:ea typeface="Public Sans"/>
                <a:cs typeface="Public Sans"/>
                <a:sym typeface="Public Sans"/>
              </a:rPr>
              <a:t>- </a:t>
            </a:r>
            <a:r>
              <a:rPr lang="en-AU" sz="1000" b="0" i="0" u="none" strike="noStrike" cap="none" dirty="0" smtClean="0">
                <a:solidFill>
                  <a:schemeClr val="accent1"/>
                </a:solidFill>
                <a:latin typeface="+mn-lt"/>
                <a:ea typeface="Public Sans"/>
                <a:cs typeface="Public Sans"/>
                <a:sym typeface="Public Sans"/>
              </a:rPr>
              <a:t>20)</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endParaRPr sz="1600" b="0" i="0" u="none" strike="noStrike" cap="none" dirty="0">
              <a:solidFill>
                <a:schemeClr val="accent1"/>
              </a:solidFill>
              <a:latin typeface="+mn-lt"/>
              <a:ea typeface="Public Sans"/>
              <a:cs typeface="Public Sans"/>
              <a:sym typeface="Public Sans"/>
            </a:endParaRPr>
          </a:p>
        </p:txBody>
      </p:sp>
      <p:sp>
        <p:nvSpPr>
          <p:cNvPr id="66" name="Google Shape;718;g1231aa6b6f8_0_445">
            <a:extLst>
              <a:ext uri="{FF2B5EF4-FFF2-40B4-BE49-F238E27FC236}">
                <a16:creationId xmlns:a16="http://schemas.microsoft.com/office/drawing/2014/main" id="{AA5F9BCE-9D8D-4C01-A760-78304087798C}"/>
              </a:ext>
            </a:extLst>
          </p:cNvPr>
          <p:cNvSpPr txBox="1"/>
          <p:nvPr/>
        </p:nvSpPr>
        <p:spPr>
          <a:xfrm>
            <a:off x="503692" y="4230111"/>
            <a:ext cx="1844700" cy="523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dirty="0">
                <a:solidFill>
                  <a:schemeClr val="accent1"/>
                </a:solidFill>
                <a:latin typeface="+mn-lt"/>
                <a:ea typeface="Public Sans"/>
                <a:cs typeface="Public Sans"/>
                <a:sym typeface="Public Sans"/>
              </a:rPr>
              <a:t>04</a:t>
            </a:r>
            <a:endParaRPr sz="1400" b="0" i="0" u="none" strike="noStrike" cap="none" dirty="0">
              <a:solidFill>
                <a:schemeClr val="accent1"/>
              </a:solidFill>
              <a:latin typeface="+mn-lt"/>
              <a:ea typeface="Public Sans"/>
              <a:cs typeface="Public Sans"/>
              <a:sym typeface="Public Sans"/>
            </a:endParaRPr>
          </a:p>
        </p:txBody>
      </p:sp>
      <p:sp>
        <p:nvSpPr>
          <p:cNvPr id="62" name="Google Shape;721;g1231aa6b6f8_0_445">
            <a:extLst>
              <a:ext uri="{FF2B5EF4-FFF2-40B4-BE49-F238E27FC236}">
                <a16:creationId xmlns:a16="http://schemas.microsoft.com/office/drawing/2014/main" id="{D252CE85-E564-45D8-A3C3-9E54847E8CAE}"/>
              </a:ext>
            </a:extLst>
          </p:cNvPr>
          <p:cNvSpPr txBox="1"/>
          <p:nvPr/>
        </p:nvSpPr>
        <p:spPr>
          <a:xfrm>
            <a:off x="3404742" y="5273705"/>
            <a:ext cx="2124032" cy="3525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US" sz="1600" dirty="0">
                <a:solidFill>
                  <a:schemeClr val="accent1"/>
                </a:solidFill>
                <a:latin typeface="+mn-lt"/>
                <a:ea typeface="Public Sans"/>
                <a:cs typeface="Public Sans"/>
                <a:sym typeface="Public Sans"/>
              </a:rPr>
              <a:t>Delivering this </a:t>
            </a:r>
            <a:r>
              <a:rPr lang="en-US" sz="1600" dirty="0" smtClean="0">
                <a:solidFill>
                  <a:schemeClr val="accent1"/>
                </a:solidFill>
                <a:latin typeface="+mn-lt"/>
                <a:ea typeface="Public Sans"/>
                <a:cs typeface="Public Sans"/>
                <a:sym typeface="Public Sans"/>
              </a:rPr>
              <a:t>Plan</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chemeClr val="lt1"/>
              </a:buClr>
              <a:buSzPts val="1200"/>
              <a:buFont typeface="Arial"/>
              <a:buNone/>
            </a:pPr>
            <a:r>
              <a:rPr lang="en-AU" sz="1000" b="0" i="0" u="none" strike="noStrike" cap="none" dirty="0">
                <a:solidFill>
                  <a:schemeClr val="accent1"/>
                </a:solidFill>
                <a:latin typeface="+mn-lt"/>
                <a:ea typeface="Public Sans"/>
                <a:cs typeface="Public Sans"/>
                <a:sym typeface="Public Sans"/>
              </a:rPr>
              <a:t>(pages </a:t>
            </a:r>
            <a:r>
              <a:rPr lang="en-AU" sz="1000" dirty="0" smtClean="0">
                <a:solidFill>
                  <a:schemeClr val="accent1"/>
                </a:solidFill>
                <a:latin typeface="+mn-lt"/>
                <a:ea typeface="Public Sans"/>
                <a:cs typeface="Public Sans"/>
                <a:sym typeface="Public Sans"/>
              </a:rPr>
              <a:t>21 </a:t>
            </a:r>
            <a:r>
              <a:rPr lang="en-AU" sz="1000" dirty="0">
                <a:solidFill>
                  <a:schemeClr val="accent1"/>
                </a:solidFill>
                <a:latin typeface="+mn-lt"/>
                <a:ea typeface="Public Sans"/>
                <a:cs typeface="Public Sans"/>
                <a:sym typeface="Public Sans"/>
              </a:rPr>
              <a:t>- </a:t>
            </a:r>
            <a:r>
              <a:rPr lang="en-AU" sz="1000" dirty="0" smtClean="0">
                <a:solidFill>
                  <a:schemeClr val="accent1"/>
                </a:solidFill>
                <a:latin typeface="+mn-lt"/>
                <a:ea typeface="Public Sans"/>
                <a:cs typeface="Public Sans"/>
                <a:sym typeface="Public Sans"/>
              </a:rPr>
              <a:t>33</a:t>
            </a:r>
            <a:r>
              <a:rPr lang="en-AU" sz="1000" b="0" i="0" u="none" strike="noStrike" cap="none" dirty="0" smtClean="0">
                <a:solidFill>
                  <a:schemeClr val="accent1"/>
                </a:solidFill>
                <a:latin typeface="+mn-lt"/>
                <a:ea typeface="Public Sans"/>
                <a:cs typeface="Public Sans"/>
                <a:sym typeface="Public Sans"/>
              </a:rPr>
              <a:t>)</a:t>
            </a:r>
            <a:endParaRPr sz="1600" b="0" i="0" u="none" strike="noStrike" cap="none" dirty="0">
              <a:solidFill>
                <a:schemeClr val="accent1"/>
              </a:solidFill>
              <a:latin typeface="+mn-lt"/>
              <a:ea typeface="Public Sans"/>
              <a:cs typeface="Public Sans"/>
              <a:sym typeface="Public Sans"/>
            </a:endParaRPr>
          </a:p>
        </p:txBody>
      </p:sp>
      <p:sp>
        <p:nvSpPr>
          <p:cNvPr id="63" name="Google Shape;722;g1231aa6b6f8_0_445">
            <a:extLst>
              <a:ext uri="{FF2B5EF4-FFF2-40B4-BE49-F238E27FC236}">
                <a16:creationId xmlns:a16="http://schemas.microsoft.com/office/drawing/2014/main" id="{DB6AE91D-68F2-4BF5-8EBA-EBDEFABE8711}"/>
              </a:ext>
            </a:extLst>
          </p:cNvPr>
          <p:cNvSpPr txBox="1"/>
          <p:nvPr/>
        </p:nvSpPr>
        <p:spPr>
          <a:xfrm>
            <a:off x="3404742" y="4188930"/>
            <a:ext cx="1844700" cy="523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dirty="0">
                <a:solidFill>
                  <a:schemeClr val="accent1"/>
                </a:solidFill>
                <a:latin typeface="+mn-lt"/>
                <a:ea typeface="Public Sans"/>
                <a:cs typeface="Public Sans"/>
                <a:sym typeface="Public Sans"/>
              </a:rPr>
              <a:t>05</a:t>
            </a:r>
            <a:endParaRPr sz="1400" b="0" i="0" u="none" strike="noStrike" cap="none" dirty="0">
              <a:solidFill>
                <a:schemeClr val="accent1"/>
              </a:solidFill>
              <a:latin typeface="+mn-lt"/>
              <a:ea typeface="Public Sans"/>
              <a:cs typeface="Public Sans"/>
              <a:sym typeface="Public Sans"/>
            </a:endParaRPr>
          </a:p>
        </p:txBody>
      </p:sp>
      <p:sp>
        <p:nvSpPr>
          <p:cNvPr id="58" name="Google Shape;728;g1231aa6b6f8_0_445">
            <a:extLst>
              <a:ext uri="{FF2B5EF4-FFF2-40B4-BE49-F238E27FC236}">
                <a16:creationId xmlns:a16="http://schemas.microsoft.com/office/drawing/2014/main" id="{E2D68373-40A6-4E1C-99D5-0B8E64471242}"/>
              </a:ext>
            </a:extLst>
          </p:cNvPr>
          <p:cNvSpPr txBox="1"/>
          <p:nvPr/>
        </p:nvSpPr>
        <p:spPr>
          <a:xfrm>
            <a:off x="6305792" y="3008409"/>
            <a:ext cx="1844700" cy="3525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1600" dirty="0">
                <a:solidFill>
                  <a:schemeClr val="accent1"/>
                </a:solidFill>
                <a:latin typeface="+mn-lt"/>
                <a:ea typeface="Public Sans"/>
                <a:cs typeface="Public Sans"/>
                <a:sym typeface="Public Sans"/>
              </a:rPr>
              <a:t>Current State View</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chemeClr val="lt1"/>
              </a:buClr>
              <a:buSzPts val="1200"/>
              <a:buFont typeface="Arial"/>
              <a:buNone/>
            </a:pPr>
            <a:r>
              <a:rPr lang="en-AU" sz="1000" b="0" i="0" u="none" strike="noStrike" cap="none" dirty="0">
                <a:solidFill>
                  <a:schemeClr val="accent1"/>
                </a:solidFill>
                <a:latin typeface="+mn-lt"/>
                <a:ea typeface="Public Sans"/>
                <a:cs typeface="Public Sans"/>
                <a:sym typeface="Public Sans"/>
              </a:rPr>
              <a:t>(pages </a:t>
            </a:r>
            <a:r>
              <a:rPr lang="en-AU" sz="1000" b="0" i="0" u="none" strike="noStrike" cap="none" dirty="0" smtClean="0">
                <a:solidFill>
                  <a:schemeClr val="accent1"/>
                </a:solidFill>
                <a:latin typeface="+mn-lt"/>
                <a:ea typeface="Public Sans"/>
                <a:cs typeface="Public Sans"/>
                <a:sym typeface="Public Sans"/>
              </a:rPr>
              <a:t>11 </a:t>
            </a:r>
            <a:r>
              <a:rPr lang="en-AU" sz="1000" b="0" i="0" u="none" strike="noStrike" cap="none" dirty="0">
                <a:solidFill>
                  <a:schemeClr val="accent1"/>
                </a:solidFill>
                <a:latin typeface="+mn-lt"/>
                <a:ea typeface="Public Sans"/>
                <a:cs typeface="Public Sans"/>
                <a:sym typeface="Public Sans"/>
              </a:rPr>
              <a:t>- </a:t>
            </a:r>
            <a:r>
              <a:rPr lang="en-AU" sz="1000" b="0" i="0" u="none" strike="noStrike" cap="none" dirty="0" smtClean="0">
                <a:solidFill>
                  <a:schemeClr val="accent1"/>
                </a:solidFill>
                <a:latin typeface="+mn-lt"/>
                <a:ea typeface="Public Sans"/>
                <a:cs typeface="Public Sans"/>
                <a:sym typeface="Public Sans"/>
              </a:rPr>
              <a:t>13)</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endParaRPr sz="1600" b="0" i="0" u="none" strike="noStrike" cap="none" dirty="0">
              <a:solidFill>
                <a:srgbClr val="00205B"/>
              </a:solidFill>
              <a:latin typeface="+mn-lt"/>
              <a:ea typeface="Public Sans"/>
              <a:cs typeface="Public Sans"/>
              <a:sym typeface="Public Sans"/>
            </a:endParaRPr>
          </a:p>
        </p:txBody>
      </p:sp>
      <p:sp>
        <p:nvSpPr>
          <p:cNvPr id="96" name="Rectangle 95" descr="decorative">
            <a:extLst>
              <a:ext uri="{FF2B5EF4-FFF2-40B4-BE49-F238E27FC236}">
                <a16:creationId xmlns:a16="http://schemas.microsoft.com/office/drawing/2014/main" id="{7EB89E98-07B9-48C4-B8DF-D156853BD3CD}"/>
              </a:ext>
            </a:extLst>
          </p:cNvPr>
          <p:cNvSpPr/>
          <p:nvPr/>
        </p:nvSpPr>
        <p:spPr>
          <a:xfrm flipV="1">
            <a:off x="503692" y="2862608"/>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7" name="Rectangle 96" descr="decorative">
            <a:extLst>
              <a:ext uri="{FF2B5EF4-FFF2-40B4-BE49-F238E27FC236}">
                <a16:creationId xmlns:a16="http://schemas.microsoft.com/office/drawing/2014/main" id="{60358FCD-42AD-4CDE-B4F2-6538F86E5D7F}"/>
              </a:ext>
            </a:extLst>
          </p:cNvPr>
          <p:cNvSpPr/>
          <p:nvPr/>
        </p:nvSpPr>
        <p:spPr>
          <a:xfrm flipV="1">
            <a:off x="3404742" y="2860335"/>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8" name="Rectangle 97" descr="decorative">
            <a:extLst>
              <a:ext uri="{FF2B5EF4-FFF2-40B4-BE49-F238E27FC236}">
                <a16:creationId xmlns:a16="http://schemas.microsoft.com/office/drawing/2014/main" id="{FEF60D2B-5093-46B0-98DC-A0D647E20047}"/>
              </a:ext>
            </a:extLst>
          </p:cNvPr>
          <p:cNvSpPr/>
          <p:nvPr/>
        </p:nvSpPr>
        <p:spPr>
          <a:xfrm flipV="1">
            <a:off x="6334408" y="2873086"/>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9" name="Rectangle 98" descr="decorative">
            <a:extLst>
              <a:ext uri="{FF2B5EF4-FFF2-40B4-BE49-F238E27FC236}">
                <a16:creationId xmlns:a16="http://schemas.microsoft.com/office/drawing/2014/main" id="{5ED9AC61-9994-4ECF-917C-BEA1982A5ACD}"/>
              </a:ext>
            </a:extLst>
          </p:cNvPr>
          <p:cNvSpPr/>
          <p:nvPr/>
        </p:nvSpPr>
        <p:spPr>
          <a:xfrm flipV="1">
            <a:off x="503692" y="5140579"/>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0" name="Rectangle 99" descr="decorative">
            <a:extLst>
              <a:ext uri="{FF2B5EF4-FFF2-40B4-BE49-F238E27FC236}">
                <a16:creationId xmlns:a16="http://schemas.microsoft.com/office/drawing/2014/main" id="{026ECE04-8B4F-4943-AF55-655B9ECF45D5}"/>
              </a:ext>
            </a:extLst>
          </p:cNvPr>
          <p:cNvSpPr/>
          <p:nvPr/>
        </p:nvSpPr>
        <p:spPr>
          <a:xfrm flipV="1">
            <a:off x="3404742" y="5145706"/>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 name="Slide Number Placeholder 3">
            <a:extLst>
              <a:ext uri="{FF2B5EF4-FFF2-40B4-BE49-F238E27FC236}">
                <a16:creationId xmlns:a16="http://schemas.microsoft.com/office/drawing/2014/main" id="{0188A8A9-275F-ADAD-62A1-97C60CF0B7A4}"/>
              </a:ext>
            </a:extLst>
          </p:cNvPr>
          <p:cNvSpPr>
            <a:spLocks noGrp="1"/>
          </p:cNvSpPr>
          <p:nvPr>
            <p:ph type="sldNum" sz="quarter" idx="12"/>
          </p:nvPr>
        </p:nvSpPr>
        <p:spPr/>
        <p:txBody>
          <a:bodyPr/>
          <a:lstStyle/>
          <a:p>
            <a:fld id="{C0F55C17-AF72-40D4-ADBD-B5505DEBF9BA}" type="slidenum">
              <a:rPr lang="en-AU" smtClean="0"/>
              <a:t>2</a:t>
            </a:fld>
            <a:endParaRPr lang="en-US" dirty="0"/>
          </a:p>
        </p:txBody>
      </p:sp>
      <p:sp>
        <p:nvSpPr>
          <p:cNvPr id="2" name="Footer Placeholder 1">
            <a:extLst>
              <a:ext uri="{FF2B5EF4-FFF2-40B4-BE49-F238E27FC236}">
                <a16:creationId xmlns:a16="http://schemas.microsoft.com/office/drawing/2014/main" id="{B7ABC451-F810-D7DD-21A1-168A0B7F2EC8}"/>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8" name="Google Shape;725;g1231aa6b6f8_0_445">
            <a:extLst>
              <a:ext uri="{FF2B5EF4-FFF2-40B4-BE49-F238E27FC236}">
                <a16:creationId xmlns:a16="http://schemas.microsoft.com/office/drawing/2014/main" id="{FB59590B-C714-5E80-C268-4D49F1AC607A}"/>
              </a:ext>
            </a:extLst>
          </p:cNvPr>
          <p:cNvSpPr txBox="1"/>
          <p:nvPr/>
        </p:nvSpPr>
        <p:spPr>
          <a:xfrm>
            <a:off x="6334408" y="5228338"/>
            <a:ext cx="2124033" cy="438600"/>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FFFFFF"/>
              </a:buClr>
              <a:buSzPts val="1200"/>
              <a:buFont typeface="Arial"/>
              <a:buNone/>
            </a:pPr>
            <a:r>
              <a:rPr lang="en-US" sz="1600" dirty="0">
                <a:solidFill>
                  <a:schemeClr val="accent1"/>
                </a:solidFill>
                <a:latin typeface="+mn-lt"/>
                <a:ea typeface="Public Sans"/>
                <a:cs typeface="Public Sans"/>
                <a:sym typeface="Public Sans"/>
              </a:rPr>
              <a:t>Appendices</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chemeClr val="lt1"/>
              </a:buClr>
              <a:buSzPts val="1200"/>
              <a:buFont typeface="Arial"/>
              <a:buNone/>
            </a:pPr>
            <a:r>
              <a:rPr lang="en-AU" sz="1000" b="0" i="0" u="none" strike="noStrike" cap="none" dirty="0">
                <a:solidFill>
                  <a:schemeClr val="accent1"/>
                </a:solidFill>
                <a:latin typeface="+mn-lt"/>
                <a:ea typeface="Public Sans"/>
                <a:cs typeface="Public Sans"/>
                <a:sym typeface="Public Sans"/>
              </a:rPr>
              <a:t>(page </a:t>
            </a:r>
            <a:r>
              <a:rPr lang="en-AU" sz="1000" dirty="0" smtClean="0">
                <a:solidFill>
                  <a:schemeClr val="accent1"/>
                </a:solidFill>
                <a:ea typeface="Public Sans"/>
                <a:cs typeface="Public Sans"/>
                <a:sym typeface="Public Sans"/>
              </a:rPr>
              <a:t>34-43</a:t>
            </a:r>
            <a:r>
              <a:rPr lang="en-AU" sz="1000" b="0" i="0" u="none" strike="noStrike" cap="none" dirty="0" smtClean="0">
                <a:solidFill>
                  <a:schemeClr val="accent1"/>
                </a:solidFill>
                <a:latin typeface="+mn-lt"/>
                <a:ea typeface="Public Sans"/>
                <a:cs typeface="Public Sans"/>
                <a:sym typeface="Public Sans"/>
              </a:rPr>
              <a:t>)</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endParaRPr sz="1600" b="0" i="0" u="none" strike="noStrike" cap="none" dirty="0">
              <a:solidFill>
                <a:schemeClr val="accent1"/>
              </a:solidFill>
              <a:latin typeface="+mn-lt"/>
              <a:ea typeface="Public Sans"/>
              <a:cs typeface="Public Sans"/>
              <a:sym typeface="Public Sans"/>
            </a:endParaRPr>
          </a:p>
        </p:txBody>
      </p:sp>
      <p:sp>
        <p:nvSpPr>
          <p:cNvPr id="9" name="Google Shape;726;g1231aa6b6f8_0_445">
            <a:extLst>
              <a:ext uri="{FF2B5EF4-FFF2-40B4-BE49-F238E27FC236}">
                <a16:creationId xmlns:a16="http://schemas.microsoft.com/office/drawing/2014/main" id="{4036F21D-EFB2-D959-5DDC-CF796D95C931}"/>
              </a:ext>
            </a:extLst>
          </p:cNvPr>
          <p:cNvSpPr txBox="1"/>
          <p:nvPr/>
        </p:nvSpPr>
        <p:spPr>
          <a:xfrm>
            <a:off x="6305792" y="4186601"/>
            <a:ext cx="1844700" cy="523800"/>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FFFFFF"/>
              </a:buClr>
              <a:buSzPts val="1200"/>
              <a:buFont typeface="Arial"/>
              <a:buNone/>
            </a:pPr>
            <a:r>
              <a:rPr lang="en-AU" sz="6500" b="1" dirty="0">
                <a:solidFill>
                  <a:schemeClr val="accent1"/>
                </a:solidFill>
                <a:latin typeface="+mn-lt"/>
                <a:ea typeface="Public Sans"/>
                <a:cs typeface="Public Sans"/>
                <a:sym typeface="Public Sans"/>
              </a:rPr>
              <a:t>06</a:t>
            </a:r>
            <a:endParaRPr sz="1400" b="0" i="0" u="none" strike="noStrike" cap="none" dirty="0">
              <a:solidFill>
                <a:schemeClr val="accent1"/>
              </a:solidFill>
              <a:latin typeface="+mn-lt"/>
              <a:ea typeface="Public Sans"/>
              <a:cs typeface="Public Sans"/>
              <a:sym typeface="Public Sans"/>
            </a:endParaRPr>
          </a:p>
        </p:txBody>
      </p:sp>
      <p:sp>
        <p:nvSpPr>
          <p:cNvPr id="10" name="Rectangle 9" descr="decorative">
            <a:extLst>
              <a:ext uri="{FF2B5EF4-FFF2-40B4-BE49-F238E27FC236}">
                <a16:creationId xmlns:a16="http://schemas.microsoft.com/office/drawing/2014/main" id="{506DE150-1D8B-1714-58A2-17E33C61C38E}"/>
              </a:ext>
            </a:extLst>
          </p:cNvPr>
          <p:cNvSpPr/>
          <p:nvPr/>
        </p:nvSpPr>
        <p:spPr>
          <a:xfrm flipV="1">
            <a:off x="6334408" y="5150849"/>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dirty="0"/>
          </a:p>
        </p:txBody>
      </p:sp>
    </p:spTree>
    <p:extLst>
      <p:ext uri="{BB962C8B-B14F-4D97-AF65-F5344CB8AC3E}">
        <p14:creationId xmlns:p14="http://schemas.microsoft.com/office/powerpoint/2010/main" val="26152845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5">
            <a:extLst>
              <a:ext uri="{FF2B5EF4-FFF2-40B4-BE49-F238E27FC236}">
                <a16:creationId xmlns:a16="http://schemas.microsoft.com/office/drawing/2014/main" id="{C15C1A66-CA52-4C2E-9E11-026B08CD3488}"/>
              </a:ext>
            </a:extLst>
          </p:cNvPr>
          <p:cNvSpPr txBox="1">
            <a:spLocks/>
          </p:cNvSpPr>
          <p:nvPr/>
        </p:nvSpPr>
        <p:spPr>
          <a:xfrm>
            <a:off x="497626" y="1589210"/>
            <a:ext cx="4574887" cy="4673045"/>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200"/>
              </a:spcBef>
              <a:spcAft>
                <a:spcPts val="200"/>
              </a:spcAft>
              <a:defRPr/>
            </a:pPr>
            <a:r>
              <a:rPr lang="en-US" sz="1100" dirty="0">
                <a:solidFill>
                  <a:srgbClr val="9DC44D"/>
                </a:solidFill>
                <a:latin typeface="Calibri"/>
                <a:cs typeface="Calibri"/>
              </a:rPr>
              <a:t>Our Aspiration</a:t>
            </a:r>
          </a:p>
          <a:p>
            <a:pPr>
              <a:lnSpc>
                <a:spcPct val="100000"/>
              </a:lnSpc>
              <a:spcBef>
                <a:spcPts val="200"/>
              </a:spcBef>
              <a:spcAft>
                <a:spcPts val="200"/>
              </a:spcAft>
              <a:defRPr/>
            </a:pPr>
            <a:r>
              <a:rPr lang="en-US" sz="1000" b="0" dirty="0">
                <a:latin typeface="Calibri"/>
                <a:cs typeface="Calibri"/>
              </a:rPr>
              <a:t>We embrace our passion for our common purpose and commitment to workforce diversity, inclusion, wellbeing (both physical and psychological) and meaning into every aspect of work every day. The diversity of skills and perspectives in our community is key to our effectiveness. </a:t>
            </a:r>
            <a:endParaRPr lang="en-US" sz="1000" b="0" dirty="0">
              <a:latin typeface="Calibri" panose="020F0502020204030204" pitchFamily="34" charset="0"/>
              <a:cs typeface="Calibri"/>
            </a:endParaRPr>
          </a:p>
          <a:p>
            <a:pPr>
              <a:lnSpc>
                <a:spcPct val="100000"/>
              </a:lnSpc>
              <a:spcBef>
                <a:spcPts val="200"/>
              </a:spcBef>
              <a:spcAft>
                <a:spcPts val="200"/>
              </a:spcAft>
              <a:defRPr/>
            </a:pPr>
            <a:r>
              <a:rPr lang="en-US" sz="1000" b="0" dirty="0">
                <a:latin typeface="Calibri"/>
                <a:cs typeface="Calibri"/>
              </a:rPr>
              <a:t>Our workforce is diverse and strengthened by the valuable knowledge and experience we offer. We embrace and celebrate our difference, foster resilience and value the importance of connecting wellbeing, contribution and work. </a:t>
            </a:r>
            <a:endParaRPr lang="en-US" sz="1000" b="0" dirty="0">
              <a:latin typeface="Calibri" panose="020F0502020204030204" pitchFamily="34" charset="0"/>
              <a:cs typeface="Calibri"/>
            </a:endParaRPr>
          </a:p>
          <a:p>
            <a:pPr marR="0" lvl="0" algn="l" defTabSz="914400" rtl="0" eaLnBrk="1" fontAlgn="auto" latinLnBrk="0" hangingPunct="1">
              <a:lnSpc>
                <a:spcPct val="100000"/>
              </a:lnSpc>
              <a:spcBef>
                <a:spcPts val="200"/>
              </a:spcBef>
              <a:spcAft>
                <a:spcPts val="200"/>
              </a:spcAft>
              <a:buClrTx/>
              <a:buSzTx/>
              <a:tabLst/>
              <a:defRPr/>
            </a:pPr>
            <a:r>
              <a:rPr lang="en-US" sz="1000" b="0" dirty="0">
                <a:latin typeface="Calibri" panose="020F0502020204030204"/>
                <a:cs typeface="Calibri Light"/>
              </a:rPr>
              <a:t>We do this by:</a:t>
            </a:r>
          </a:p>
          <a:p>
            <a:pPr marL="171450" indent="-171450">
              <a:lnSpc>
                <a:spcPct val="100000"/>
              </a:lnSpc>
              <a:spcBef>
                <a:spcPts val="200"/>
              </a:spcBef>
              <a:spcAft>
                <a:spcPts val="200"/>
              </a:spcAft>
              <a:buFont typeface="Arial" panose="020B0604020202020204" pitchFamily="34" charset="0"/>
              <a:buChar char="•"/>
              <a:defRPr/>
            </a:pPr>
            <a:r>
              <a:rPr lang="en-US" sz="1000" b="0" dirty="0">
                <a:latin typeface="Calibri" panose="020F0502020204030204"/>
                <a:cs typeface="Calibri Light"/>
              </a:rPr>
              <a:t>being</a:t>
            </a:r>
            <a:r>
              <a:rPr lang="en-US" sz="1000" dirty="0">
                <a:latin typeface="Calibri" panose="020F0502020204030204"/>
                <a:cs typeface="Calibri Light"/>
              </a:rPr>
              <a:t> deliberate in our approach</a:t>
            </a:r>
            <a:r>
              <a:rPr lang="en-US" sz="1000" b="0" dirty="0">
                <a:latin typeface="Calibri" panose="020F0502020204030204"/>
                <a:cs typeface="Calibri Light"/>
              </a:rPr>
              <a:t>, considering diversity and inclusion in everything we do</a:t>
            </a:r>
          </a:p>
          <a:p>
            <a:pPr marL="171450" indent="-171450">
              <a:lnSpc>
                <a:spcPct val="100000"/>
              </a:lnSpc>
              <a:spcBef>
                <a:spcPts val="200"/>
              </a:spcBef>
              <a:spcAft>
                <a:spcPts val="200"/>
              </a:spcAft>
              <a:buFont typeface="Arial" panose="020B0604020202020204" pitchFamily="34" charset="0"/>
              <a:buChar char="•"/>
              <a:defRPr/>
            </a:pPr>
            <a:r>
              <a:rPr lang="en-US" sz="1000" b="0" dirty="0">
                <a:latin typeface="Calibri" panose="020F0502020204030204"/>
                <a:cs typeface="Calibri Light"/>
              </a:rPr>
              <a:t>recognising the importance that </a:t>
            </a:r>
            <a:r>
              <a:rPr lang="en-US" sz="1000" dirty="0">
                <a:latin typeface="Calibri" panose="020F0502020204030204"/>
                <a:cs typeface="Calibri Light"/>
              </a:rPr>
              <a:t>professional lived expertise </a:t>
            </a:r>
            <a:r>
              <a:rPr lang="en-US" sz="1000" b="0" dirty="0">
                <a:latin typeface="Calibri" panose="020F0502020204030204"/>
                <a:cs typeface="Calibri Light"/>
              </a:rPr>
              <a:t>brings to the work we do as well as contributing to organisational culture </a:t>
            </a:r>
          </a:p>
          <a:p>
            <a:pPr marL="171450" indent="-171450">
              <a:lnSpc>
                <a:spcPct val="100000"/>
              </a:lnSpc>
              <a:spcBef>
                <a:spcPts val="200"/>
              </a:spcBef>
              <a:spcAft>
                <a:spcPts val="200"/>
              </a:spcAft>
              <a:buFont typeface="Arial" panose="020B0604020202020204" pitchFamily="34" charset="0"/>
              <a:buChar char="•"/>
              <a:defRPr/>
            </a:pPr>
            <a:r>
              <a:rPr lang="en-US" sz="1000" dirty="0">
                <a:latin typeface="Calibri" panose="020F0502020204030204"/>
                <a:cs typeface="Calibri Light"/>
              </a:rPr>
              <a:t>improving access and inclusion of people with disability</a:t>
            </a:r>
            <a:r>
              <a:rPr lang="en-US" sz="1000" b="0" dirty="0">
                <a:latin typeface="Calibri" panose="020F0502020204030204"/>
                <a:cs typeface="Calibri Light"/>
              </a:rPr>
              <a:t>, striving to be an Employer of Choice</a:t>
            </a:r>
          </a:p>
          <a:p>
            <a:pPr marL="171450" indent="-171450">
              <a:lnSpc>
                <a:spcPct val="100000"/>
              </a:lnSpc>
              <a:spcBef>
                <a:spcPts val="200"/>
              </a:spcBef>
              <a:spcAft>
                <a:spcPts val="200"/>
              </a:spcAft>
              <a:buFont typeface="Arial" panose="020B0604020202020204" pitchFamily="34" charset="0"/>
              <a:buChar char="•"/>
              <a:defRPr/>
            </a:pPr>
            <a:r>
              <a:rPr lang="en-US" sz="1000" b="0" dirty="0">
                <a:latin typeface="Calibri" panose="020F0502020204030204"/>
                <a:cs typeface="Calibri Light"/>
              </a:rPr>
              <a:t>investing in </a:t>
            </a:r>
            <a:r>
              <a:rPr lang="en-US" sz="1000" dirty="0">
                <a:latin typeface="Calibri" panose="020F0502020204030204"/>
                <a:cs typeface="Calibri Light"/>
              </a:rPr>
              <a:t>work environments and work design </a:t>
            </a:r>
            <a:r>
              <a:rPr lang="en-US" sz="1000" b="0" dirty="0">
                <a:latin typeface="Calibri" panose="020F0502020204030204"/>
                <a:cs typeface="Calibri Light"/>
              </a:rPr>
              <a:t>that is safe, accessible, flexible, inclusive, supportive and caring, </a:t>
            </a:r>
            <a:r>
              <a:rPr lang="en-US" sz="1000" b="0" dirty="0">
                <a:latin typeface="Calibri" panose="020F0502020204030204"/>
              </a:rPr>
              <a:t>enabling the workforce, encouraging desired behaviors and supporting new ways of working</a:t>
            </a:r>
            <a:endParaRPr lang="en-US" sz="1000" b="0" dirty="0">
              <a:latin typeface="Calibri" panose="020F0502020204030204"/>
              <a:cs typeface="Calibri"/>
            </a:endParaRPr>
          </a:p>
          <a:p>
            <a:pPr marL="171450" indent="-171450">
              <a:lnSpc>
                <a:spcPct val="100000"/>
              </a:lnSpc>
              <a:spcBef>
                <a:spcPts val="200"/>
              </a:spcBef>
              <a:spcAft>
                <a:spcPts val="200"/>
              </a:spcAft>
              <a:buFont typeface="Arial" panose="020B0604020202020204" pitchFamily="34" charset="0"/>
              <a:buChar char="•"/>
              <a:defRPr/>
            </a:pPr>
            <a:r>
              <a:rPr lang="en-US" sz="1000" dirty="0">
                <a:latin typeface="Calibri" panose="020F0502020204030204"/>
                <a:cs typeface="Calibri Light"/>
              </a:rPr>
              <a:t>embracing a geographically distributed, modern workforce </a:t>
            </a:r>
            <a:r>
              <a:rPr lang="en-US" sz="1000" b="0" dirty="0">
                <a:latin typeface="Calibri" panose="020F0502020204030204"/>
                <a:cs typeface="Calibri Light"/>
              </a:rPr>
              <a:t>bridging the physical and digital divide</a:t>
            </a:r>
          </a:p>
          <a:p>
            <a:pPr marL="171450" marR="0" lvl="0" indent="-171450" fontAlgn="auto">
              <a:lnSpc>
                <a:spcPct val="100000"/>
              </a:lnSpc>
              <a:spcBef>
                <a:spcPts val="200"/>
              </a:spcBef>
              <a:spcAft>
                <a:spcPts val="200"/>
              </a:spcAft>
              <a:buClrTx/>
              <a:buSzTx/>
              <a:buFont typeface="Arial" panose="020B0604020202020204" pitchFamily="34" charset="0"/>
              <a:buChar char="•"/>
              <a:tabLst/>
              <a:defRPr/>
            </a:pPr>
            <a:r>
              <a:rPr lang="en-US" sz="1000" dirty="0">
                <a:latin typeface="Calibri" panose="020F0502020204030204"/>
                <a:cs typeface="Calibri Light"/>
              </a:rPr>
              <a:t>equipping leaders and staff with tools and techniques </a:t>
            </a:r>
            <a:r>
              <a:rPr lang="en-US" sz="1000" b="0" dirty="0">
                <a:latin typeface="Calibri" panose="020F0502020204030204"/>
                <a:cs typeface="Calibri Light"/>
              </a:rPr>
              <a:t>to enhance team and individual resilience, mental health and psychological safety day to day</a:t>
            </a:r>
          </a:p>
          <a:p>
            <a:pPr marL="171450" marR="0" lvl="0" indent="-171450" fontAlgn="auto">
              <a:lnSpc>
                <a:spcPct val="100000"/>
              </a:lnSpc>
              <a:spcBef>
                <a:spcPts val="200"/>
              </a:spcBef>
              <a:spcAft>
                <a:spcPts val="200"/>
              </a:spcAft>
              <a:buClrTx/>
              <a:buSzTx/>
              <a:buFont typeface="Arial" panose="020B0604020202020204" pitchFamily="34" charset="0"/>
              <a:buChar char="•"/>
              <a:tabLst/>
              <a:defRPr/>
            </a:pPr>
            <a:r>
              <a:rPr lang="en-US" sz="1000" b="0" dirty="0">
                <a:latin typeface="Calibri" panose="020F0502020204030204"/>
                <a:cs typeface="Calibri Light"/>
              </a:rPr>
              <a:t>leaders and individuals working in partnership to balance </a:t>
            </a:r>
            <a:r>
              <a:rPr lang="en-US" sz="1000" dirty="0">
                <a:latin typeface="Calibri" panose="020F0502020204030204"/>
                <a:cs typeface="Calibri Light"/>
              </a:rPr>
              <a:t>personal accountability and responsibility for self-care</a:t>
            </a:r>
          </a:p>
          <a:p>
            <a:pPr marL="171450" indent="-171450">
              <a:lnSpc>
                <a:spcPct val="100000"/>
              </a:lnSpc>
              <a:spcBef>
                <a:spcPts val="200"/>
              </a:spcBef>
              <a:spcAft>
                <a:spcPts val="200"/>
              </a:spcAft>
              <a:buFont typeface="Arial" panose="020B0604020202020204" pitchFamily="34" charset="0"/>
              <a:buChar char="•"/>
              <a:defRPr/>
            </a:pPr>
            <a:r>
              <a:rPr lang="en-US" sz="1000" b="0" dirty="0">
                <a:latin typeface="Calibri" panose="020F0502020204030204"/>
                <a:cs typeface="Calibri Light"/>
              </a:rPr>
              <a:t>aligning all we do to </a:t>
            </a:r>
            <a:r>
              <a:rPr lang="en-US" sz="1000" dirty="0">
                <a:latin typeface="Calibri" panose="020F0502020204030204"/>
                <a:cs typeface="Calibri Light"/>
              </a:rPr>
              <a:t>our culture principles, </a:t>
            </a:r>
            <a:r>
              <a:rPr lang="en-US" sz="1000" b="0" dirty="0">
                <a:latin typeface="Calibri" panose="020F0502020204030204"/>
                <a:cs typeface="Calibri Light"/>
              </a:rPr>
              <a:t>demonstrating how we value our people, drawing on different perspectives, voices and input</a:t>
            </a:r>
          </a:p>
          <a:p>
            <a:pPr marR="0" lvl="0" defTabSz="914400" rtl="0" eaLnBrk="1" fontAlgn="auto" latinLnBrk="0" hangingPunct="1">
              <a:lnSpc>
                <a:spcPct val="100000"/>
              </a:lnSpc>
              <a:spcBef>
                <a:spcPts val="200"/>
              </a:spcBef>
              <a:spcAft>
                <a:spcPts val="200"/>
              </a:spcAft>
              <a:buClrTx/>
              <a:buSzTx/>
              <a:tabLst/>
              <a:defRPr/>
            </a:pPr>
            <a:endParaRPr lang="en-AU" sz="1000" b="0" i="0" u="none" strike="noStrike" kern="1200" cap="none" spc="0" normalizeH="0" baseline="0" noProof="0" dirty="0">
              <a:ln>
                <a:noFill/>
              </a:ln>
              <a:solidFill>
                <a:schemeClr val="bg2">
                  <a:lumMod val="10000"/>
                </a:schemeClr>
              </a:solidFill>
              <a:effectLst/>
              <a:uLnTx/>
              <a:uFillTx/>
              <a:latin typeface="Calibri" panose="020F0502020204030204"/>
              <a:cs typeface="Calibri"/>
            </a:endParaRPr>
          </a:p>
          <a:p>
            <a:pPr marL="171450" indent="-171450">
              <a:lnSpc>
                <a:spcPct val="100000"/>
              </a:lnSpc>
              <a:spcBef>
                <a:spcPts val="200"/>
              </a:spcBef>
              <a:spcAft>
                <a:spcPts val="200"/>
              </a:spcAft>
              <a:buFont typeface="Arial" panose="020B0604020202020204" pitchFamily="34" charset="0"/>
              <a:buChar char="•"/>
              <a:defRPr/>
            </a:pPr>
            <a:endParaRPr lang="en-AU" sz="1000" b="0" dirty="0">
              <a:latin typeface="Calibri" panose="020F0502020204030204"/>
              <a:cs typeface="Calibri Light"/>
            </a:endParaRPr>
          </a:p>
          <a:p>
            <a:pPr marL="171450" indent="-171450">
              <a:lnSpc>
                <a:spcPct val="100000"/>
              </a:lnSpc>
              <a:spcBef>
                <a:spcPts val="200"/>
              </a:spcBef>
              <a:spcAft>
                <a:spcPts val="200"/>
              </a:spcAft>
              <a:buFont typeface="Arial" panose="020B0604020202020204" pitchFamily="34" charset="0"/>
              <a:buChar char="•"/>
              <a:defRPr/>
            </a:pPr>
            <a:endParaRPr lang="en-AU" sz="1000" b="0" dirty="0">
              <a:solidFill>
                <a:schemeClr val="bg2">
                  <a:lumMod val="10000"/>
                </a:schemeClr>
              </a:solidFill>
              <a:cs typeface="Calibri"/>
            </a:endParaRPr>
          </a:p>
          <a:p>
            <a:pPr marR="0" lvl="0" defTabSz="914400" rtl="0" eaLnBrk="1" fontAlgn="auto" latinLnBrk="0" hangingPunct="1">
              <a:lnSpc>
                <a:spcPct val="100000"/>
              </a:lnSpc>
              <a:spcBef>
                <a:spcPts val="200"/>
              </a:spcBef>
              <a:spcAft>
                <a:spcPts val="200"/>
              </a:spcAft>
              <a:buClrTx/>
              <a:buSzTx/>
              <a:tabLst/>
              <a:defRPr/>
            </a:pPr>
            <a:endParaRPr lang="en-AU" sz="1000" b="0" i="0" u="none" strike="noStrike" kern="1200" cap="none" spc="0" normalizeH="0" baseline="0" noProof="0" dirty="0">
              <a:ln>
                <a:noFill/>
              </a:ln>
              <a:solidFill>
                <a:schemeClr val="bg2">
                  <a:lumMod val="10000"/>
                </a:schemeClr>
              </a:solidFill>
              <a:effectLst/>
              <a:uLnTx/>
              <a:uFillTx/>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i="0" u="none" strike="noStrike" kern="1200" cap="none" spc="0" normalizeH="0" baseline="0" noProof="0" dirty="0">
              <a:ln>
                <a:noFill/>
              </a:ln>
              <a:effectLst/>
              <a:uLnTx/>
              <a:uFillTx/>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17847" y="169855"/>
            <a:ext cx="6992824" cy="1376364"/>
          </a:xfrm>
        </p:spPr>
        <p:txBody>
          <a:bodyPr>
            <a:noAutofit/>
          </a:bodyPr>
          <a:lstStyle/>
          <a:p>
            <a:r>
              <a:rPr lang="en-US" dirty="0">
                <a:solidFill>
                  <a:schemeClr val="accent6"/>
                </a:solidFill>
              </a:rPr>
              <a:t>Pillar: Diversity, Inclusion and Wellbeing</a:t>
            </a:r>
            <a:r>
              <a:rPr lang="en-US" dirty="0">
                <a:solidFill>
                  <a:schemeClr val="tx2"/>
                </a:solidFill>
              </a:rPr>
              <a:t> </a:t>
            </a:r>
            <a:endParaRPr lang="en-AU" dirty="0">
              <a:solidFill>
                <a:schemeClr val="tx2"/>
              </a:solidFill>
            </a:endParaRPr>
          </a:p>
        </p:txBody>
      </p:sp>
      <p:sp>
        <p:nvSpPr>
          <p:cNvPr id="25" name="Content Placeholder 5">
            <a:extLst>
              <a:ext uri="{FF2B5EF4-FFF2-40B4-BE49-F238E27FC236}">
                <a16:creationId xmlns:a16="http://schemas.microsoft.com/office/drawing/2014/main" id="{39389F11-5654-4E61-A675-3DF6645AA889}"/>
              </a:ext>
            </a:extLst>
          </p:cNvPr>
          <p:cNvSpPr txBox="1">
            <a:spLocks/>
          </p:cNvSpPr>
          <p:nvPr/>
        </p:nvSpPr>
        <p:spPr>
          <a:xfrm>
            <a:off x="5261435" y="1581272"/>
            <a:ext cx="3150755" cy="291600"/>
          </a:xfrm>
          <a:prstGeom prst="rect">
            <a:avLst/>
          </a:prstGeom>
          <a:solidFill>
            <a:schemeClr val="accent6"/>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200" dirty="0">
                <a:solidFill>
                  <a:schemeClr val="bg1"/>
                </a:solidFill>
              </a:rPr>
              <a:t>Outcomes </a:t>
            </a:r>
          </a:p>
        </p:txBody>
      </p:sp>
      <p:sp>
        <p:nvSpPr>
          <p:cNvPr id="26" name="Content Placeholder 5">
            <a:extLst>
              <a:ext uri="{FF2B5EF4-FFF2-40B4-BE49-F238E27FC236}">
                <a16:creationId xmlns:a16="http://schemas.microsoft.com/office/drawing/2014/main" id="{448B81D1-AC25-4331-97B0-A4B77F9B9BF5}"/>
              </a:ext>
            </a:extLst>
          </p:cNvPr>
          <p:cNvSpPr txBox="1">
            <a:spLocks/>
          </p:cNvSpPr>
          <p:nvPr/>
        </p:nvSpPr>
        <p:spPr>
          <a:xfrm>
            <a:off x="5261435" y="1907768"/>
            <a:ext cx="3139616" cy="3823236"/>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42925" indent="0">
              <a:spcBef>
                <a:spcPts val="600"/>
              </a:spcBef>
              <a:spcAft>
                <a:spcPts val="600"/>
              </a:spcAft>
              <a:buClrTx/>
              <a:buNone/>
              <a:tabLst/>
              <a:defRPr/>
            </a:pPr>
            <a:r>
              <a:rPr lang="en-AU" sz="1000" b="0" dirty="0">
                <a:solidFill>
                  <a:schemeClr val="tx1"/>
                </a:solidFill>
              </a:rPr>
              <a:t>Attract, recruit and retain a diverse workforce supply in a highly competitive market, to meet increasing demand (capacity), recruiting talent from different markets with the skills (capability) we need to uphold the rights of NDIS participants, elevate quality and safety and enable consumer independence</a:t>
            </a:r>
            <a:endParaRPr lang="en-AU" sz="1000" b="0" dirty="0">
              <a:solidFill>
                <a:schemeClr val="tx1"/>
              </a:solidFill>
              <a:cs typeface="Calibri"/>
            </a:endParaRPr>
          </a:p>
          <a:p>
            <a:pPr marL="542925" indent="0">
              <a:spcBef>
                <a:spcPts val="600"/>
              </a:spcBef>
              <a:spcAft>
                <a:spcPts val="600"/>
              </a:spcAft>
              <a:buClrTx/>
              <a:buNone/>
              <a:tabLst/>
              <a:defRPr/>
            </a:pPr>
            <a:r>
              <a:rPr lang="en-AU" sz="1000" b="0" dirty="0">
                <a:solidFill>
                  <a:schemeClr val="tx1"/>
                </a:solidFill>
              </a:rPr>
              <a:t>Practical </a:t>
            </a:r>
            <a:r>
              <a:rPr lang="en-US" sz="1000" b="0" dirty="0">
                <a:solidFill>
                  <a:schemeClr val="tx1"/>
                </a:solidFill>
              </a:rPr>
              <a:t>and impactful action for lasting change including </a:t>
            </a:r>
            <a:r>
              <a:rPr lang="en-AU" sz="1000" b="0" dirty="0">
                <a:solidFill>
                  <a:schemeClr val="tx1"/>
                </a:solidFill>
              </a:rPr>
              <a:t>increased workforce representation from diverse backgrounds and experiences</a:t>
            </a:r>
            <a:endParaRPr lang="en-AU" sz="1000" b="0" dirty="0">
              <a:solidFill>
                <a:schemeClr val="tx1"/>
              </a:solidFill>
              <a:cs typeface="Calibri"/>
            </a:endParaRPr>
          </a:p>
          <a:p>
            <a:pPr marL="542925" indent="0">
              <a:spcBef>
                <a:spcPts val="600"/>
              </a:spcBef>
              <a:spcAft>
                <a:spcPts val="600"/>
              </a:spcAft>
              <a:buClrTx/>
              <a:buNone/>
              <a:tabLst/>
              <a:defRPr/>
            </a:pPr>
            <a:r>
              <a:rPr lang="en-AU" sz="1000" b="0" dirty="0">
                <a:solidFill>
                  <a:schemeClr val="tx1"/>
                </a:solidFill>
              </a:rPr>
              <a:t>We strive to enhance diversity, inclusion and wellbeing including being an Employer of Choice, a top performer in the Access and Inclusion Index, and attractive employer in the market for people with disability</a:t>
            </a:r>
            <a:endParaRPr lang="en-AU" sz="1000" b="0" dirty="0">
              <a:solidFill>
                <a:schemeClr val="tx1"/>
              </a:solidFill>
              <a:cs typeface="Calibri"/>
            </a:endParaRPr>
          </a:p>
          <a:p>
            <a:pPr marL="542925" indent="0">
              <a:spcBef>
                <a:spcPts val="600"/>
              </a:spcBef>
              <a:spcAft>
                <a:spcPts val="600"/>
              </a:spcAft>
              <a:buClrTx/>
              <a:buNone/>
              <a:tabLst/>
              <a:defRPr/>
            </a:pPr>
            <a:r>
              <a:rPr lang="en-US" sz="1000" b="0" dirty="0">
                <a:solidFill>
                  <a:schemeClr val="tx1"/>
                </a:solidFill>
              </a:rPr>
              <a:t>In partnership, leaders and workers build capability, enhance engagement and combat the risk of burnout</a:t>
            </a:r>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endParaRPr lang="en-AU" sz="1000" dirty="0">
              <a:cs typeface="Calibri"/>
            </a:endParaRPr>
          </a:p>
        </p:txBody>
      </p:sp>
      <p:pic>
        <p:nvPicPr>
          <p:cNvPr id="17" name="Graphic 16" descr="decorative">
            <a:extLst>
              <a:ext uri="{FF2B5EF4-FFF2-40B4-BE49-F238E27FC236}">
                <a16:creationId xmlns:a16="http://schemas.microsoft.com/office/drawing/2014/main" id="{1F61CDC3-8E20-4B13-BD07-76551B448284}"/>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8772937" y="5494133"/>
            <a:ext cx="3139616" cy="1011442"/>
          </a:xfrm>
          <a:prstGeom prst="rect">
            <a:avLst/>
          </a:prstGeom>
        </p:spPr>
      </p:pic>
      <p:pic>
        <p:nvPicPr>
          <p:cNvPr id="18" name="Graphic 17" descr="decorative">
            <a:extLst>
              <a:ext uri="{FF2B5EF4-FFF2-40B4-BE49-F238E27FC236}">
                <a16:creationId xmlns:a16="http://schemas.microsoft.com/office/drawing/2014/main" id="{3E018D77-7744-449B-8EF5-2B3D487D785D}"/>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8627673" y="3840210"/>
            <a:ext cx="3168796" cy="1338531"/>
          </a:xfrm>
          <a:prstGeom prst="rect">
            <a:avLst/>
          </a:prstGeom>
        </p:spPr>
      </p:pic>
      <p:sp>
        <p:nvSpPr>
          <p:cNvPr id="19" name="Content Placeholder 5">
            <a:extLst>
              <a:ext uri="{FF2B5EF4-FFF2-40B4-BE49-F238E27FC236}">
                <a16:creationId xmlns:a16="http://schemas.microsoft.com/office/drawing/2014/main" id="{ECD3064E-D784-4436-B3A7-3DD0D867E590}"/>
              </a:ext>
            </a:extLst>
          </p:cNvPr>
          <p:cNvSpPr txBox="1">
            <a:spLocks/>
          </p:cNvSpPr>
          <p:nvPr/>
        </p:nvSpPr>
        <p:spPr>
          <a:xfrm>
            <a:off x="8554755" y="1591963"/>
            <a:ext cx="3139616" cy="291600"/>
          </a:xfrm>
          <a:prstGeom prst="rect">
            <a:avLst/>
          </a:prstGeom>
          <a:solidFill>
            <a:schemeClr val="accent6"/>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looks like … </a:t>
            </a:r>
            <a:endParaRPr lang="en-AU" sz="1100" dirty="0">
              <a:solidFill>
                <a:schemeClr val="bg1"/>
              </a:solidFill>
              <a:cs typeface="Calibri"/>
            </a:endParaRPr>
          </a:p>
        </p:txBody>
      </p:sp>
      <p:pic>
        <p:nvPicPr>
          <p:cNvPr id="21" name="Graphic 20" descr="decorative">
            <a:extLst>
              <a:ext uri="{FF2B5EF4-FFF2-40B4-BE49-F238E27FC236}">
                <a16:creationId xmlns:a16="http://schemas.microsoft.com/office/drawing/2014/main" id="{70722827-C854-4C3C-B646-9A4F25B3E8AD}"/>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flipH="1">
            <a:off x="8554755" y="2078171"/>
            <a:ext cx="3168796" cy="1201529"/>
          </a:xfrm>
          <a:prstGeom prst="rect">
            <a:avLst/>
          </a:prstGeom>
        </p:spPr>
      </p:pic>
      <p:sp>
        <p:nvSpPr>
          <p:cNvPr id="24" name="TextBox 23">
            <a:extLst>
              <a:ext uri="{FF2B5EF4-FFF2-40B4-BE49-F238E27FC236}">
                <a16:creationId xmlns:a16="http://schemas.microsoft.com/office/drawing/2014/main" id="{6877657A-69EE-4324-A62A-9893756A4247}"/>
              </a:ext>
            </a:extLst>
          </p:cNvPr>
          <p:cNvSpPr txBox="1"/>
          <p:nvPr/>
        </p:nvSpPr>
        <p:spPr>
          <a:xfrm>
            <a:off x="8631082" y="2185147"/>
            <a:ext cx="3083703" cy="869469"/>
          </a:xfrm>
          <a:prstGeom prst="rect">
            <a:avLst/>
          </a:prstGeom>
          <a:noFill/>
        </p:spPr>
        <p:txBody>
          <a:bodyPr wrap="square" lIns="91440" tIns="45720" rIns="91440" bIns="45720" rtlCol="0" anchor="t">
            <a:spAutoFit/>
          </a:bodyPr>
          <a:lstStyle/>
          <a:p>
            <a:r>
              <a:rPr lang="en-AU" sz="1000" dirty="0"/>
              <a:t>“I recently had the opportunity to join the Commission as part of the Stepping Into Internship Program. I had a great experience and was able to meaningful contribute to delivering better outcomes for participants.”</a:t>
            </a:r>
          </a:p>
          <a:p>
            <a:endParaRPr lang="en-AU" sz="1050" dirty="0"/>
          </a:p>
        </p:txBody>
      </p:sp>
      <p:sp>
        <p:nvSpPr>
          <p:cNvPr id="29" name="TextBox 28">
            <a:extLst>
              <a:ext uri="{FF2B5EF4-FFF2-40B4-BE49-F238E27FC236}">
                <a16:creationId xmlns:a16="http://schemas.microsoft.com/office/drawing/2014/main" id="{AA5FD71B-95D6-4E2F-8E86-5BECB396F473}"/>
              </a:ext>
            </a:extLst>
          </p:cNvPr>
          <p:cNvSpPr txBox="1"/>
          <p:nvPr/>
        </p:nvSpPr>
        <p:spPr>
          <a:xfrm>
            <a:off x="9258797" y="5591726"/>
            <a:ext cx="2440505" cy="861774"/>
          </a:xfrm>
          <a:prstGeom prst="rect">
            <a:avLst/>
          </a:prstGeom>
          <a:noFill/>
        </p:spPr>
        <p:txBody>
          <a:bodyPr wrap="square" lIns="91440" tIns="45720" rIns="91440" bIns="45720" rtlCol="0" anchor="t">
            <a:spAutoFit/>
          </a:bodyPr>
          <a:lstStyle/>
          <a:p>
            <a:r>
              <a:rPr lang="en-AU" sz="1000" dirty="0"/>
              <a:t>The workplace wellbeing program has been a great opportunity to connect with my peers and leaders, to focus on practical actions I can take to practice self-care and build resilience.”  </a:t>
            </a:r>
            <a:endParaRPr lang="en-AU" sz="1000" dirty="0">
              <a:cs typeface="Calibri"/>
            </a:endParaRPr>
          </a:p>
        </p:txBody>
      </p:sp>
      <p:sp>
        <p:nvSpPr>
          <p:cNvPr id="30" name="TextBox 29">
            <a:extLst>
              <a:ext uri="{FF2B5EF4-FFF2-40B4-BE49-F238E27FC236}">
                <a16:creationId xmlns:a16="http://schemas.microsoft.com/office/drawing/2014/main" id="{CC4DF102-410D-45DD-AD9F-37BB87AAD12F}"/>
              </a:ext>
            </a:extLst>
          </p:cNvPr>
          <p:cNvSpPr txBox="1"/>
          <p:nvPr/>
        </p:nvSpPr>
        <p:spPr>
          <a:xfrm>
            <a:off x="8713585" y="3955427"/>
            <a:ext cx="2835227" cy="950216"/>
          </a:xfrm>
          <a:prstGeom prst="rect">
            <a:avLst/>
          </a:prstGeom>
          <a:noFill/>
        </p:spPr>
        <p:txBody>
          <a:bodyPr wrap="square" lIns="91440" tIns="45720" rIns="91440" bIns="45720" rtlCol="0" anchor="t">
            <a:noAutofit/>
          </a:bodyPr>
          <a:lstStyle/>
          <a:p>
            <a:r>
              <a:rPr lang="en-AU" sz="1000" dirty="0"/>
              <a:t>“I live in regional Australia, I recently saw a role advertised with the Commission and alongside my passion for the work they do, I was drawn to the flexibility including hybrid work. I intend to apply for the role.”</a:t>
            </a:r>
            <a:endParaRPr lang="en-AU" sz="1000" dirty="0">
              <a:cs typeface="Calibri"/>
            </a:endParaRPr>
          </a:p>
        </p:txBody>
      </p:sp>
      <p:sp>
        <p:nvSpPr>
          <p:cNvPr id="3" name="Rectangle 2">
            <a:extLst>
              <a:ext uri="{FF2B5EF4-FFF2-40B4-BE49-F238E27FC236}">
                <a16:creationId xmlns:a16="http://schemas.microsoft.com/office/drawing/2014/main" id="{67C057B3-7885-45F5-9878-F2C500F0F3E0}"/>
              </a:ext>
            </a:extLst>
          </p:cNvPr>
          <p:cNvSpPr/>
          <p:nvPr/>
        </p:nvSpPr>
        <p:spPr>
          <a:xfrm>
            <a:off x="5266321" y="2008901"/>
            <a:ext cx="585574" cy="3717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46" name="Picture 45">
            <a:extLst>
              <a:ext uri="{FF2B5EF4-FFF2-40B4-BE49-F238E27FC236}">
                <a16:creationId xmlns:a16="http://schemas.microsoft.com/office/drawing/2014/main" id="{E222D1CF-C50C-4B7D-B43F-4D076ABB37E7}"/>
              </a:ext>
            </a:extLst>
          </p:cNvPr>
          <p:cNvPicPr>
            <a:picLocks noChangeAspect="1"/>
          </p:cNvPicPr>
          <p:nvPr/>
        </p:nvPicPr>
        <p:blipFill>
          <a:blip r:embed="rId9"/>
          <a:stretch>
            <a:fillRect/>
          </a:stretch>
        </p:blipFill>
        <p:spPr>
          <a:xfrm>
            <a:off x="376947" y="469356"/>
            <a:ext cx="991311" cy="824353"/>
          </a:xfrm>
          <a:prstGeom prst="rect">
            <a:avLst/>
          </a:prstGeom>
        </p:spPr>
      </p:pic>
      <p:pic>
        <p:nvPicPr>
          <p:cNvPr id="53" name="Graphic 19" descr="decorative">
            <a:extLst>
              <a:ext uri="{FF2B5EF4-FFF2-40B4-BE49-F238E27FC236}">
                <a16:creationId xmlns:a16="http://schemas.microsoft.com/office/drawing/2014/main" id="{6EF401D4-60EB-4E7A-9D91-708953429EB0}"/>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9520452" y="2872131"/>
            <a:ext cx="691619" cy="781529"/>
          </a:xfrm>
          <a:prstGeom prst="rect">
            <a:avLst/>
          </a:prstGeom>
        </p:spPr>
      </p:pic>
      <p:pic>
        <p:nvPicPr>
          <p:cNvPr id="54" name="Graphic 53" descr="decorative">
            <a:extLst>
              <a:ext uri="{FF2B5EF4-FFF2-40B4-BE49-F238E27FC236}">
                <a16:creationId xmlns:a16="http://schemas.microsoft.com/office/drawing/2014/main" id="{CD0DD49E-A10D-41BD-8A55-8AF3042A0F15}"/>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11111919" y="4634614"/>
            <a:ext cx="684550" cy="727959"/>
          </a:xfrm>
          <a:prstGeom prst="rect">
            <a:avLst/>
          </a:prstGeom>
        </p:spPr>
      </p:pic>
      <p:pic>
        <p:nvPicPr>
          <p:cNvPr id="55" name="Graphic 54" descr="decorative">
            <a:extLst>
              <a:ext uri="{FF2B5EF4-FFF2-40B4-BE49-F238E27FC236}">
                <a16:creationId xmlns:a16="http://schemas.microsoft.com/office/drawing/2014/main" id="{7A4C17F6-62C2-4DAE-BE9F-8727F846DA6F}"/>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8530023" y="5661449"/>
            <a:ext cx="619182" cy="724824"/>
          </a:xfrm>
          <a:prstGeom prst="rect">
            <a:avLst/>
          </a:prstGeom>
        </p:spPr>
      </p:pic>
      <p:sp>
        <p:nvSpPr>
          <p:cNvPr id="56" name="Google Shape;2951;p224">
            <a:extLst>
              <a:ext uri="{FF2B5EF4-FFF2-40B4-BE49-F238E27FC236}">
                <a16:creationId xmlns:a16="http://schemas.microsoft.com/office/drawing/2014/main" id="{14E03097-6B62-4DB1-A886-8984E81F5987}"/>
              </a:ext>
            </a:extLst>
          </p:cNvPr>
          <p:cNvSpPr/>
          <p:nvPr/>
        </p:nvSpPr>
        <p:spPr>
          <a:xfrm>
            <a:off x="5307999" y="4774151"/>
            <a:ext cx="452558" cy="453844"/>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accent6"/>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2250" dirty="0">
              <a:solidFill>
                <a:schemeClr val="dk1"/>
              </a:solidFill>
              <a:latin typeface="Arial"/>
              <a:ea typeface="Arial"/>
              <a:cs typeface="Arial"/>
              <a:sym typeface="Arial"/>
            </a:endParaRPr>
          </a:p>
        </p:txBody>
      </p:sp>
      <p:sp>
        <p:nvSpPr>
          <p:cNvPr id="57" name="Google Shape;2974;p224">
            <a:extLst>
              <a:ext uri="{FF2B5EF4-FFF2-40B4-BE49-F238E27FC236}">
                <a16:creationId xmlns:a16="http://schemas.microsoft.com/office/drawing/2014/main" id="{85376DE3-36F7-4F35-B283-4BA1CE40CFBD}"/>
              </a:ext>
            </a:extLst>
          </p:cNvPr>
          <p:cNvSpPr/>
          <p:nvPr/>
        </p:nvSpPr>
        <p:spPr>
          <a:xfrm>
            <a:off x="5312511" y="3155404"/>
            <a:ext cx="452558" cy="45255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9" y="475"/>
                </a:moveTo>
                <a:cubicBezTo>
                  <a:pt x="213" y="418"/>
                  <a:pt x="182" y="376"/>
                  <a:pt x="139" y="355"/>
                </a:cubicBezTo>
                <a:cubicBezTo>
                  <a:pt x="128" y="349"/>
                  <a:pt x="128" y="349"/>
                  <a:pt x="128" y="349"/>
                </a:cubicBezTo>
                <a:cubicBezTo>
                  <a:pt x="118" y="372"/>
                  <a:pt x="118" y="372"/>
                  <a:pt x="118" y="372"/>
                </a:cubicBezTo>
                <a:cubicBezTo>
                  <a:pt x="79" y="304"/>
                  <a:pt x="79" y="304"/>
                  <a:pt x="79" y="304"/>
                </a:cubicBezTo>
                <a:cubicBezTo>
                  <a:pt x="156" y="280"/>
                  <a:pt x="156" y="280"/>
                  <a:pt x="156" y="280"/>
                </a:cubicBezTo>
                <a:cubicBezTo>
                  <a:pt x="146" y="302"/>
                  <a:pt x="146" y="302"/>
                  <a:pt x="146" y="302"/>
                </a:cubicBezTo>
                <a:cubicBezTo>
                  <a:pt x="159" y="307"/>
                  <a:pt x="159" y="307"/>
                  <a:pt x="159" y="307"/>
                </a:cubicBezTo>
                <a:cubicBezTo>
                  <a:pt x="159" y="307"/>
                  <a:pt x="241" y="336"/>
                  <a:pt x="276" y="444"/>
                </a:cubicBezTo>
                <a:cubicBezTo>
                  <a:pt x="267" y="474"/>
                  <a:pt x="262" y="510"/>
                  <a:pt x="262" y="552"/>
                </a:cubicBezTo>
                <a:cubicBezTo>
                  <a:pt x="242" y="552"/>
                  <a:pt x="242" y="552"/>
                  <a:pt x="242" y="552"/>
                </a:cubicBezTo>
                <a:cubicBezTo>
                  <a:pt x="241" y="542"/>
                  <a:pt x="240" y="511"/>
                  <a:pt x="229" y="475"/>
                </a:cubicBezTo>
                <a:close/>
                <a:moveTo>
                  <a:pt x="242" y="166"/>
                </a:moveTo>
                <a:cubicBezTo>
                  <a:pt x="287" y="104"/>
                  <a:pt x="287" y="104"/>
                  <a:pt x="287" y="104"/>
                </a:cubicBezTo>
                <a:cubicBezTo>
                  <a:pt x="332" y="166"/>
                  <a:pt x="332" y="166"/>
                  <a:pt x="332" y="166"/>
                </a:cubicBezTo>
                <a:cubicBezTo>
                  <a:pt x="309" y="166"/>
                  <a:pt x="309" y="166"/>
                  <a:pt x="309" y="166"/>
                </a:cubicBezTo>
                <a:cubicBezTo>
                  <a:pt x="309" y="371"/>
                  <a:pt x="309" y="371"/>
                  <a:pt x="309" y="371"/>
                </a:cubicBezTo>
                <a:cubicBezTo>
                  <a:pt x="302" y="382"/>
                  <a:pt x="295" y="395"/>
                  <a:pt x="289" y="409"/>
                </a:cubicBezTo>
                <a:cubicBezTo>
                  <a:pt x="282" y="392"/>
                  <a:pt x="274" y="377"/>
                  <a:pt x="265" y="364"/>
                </a:cubicBezTo>
                <a:cubicBezTo>
                  <a:pt x="265" y="166"/>
                  <a:pt x="265" y="166"/>
                  <a:pt x="265" y="166"/>
                </a:cubicBezTo>
                <a:lnTo>
                  <a:pt x="242" y="166"/>
                </a:lnTo>
                <a:close/>
                <a:moveTo>
                  <a:pt x="423" y="280"/>
                </a:moveTo>
                <a:cubicBezTo>
                  <a:pt x="500" y="304"/>
                  <a:pt x="500" y="304"/>
                  <a:pt x="500" y="304"/>
                </a:cubicBezTo>
                <a:cubicBezTo>
                  <a:pt x="461" y="372"/>
                  <a:pt x="461" y="372"/>
                  <a:pt x="461" y="372"/>
                </a:cubicBezTo>
                <a:cubicBezTo>
                  <a:pt x="451" y="349"/>
                  <a:pt x="451" y="349"/>
                  <a:pt x="451" y="349"/>
                </a:cubicBezTo>
                <a:cubicBezTo>
                  <a:pt x="440" y="355"/>
                  <a:pt x="440" y="355"/>
                  <a:pt x="440" y="355"/>
                </a:cubicBezTo>
                <a:cubicBezTo>
                  <a:pt x="397" y="376"/>
                  <a:pt x="366" y="418"/>
                  <a:pt x="350" y="475"/>
                </a:cubicBezTo>
                <a:cubicBezTo>
                  <a:pt x="339" y="511"/>
                  <a:pt x="338" y="542"/>
                  <a:pt x="337" y="552"/>
                </a:cubicBezTo>
                <a:cubicBezTo>
                  <a:pt x="286" y="552"/>
                  <a:pt x="286" y="552"/>
                  <a:pt x="286" y="552"/>
                </a:cubicBezTo>
                <a:cubicBezTo>
                  <a:pt x="287" y="355"/>
                  <a:pt x="415" y="309"/>
                  <a:pt x="420" y="307"/>
                </a:cubicBezTo>
                <a:cubicBezTo>
                  <a:pt x="433" y="302"/>
                  <a:pt x="433" y="302"/>
                  <a:pt x="433" y="302"/>
                </a:cubicBezTo>
                <a:lnTo>
                  <a:pt x="423" y="280"/>
                </a:lnTo>
                <a:close/>
                <a:moveTo>
                  <a:pt x="551" y="552"/>
                </a:moveTo>
                <a:cubicBezTo>
                  <a:pt x="362" y="552"/>
                  <a:pt x="362" y="552"/>
                  <a:pt x="362" y="552"/>
                </a:cubicBezTo>
                <a:cubicBezTo>
                  <a:pt x="363" y="533"/>
                  <a:pt x="370" y="428"/>
                  <a:pt x="440" y="383"/>
                </a:cubicBezTo>
                <a:cubicBezTo>
                  <a:pt x="459" y="426"/>
                  <a:pt x="459" y="426"/>
                  <a:pt x="459" y="426"/>
                </a:cubicBezTo>
                <a:cubicBezTo>
                  <a:pt x="536" y="290"/>
                  <a:pt x="536" y="290"/>
                  <a:pt x="536" y="290"/>
                </a:cubicBezTo>
                <a:cubicBezTo>
                  <a:pt x="380" y="240"/>
                  <a:pt x="380" y="240"/>
                  <a:pt x="380" y="240"/>
                </a:cubicBezTo>
                <a:cubicBezTo>
                  <a:pt x="400" y="289"/>
                  <a:pt x="400" y="289"/>
                  <a:pt x="400" y="289"/>
                </a:cubicBezTo>
                <a:cubicBezTo>
                  <a:pt x="385" y="296"/>
                  <a:pt x="360" y="311"/>
                  <a:pt x="334" y="339"/>
                </a:cubicBezTo>
                <a:cubicBezTo>
                  <a:pt x="334" y="190"/>
                  <a:pt x="334" y="190"/>
                  <a:pt x="334" y="190"/>
                </a:cubicBezTo>
                <a:cubicBezTo>
                  <a:pt x="379" y="190"/>
                  <a:pt x="379" y="190"/>
                  <a:pt x="379" y="190"/>
                </a:cubicBezTo>
                <a:cubicBezTo>
                  <a:pt x="288" y="62"/>
                  <a:pt x="288" y="62"/>
                  <a:pt x="288" y="62"/>
                </a:cubicBezTo>
                <a:cubicBezTo>
                  <a:pt x="194" y="190"/>
                  <a:pt x="194" y="190"/>
                  <a:pt x="194" y="190"/>
                </a:cubicBezTo>
                <a:cubicBezTo>
                  <a:pt x="240" y="190"/>
                  <a:pt x="240" y="190"/>
                  <a:pt x="240" y="190"/>
                </a:cubicBezTo>
                <a:cubicBezTo>
                  <a:pt x="240" y="334"/>
                  <a:pt x="240" y="334"/>
                  <a:pt x="240" y="334"/>
                </a:cubicBezTo>
                <a:cubicBezTo>
                  <a:pt x="216" y="309"/>
                  <a:pt x="193" y="295"/>
                  <a:pt x="179" y="289"/>
                </a:cubicBezTo>
                <a:cubicBezTo>
                  <a:pt x="199" y="240"/>
                  <a:pt x="199" y="240"/>
                  <a:pt x="199" y="240"/>
                </a:cubicBezTo>
                <a:cubicBezTo>
                  <a:pt x="43" y="290"/>
                  <a:pt x="43" y="290"/>
                  <a:pt x="43" y="290"/>
                </a:cubicBezTo>
                <a:cubicBezTo>
                  <a:pt x="120" y="426"/>
                  <a:pt x="120" y="426"/>
                  <a:pt x="120" y="426"/>
                </a:cubicBezTo>
                <a:cubicBezTo>
                  <a:pt x="139" y="383"/>
                  <a:pt x="139" y="383"/>
                  <a:pt x="139" y="383"/>
                </a:cubicBezTo>
                <a:cubicBezTo>
                  <a:pt x="209" y="428"/>
                  <a:pt x="216" y="533"/>
                  <a:pt x="217" y="552"/>
                </a:cubicBezTo>
                <a:cubicBezTo>
                  <a:pt x="25" y="552"/>
                  <a:pt x="25" y="552"/>
                  <a:pt x="25" y="552"/>
                </a:cubicBezTo>
                <a:cubicBezTo>
                  <a:pt x="25" y="25"/>
                  <a:pt x="25" y="25"/>
                  <a:pt x="25" y="25"/>
                </a:cubicBezTo>
                <a:cubicBezTo>
                  <a:pt x="551" y="25"/>
                  <a:pt x="551" y="25"/>
                  <a:pt x="551" y="25"/>
                </a:cubicBezTo>
                <a:lnTo>
                  <a:pt x="551" y="552"/>
                </a:ln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58" name="Google Shape;2973;p224">
            <a:extLst>
              <a:ext uri="{FF2B5EF4-FFF2-40B4-BE49-F238E27FC236}">
                <a16:creationId xmlns:a16="http://schemas.microsoft.com/office/drawing/2014/main" id="{B4F4B39A-A2CD-4486-AC33-B7D1268C08E4}"/>
              </a:ext>
            </a:extLst>
          </p:cNvPr>
          <p:cNvSpPr/>
          <p:nvPr/>
        </p:nvSpPr>
        <p:spPr>
          <a:xfrm>
            <a:off x="5309179" y="3955262"/>
            <a:ext cx="452558" cy="452558"/>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800" dirty="0">
              <a:solidFill>
                <a:schemeClr val="dk1"/>
              </a:solidFill>
              <a:latin typeface="Arial"/>
              <a:ea typeface="Arial"/>
              <a:cs typeface="Arial"/>
              <a:sym typeface="Arial"/>
            </a:endParaRPr>
          </a:p>
        </p:txBody>
      </p:sp>
      <p:grpSp>
        <p:nvGrpSpPr>
          <p:cNvPr id="64" name="Google Shape;752;g12f6fb1d8b0_2_59">
            <a:extLst>
              <a:ext uri="{FF2B5EF4-FFF2-40B4-BE49-F238E27FC236}">
                <a16:creationId xmlns:a16="http://schemas.microsoft.com/office/drawing/2014/main" id="{8A667CC3-317F-4814-969D-A1EE2B8AE8B6}"/>
              </a:ext>
            </a:extLst>
          </p:cNvPr>
          <p:cNvGrpSpPr/>
          <p:nvPr/>
        </p:nvGrpSpPr>
        <p:grpSpPr>
          <a:xfrm>
            <a:off x="5359069" y="2110042"/>
            <a:ext cx="338378" cy="372022"/>
            <a:chOff x="6772527" y="3885374"/>
            <a:chExt cx="404018" cy="443953"/>
          </a:xfrm>
          <a:solidFill>
            <a:schemeClr val="accent6"/>
          </a:solidFill>
        </p:grpSpPr>
        <p:sp>
          <p:nvSpPr>
            <p:cNvPr id="65" name="Google Shape;753;g12f6fb1d8b0_2_59">
              <a:extLst>
                <a:ext uri="{FF2B5EF4-FFF2-40B4-BE49-F238E27FC236}">
                  <a16:creationId xmlns:a16="http://schemas.microsoft.com/office/drawing/2014/main" id="{665AAB56-3DF6-4B6D-8CB9-9D49A5B7ED6C}"/>
                </a:ext>
              </a:extLst>
            </p:cNvPr>
            <p:cNvSpPr/>
            <p:nvPr/>
          </p:nvSpPr>
          <p:spPr>
            <a:xfrm>
              <a:off x="6877033" y="3938058"/>
              <a:ext cx="166831" cy="177281"/>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66" name="Google Shape;754;g12f6fb1d8b0_2_59">
              <a:extLst>
                <a:ext uri="{FF2B5EF4-FFF2-40B4-BE49-F238E27FC236}">
                  <a16:creationId xmlns:a16="http://schemas.microsoft.com/office/drawing/2014/main" id="{7E16F6A3-3FFD-4037-B1E4-E633E6F430EA}"/>
                </a:ext>
              </a:extLst>
            </p:cNvPr>
            <p:cNvSpPr/>
            <p:nvPr/>
          </p:nvSpPr>
          <p:spPr>
            <a:xfrm>
              <a:off x="6772527" y="3885374"/>
              <a:ext cx="404018" cy="443953"/>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sp>
        <p:nvSpPr>
          <p:cNvPr id="2" name="Rectangle 1">
            <a:extLst>
              <a:ext uri="{FF2B5EF4-FFF2-40B4-BE49-F238E27FC236}">
                <a16:creationId xmlns:a16="http://schemas.microsoft.com/office/drawing/2014/main" id="{FFA6A520-1CCD-49C3-BE5A-71995CE89435}"/>
              </a:ext>
            </a:extLst>
          </p:cNvPr>
          <p:cNvSpPr/>
          <p:nvPr/>
        </p:nvSpPr>
        <p:spPr>
          <a:xfrm>
            <a:off x="5309856" y="2062918"/>
            <a:ext cx="452558" cy="45255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 name="Slide Number Placeholder 6">
            <a:extLst>
              <a:ext uri="{FF2B5EF4-FFF2-40B4-BE49-F238E27FC236}">
                <a16:creationId xmlns:a16="http://schemas.microsoft.com/office/drawing/2014/main" id="{1688C077-337F-6173-3BDD-87DEBD60309D}"/>
              </a:ext>
            </a:extLst>
          </p:cNvPr>
          <p:cNvSpPr>
            <a:spLocks noGrp="1"/>
          </p:cNvSpPr>
          <p:nvPr>
            <p:ph type="sldNum" sz="quarter" idx="12"/>
          </p:nvPr>
        </p:nvSpPr>
        <p:spPr/>
        <p:txBody>
          <a:bodyPr/>
          <a:lstStyle/>
          <a:p>
            <a:fld id="{C0F55C17-AF72-40D4-ADBD-B5505DEBF9BA}" type="slidenum">
              <a:rPr lang="en-AU" smtClean="0"/>
              <a:t>20</a:t>
            </a:fld>
            <a:endParaRPr lang="en-US" dirty="0"/>
          </a:p>
        </p:txBody>
      </p:sp>
      <p:sp>
        <p:nvSpPr>
          <p:cNvPr id="4" name="Footer Placeholder 3">
            <a:extLst>
              <a:ext uri="{FF2B5EF4-FFF2-40B4-BE49-F238E27FC236}">
                <a16:creationId xmlns:a16="http://schemas.microsoft.com/office/drawing/2014/main" id="{DB4B1A20-7364-3B46-AA87-310E1E219E02}"/>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28" name="Speech Bubble: Rectangle 27">
            <a:extLst>
              <a:ext uri="{FF2B5EF4-FFF2-40B4-BE49-F238E27FC236}">
                <a16:creationId xmlns:a16="http://schemas.microsoft.com/office/drawing/2014/main" id="{4CCEA912-D741-4BB3-8683-18B851B95786}"/>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31" name="Group 30">
            <a:extLst>
              <a:ext uri="{FF2B5EF4-FFF2-40B4-BE49-F238E27FC236}">
                <a16:creationId xmlns:a16="http://schemas.microsoft.com/office/drawing/2014/main" id="{720EEAAC-05E7-4FD6-95AF-2DA5D7772FE3}"/>
              </a:ext>
            </a:extLst>
          </p:cNvPr>
          <p:cNvGrpSpPr/>
          <p:nvPr/>
        </p:nvGrpSpPr>
        <p:grpSpPr>
          <a:xfrm>
            <a:off x="10609741" y="1048190"/>
            <a:ext cx="396000" cy="376186"/>
            <a:chOff x="627146" y="1619763"/>
            <a:chExt cx="396000" cy="396000"/>
          </a:xfrm>
        </p:grpSpPr>
        <p:sp>
          <p:nvSpPr>
            <p:cNvPr id="32" name="Rectangle 31">
              <a:extLst>
                <a:ext uri="{FF2B5EF4-FFF2-40B4-BE49-F238E27FC236}">
                  <a16:creationId xmlns:a16="http://schemas.microsoft.com/office/drawing/2014/main" id="{520D80CE-7258-4F57-9FDF-91A3CD1D72B3}"/>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3" name="Freeform 118">
              <a:extLst>
                <a:ext uri="{FF2B5EF4-FFF2-40B4-BE49-F238E27FC236}">
                  <a16:creationId xmlns:a16="http://schemas.microsoft.com/office/drawing/2014/main" id="{AFB5CB5B-9250-481A-986D-8CFC7748BBC7}"/>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4" name="Freeform 119">
              <a:extLst>
                <a:ext uri="{FF2B5EF4-FFF2-40B4-BE49-F238E27FC236}">
                  <a16:creationId xmlns:a16="http://schemas.microsoft.com/office/drawing/2014/main" id="{1E535830-B440-4C8C-95E3-B7E17FDBAFC3}"/>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20">
              <a:extLst>
                <a:ext uri="{FF2B5EF4-FFF2-40B4-BE49-F238E27FC236}">
                  <a16:creationId xmlns:a16="http://schemas.microsoft.com/office/drawing/2014/main" id="{BA212907-E8B3-4534-AD8E-BAC9EAF046E6}"/>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6" name="Freeform 121">
              <a:extLst>
                <a:ext uri="{FF2B5EF4-FFF2-40B4-BE49-F238E27FC236}">
                  <a16:creationId xmlns:a16="http://schemas.microsoft.com/office/drawing/2014/main" id="{D1E443C4-4A95-4FB8-B0F1-F2C599AADC50}"/>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7" name="Freeform 122">
              <a:extLst>
                <a:ext uri="{FF2B5EF4-FFF2-40B4-BE49-F238E27FC236}">
                  <a16:creationId xmlns:a16="http://schemas.microsoft.com/office/drawing/2014/main" id="{89C31C7A-5F90-49EB-A711-F89600350E10}"/>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8" name="Freeform 124">
              <a:extLst>
                <a:ext uri="{FF2B5EF4-FFF2-40B4-BE49-F238E27FC236}">
                  <a16:creationId xmlns:a16="http://schemas.microsoft.com/office/drawing/2014/main" id="{31D8B5FA-8CE4-4DC6-9B31-50881FE312A9}"/>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9" name="Freeform 128">
              <a:extLst>
                <a:ext uri="{FF2B5EF4-FFF2-40B4-BE49-F238E27FC236}">
                  <a16:creationId xmlns:a16="http://schemas.microsoft.com/office/drawing/2014/main" id="{1B6DF09F-5FE9-410F-8110-0E671D475642}"/>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0" name="Freeform 129">
              <a:extLst>
                <a:ext uri="{FF2B5EF4-FFF2-40B4-BE49-F238E27FC236}">
                  <a16:creationId xmlns:a16="http://schemas.microsoft.com/office/drawing/2014/main" id="{1B8DA8FF-190E-405F-90B6-794C15C275E8}"/>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1" name="Freeform 130">
              <a:extLst>
                <a:ext uri="{FF2B5EF4-FFF2-40B4-BE49-F238E27FC236}">
                  <a16:creationId xmlns:a16="http://schemas.microsoft.com/office/drawing/2014/main" id="{0A9F269D-E576-4BE5-9625-3449B80E6C6D}"/>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2" name="Freeform 131">
              <a:extLst>
                <a:ext uri="{FF2B5EF4-FFF2-40B4-BE49-F238E27FC236}">
                  <a16:creationId xmlns:a16="http://schemas.microsoft.com/office/drawing/2014/main" id="{628B7E41-C977-4F0B-904E-F6A7CADE1FE0}"/>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3" name="Freeform 133">
              <a:extLst>
                <a:ext uri="{FF2B5EF4-FFF2-40B4-BE49-F238E27FC236}">
                  <a16:creationId xmlns:a16="http://schemas.microsoft.com/office/drawing/2014/main" id="{0BBDE249-A03A-4DAE-82C9-EB01D4E3F001}"/>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4" name="Freeform 134">
              <a:extLst>
                <a:ext uri="{FF2B5EF4-FFF2-40B4-BE49-F238E27FC236}">
                  <a16:creationId xmlns:a16="http://schemas.microsoft.com/office/drawing/2014/main" id="{630B0687-226B-4512-AE3C-99E469046CEB}"/>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5" name="Freeform 135">
              <a:extLst>
                <a:ext uri="{FF2B5EF4-FFF2-40B4-BE49-F238E27FC236}">
                  <a16:creationId xmlns:a16="http://schemas.microsoft.com/office/drawing/2014/main" id="{35AE37A3-7E02-4531-9A3F-6FA6E0D828F4}"/>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47" name="Google Shape;162;p4">
            <a:extLst>
              <a:ext uri="{FF2B5EF4-FFF2-40B4-BE49-F238E27FC236}">
                <a16:creationId xmlns:a16="http://schemas.microsoft.com/office/drawing/2014/main" id="{4A44F771-68D5-4A6D-B28E-A419FFF43F8E}"/>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48" name="Freeform 37">
            <a:extLst>
              <a:ext uri="{FF2B5EF4-FFF2-40B4-BE49-F238E27FC236}">
                <a16:creationId xmlns:a16="http://schemas.microsoft.com/office/drawing/2014/main" id="{3E08BAA8-2BE3-4AB8-8AF2-9CBCE0048072}"/>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49" name="TextBox 48">
            <a:extLst>
              <a:ext uri="{FF2B5EF4-FFF2-40B4-BE49-F238E27FC236}">
                <a16:creationId xmlns:a16="http://schemas.microsoft.com/office/drawing/2014/main" id="{17907D17-2326-4D23-8DE7-B86D5EE2D063}"/>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22487986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a:xfrm>
            <a:off x="1314449" y="2686050"/>
            <a:ext cx="10163447" cy="3514725"/>
          </a:xfrm>
        </p:spPr>
        <p:txBody>
          <a:bodyPr>
            <a:noAutofit/>
          </a:bodyPr>
          <a:lstStyle/>
          <a:p>
            <a:pPr>
              <a:lnSpc>
                <a:spcPct val="100000"/>
              </a:lnSpc>
            </a:pPr>
            <a:r>
              <a:rPr lang="en-AU" dirty="0"/>
              <a:t>5. Delivering the </a:t>
            </a:r>
            <a:r>
              <a:rPr lang="en-AU" dirty="0" smtClean="0"/>
              <a:t>Plan </a:t>
            </a:r>
            <a:r>
              <a:rPr lang="en-AU" dirty="0">
                <a:cs typeface="Calibri"/>
              </a:rPr>
              <a:t/>
            </a:r>
            <a:br>
              <a:rPr lang="en-AU" dirty="0">
                <a:cs typeface="Calibri"/>
              </a:rPr>
            </a:br>
            <a:r>
              <a:rPr lang="en-AU" sz="1800" dirty="0"/>
              <a:t/>
            </a:r>
            <a:br>
              <a:rPr lang="en-AU" sz="1800" dirty="0"/>
            </a:br>
            <a:endParaRPr lang="en-AU" sz="1800" dirty="0"/>
          </a:p>
        </p:txBody>
      </p:sp>
      <p:sp>
        <p:nvSpPr>
          <p:cNvPr id="5" name="Slide Number Placeholder 4">
            <a:extLst>
              <a:ext uri="{FF2B5EF4-FFF2-40B4-BE49-F238E27FC236}">
                <a16:creationId xmlns:a16="http://schemas.microsoft.com/office/drawing/2014/main" id="{FD9239A9-D36E-4BB8-B73B-A061CCC57BDF}"/>
              </a:ext>
            </a:extLst>
          </p:cNvPr>
          <p:cNvSpPr>
            <a:spLocks noGrp="1"/>
          </p:cNvSpPr>
          <p:nvPr>
            <p:ph type="sldNum" sz="quarter" idx="12"/>
          </p:nvPr>
        </p:nvSpPr>
        <p:spPr/>
        <p:txBody>
          <a:bodyPr/>
          <a:lstStyle/>
          <a:p>
            <a:fld id="{C0F55C17-AF72-40D4-ADBD-B5505DEBF9BA}" type="slidenum">
              <a:rPr lang="en-AU" smtClean="0"/>
              <a:pPr/>
              <a:t>21</a:t>
            </a:fld>
            <a:endParaRPr lang="en-US" dirty="0"/>
          </a:p>
        </p:txBody>
      </p:sp>
    </p:spTree>
    <p:extLst>
      <p:ext uri="{BB962C8B-B14F-4D97-AF65-F5344CB8AC3E}">
        <p14:creationId xmlns:p14="http://schemas.microsoft.com/office/powerpoint/2010/main" val="3246943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66EF198C-A68D-4495-AD17-4F831286961E}"/>
              </a:ext>
            </a:extLst>
          </p:cNvPr>
          <p:cNvPicPr>
            <a:picLocks noChangeAspect="1"/>
          </p:cNvPicPr>
          <p:nvPr/>
        </p:nvPicPr>
        <p:blipFill rotWithShape="1">
          <a:blip r:embed="rId3">
            <a:extLst>
              <a:ext uri="{28A0092B-C50C-407E-A947-70E740481C1C}">
                <a14:useLocalDpi xmlns:a14="http://schemas.microsoft.com/office/drawing/2010/main" val="0"/>
              </a:ext>
            </a:extLst>
          </a:blip>
          <a:srcRect l="48317" r="-1" b="16754"/>
          <a:stretch/>
        </p:blipFill>
        <p:spPr>
          <a:xfrm>
            <a:off x="6883333" y="2162238"/>
            <a:ext cx="4969492" cy="4595960"/>
          </a:xfrm>
          <a:prstGeom prst="rect">
            <a:avLst/>
          </a:prstGeom>
        </p:spPr>
      </p:pic>
      <p:sp>
        <p:nvSpPr>
          <p:cNvPr id="6" name="Title 4">
            <a:extLst>
              <a:ext uri="{FF2B5EF4-FFF2-40B4-BE49-F238E27FC236}">
                <a16:creationId xmlns:a16="http://schemas.microsoft.com/office/drawing/2014/main" id="{D32C80A1-6934-46B4-81E6-A8112E6FDB05}"/>
              </a:ext>
            </a:extLst>
          </p:cNvPr>
          <p:cNvSpPr txBox="1">
            <a:spLocks/>
          </p:cNvSpPr>
          <p:nvPr/>
        </p:nvSpPr>
        <p:spPr>
          <a:xfrm>
            <a:off x="503692" y="322216"/>
            <a:ext cx="8268644" cy="992778"/>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800" dirty="0">
                <a:solidFill>
                  <a:schemeClr val="tx2"/>
                </a:solidFill>
              </a:rPr>
              <a:t>Next steps and implementation</a:t>
            </a:r>
            <a:endParaRPr lang="en-AU" sz="2800" dirty="0">
              <a:solidFill>
                <a:schemeClr val="tx2"/>
              </a:solidFill>
            </a:endParaRPr>
          </a:p>
        </p:txBody>
      </p:sp>
      <p:sp>
        <p:nvSpPr>
          <p:cNvPr id="7" name="TextBox 6">
            <a:extLst>
              <a:ext uri="{FF2B5EF4-FFF2-40B4-BE49-F238E27FC236}">
                <a16:creationId xmlns:a16="http://schemas.microsoft.com/office/drawing/2014/main" id="{E8FFE78F-1AE5-4CEB-98A8-093CBEE072EC}"/>
              </a:ext>
            </a:extLst>
          </p:cNvPr>
          <p:cNvSpPr txBox="1"/>
          <p:nvPr/>
        </p:nvSpPr>
        <p:spPr>
          <a:xfrm>
            <a:off x="509046" y="1963229"/>
            <a:ext cx="7282404" cy="4170372"/>
          </a:xfrm>
          <a:prstGeom prst="rect">
            <a:avLst/>
          </a:prstGeom>
          <a:noFill/>
        </p:spPr>
        <p:txBody>
          <a:bodyPr wrap="square" rtlCol="0">
            <a:spAutoFit/>
          </a:bodyPr>
          <a:lstStyle/>
          <a:p>
            <a:pPr>
              <a:spcBef>
                <a:spcPts val="600"/>
              </a:spcBef>
              <a:buClr>
                <a:srgbClr val="000000"/>
              </a:buClr>
              <a:defRPr/>
            </a:pPr>
            <a:r>
              <a:rPr lang="en-AU" sz="1000" dirty="0"/>
              <a:t>The Commission continues to </a:t>
            </a:r>
            <a:r>
              <a:rPr lang="en-AU" sz="1000" dirty="0" smtClean="0"/>
              <a:t>scale-up </a:t>
            </a:r>
            <a:r>
              <a:rPr lang="en-AU" sz="1000" dirty="0"/>
              <a:t>as it transitions from </a:t>
            </a:r>
            <a:r>
              <a:rPr lang="en-AU" sz="1000" dirty="0" smtClean="0"/>
              <a:t>start-up </a:t>
            </a:r>
            <a:r>
              <a:rPr lang="en-AU" sz="1000" dirty="0"/>
              <a:t>to a mature organisation. Although still in operational infancy, the Commission has made progress and inroads, despite </a:t>
            </a:r>
            <a:r>
              <a:rPr lang="en-AU" sz="1000" dirty="0" smtClean="0"/>
              <a:t>resourcing limitations. </a:t>
            </a:r>
            <a:r>
              <a:rPr lang="en-AU" sz="1000" dirty="0"/>
              <a:t>There are clear gaps, where </a:t>
            </a:r>
            <a:r>
              <a:rPr lang="en-AU" sz="1000" dirty="0" smtClean="0"/>
              <a:t>resourcing </a:t>
            </a:r>
            <a:r>
              <a:rPr lang="en-AU" sz="1000" dirty="0"/>
              <a:t>has impacted employee, workforce and organisational capability. </a:t>
            </a:r>
            <a:r>
              <a:rPr lang="en-US" sz="1000" kern="0" dirty="0">
                <a:solidFill>
                  <a:srgbClr val="000000"/>
                </a:solidFill>
                <a:latin typeface="+mj-lt"/>
                <a:cs typeface="Arial"/>
                <a:sym typeface="Arial"/>
              </a:rPr>
              <a:t>To realise our workforce vision and achieve our strategic priorities, and address our workforce risks and opportunities, 40 data-informed opportunities have been identified to guide how the Commission </a:t>
            </a:r>
            <a:r>
              <a:rPr lang="en-US" sz="1000" kern="0" dirty="0">
                <a:solidFill>
                  <a:srgbClr val="000000"/>
                </a:solidFill>
                <a:latin typeface="+mj-lt"/>
                <a:cs typeface="Arial"/>
              </a:rPr>
              <a:t>attracts, develops and retains a diverse workforce with the right skills and attributes over the coming five years. </a:t>
            </a:r>
            <a:r>
              <a:rPr lang="en-US" sz="1000" kern="0" dirty="0" smtClean="0">
                <a:solidFill>
                  <a:srgbClr val="000000"/>
                </a:solidFill>
                <a:latin typeface="+mj-lt"/>
                <a:cs typeface="Arial"/>
              </a:rPr>
              <a:t>Five</a:t>
            </a:r>
            <a:r>
              <a:rPr lang="en-AU" sz="1000" kern="0" dirty="0" smtClean="0">
                <a:solidFill>
                  <a:srgbClr val="000000"/>
                </a:solidFill>
                <a:latin typeface="+mj-lt"/>
                <a:cs typeface="Arial"/>
                <a:sym typeface="Arial"/>
              </a:rPr>
              <a:t> </a:t>
            </a:r>
            <a:r>
              <a:rPr lang="en-AU" sz="1000" kern="0" dirty="0">
                <a:solidFill>
                  <a:srgbClr val="000000"/>
                </a:solidFill>
                <a:latin typeface="+mj-lt"/>
                <a:cs typeface="Arial"/>
                <a:sym typeface="Arial"/>
              </a:rPr>
              <a:t>priority recommendations have </a:t>
            </a:r>
            <a:r>
              <a:rPr kumimoji="0" lang="en-AU" sz="1000" b="0" i="0" u="none" strike="noStrike" kern="0" cap="none" spc="0" normalizeH="0" baseline="0" noProof="0" dirty="0">
                <a:ln>
                  <a:noFill/>
                </a:ln>
                <a:solidFill>
                  <a:srgbClr val="000000"/>
                </a:solidFill>
                <a:effectLst/>
                <a:uLnTx/>
                <a:uFillTx/>
                <a:latin typeface="+mj-lt"/>
                <a:ea typeface="Arial"/>
                <a:cs typeface="Arial"/>
                <a:sym typeface="Arial"/>
              </a:rPr>
              <a:t>been identified as foundational opportunities. </a:t>
            </a:r>
            <a:r>
              <a:rPr lang="en-US" sz="1000" kern="0" dirty="0" smtClean="0">
                <a:solidFill>
                  <a:prstClr val="black"/>
                </a:solidFill>
                <a:latin typeface="Calibri" panose="020F0502020204030204"/>
                <a:cs typeface="Arial"/>
              </a:rPr>
              <a:t>Work </a:t>
            </a:r>
            <a:r>
              <a:rPr lang="en-US" sz="1000" kern="0" dirty="0">
                <a:solidFill>
                  <a:prstClr val="black"/>
                </a:solidFill>
                <a:latin typeface="Calibri" panose="020F0502020204030204"/>
                <a:cs typeface="Arial"/>
              </a:rPr>
              <a:t>on some opportunities has commenced, preceding this </a:t>
            </a:r>
            <a:r>
              <a:rPr lang="en-US" sz="1000" kern="0" dirty="0" smtClean="0">
                <a:solidFill>
                  <a:prstClr val="black"/>
                </a:solidFill>
                <a:latin typeface="Calibri" panose="020F0502020204030204"/>
                <a:cs typeface="Arial"/>
              </a:rPr>
              <a:t>Plan.</a:t>
            </a:r>
            <a:endParaRPr lang="en-US" sz="1000" kern="0" dirty="0">
              <a:solidFill>
                <a:srgbClr val="000000"/>
              </a:solidFill>
              <a:latin typeface="+mj-lt"/>
              <a:cs typeface="Arial"/>
            </a:endParaRPr>
          </a:p>
          <a:p>
            <a:pPr>
              <a:spcBef>
                <a:spcPts val="600"/>
              </a:spcBef>
              <a:buClr>
                <a:srgbClr val="000000"/>
              </a:buClr>
              <a:defRPr/>
            </a:pPr>
            <a:r>
              <a:rPr lang="en-US" sz="1000" kern="0" dirty="0">
                <a:latin typeface="Calibri" panose="020F0502020204030204"/>
                <a:cs typeface="Arial"/>
                <a:sym typeface="Arial"/>
              </a:rPr>
              <a:t>Each initiative has been prioritised </a:t>
            </a:r>
            <a:r>
              <a:rPr lang="en-US" sz="1000" kern="0" dirty="0">
                <a:latin typeface="Calibri" panose="020F0502020204030204"/>
                <a:cs typeface="Arial"/>
              </a:rPr>
              <a:t>into one of three horizons (0 - 6 months</a:t>
            </a:r>
            <a:r>
              <a:rPr lang="en-US" sz="1000" kern="0" dirty="0">
                <a:solidFill>
                  <a:prstClr val="black"/>
                </a:solidFill>
                <a:latin typeface="Calibri" panose="020F0502020204030204"/>
                <a:cs typeface="Arial"/>
              </a:rPr>
              <a:t>, 6 – 18 months, 18 months+). While all opportunities are recognised as important, high-level prioritisation </a:t>
            </a:r>
            <a:r>
              <a:rPr lang="en-US" sz="1000" kern="0" dirty="0" smtClean="0">
                <a:solidFill>
                  <a:prstClr val="black"/>
                </a:solidFill>
                <a:latin typeface="Calibri" panose="020F0502020204030204"/>
                <a:cs typeface="Arial"/>
              </a:rPr>
              <a:t>considers </a:t>
            </a:r>
            <a:r>
              <a:rPr lang="en-US" sz="1000" kern="0" dirty="0">
                <a:solidFill>
                  <a:prstClr val="black"/>
                </a:solidFill>
                <a:latin typeface="Calibri" panose="020F0502020204030204"/>
                <a:cs typeface="Arial"/>
              </a:rPr>
              <a:t>the</a:t>
            </a:r>
            <a:r>
              <a:rPr lang="en-US" sz="1000" b="1" kern="0" dirty="0">
                <a:solidFill>
                  <a:prstClr val="black"/>
                </a:solidFill>
                <a:latin typeface="Calibri" panose="020F0502020204030204"/>
                <a:cs typeface="Arial"/>
              </a:rPr>
              <a:t> value </a:t>
            </a:r>
            <a:r>
              <a:rPr lang="en-US" sz="1000" kern="0" dirty="0">
                <a:solidFill>
                  <a:prstClr val="black"/>
                </a:solidFill>
                <a:latin typeface="Calibri" panose="020F0502020204030204"/>
                <a:cs typeface="Arial"/>
              </a:rPr>
              <a:t>that the opportunity will bring, the </a:t>
            </a:r>
            <a:r>
              <a:rPr lang="en-US" sz="1000" b="1" kern="0" dirty="0">
                <a:solidFill>
                  <a:prstClr val="black"/>
                </a:solidFill>
                <a:latin typeface="Calibri" panose="020F0502020204030204"/>
                <a:cs typeface="Arial"/>
              </a:rPr>
              <a:t>ease</a:t>
            </a:r>
            <a:r>
              <a:rPr lang="en-US" sz="1000" kern="0" dirty="0">
                <a:solidFill>
                  <a:prstClr val="black"/>
                </a:solidFill>
                <a:latin typeface="Calibri" panose="020F0502020204030204"/>
                <a:cs typeface="Arial"/>
              </a:rPr>
              <a:t> at which it can be implemented and associated </a:t>
            </a:r>
            <a:r>
              <a:rPr lang="en-US" sz="1000" b="1" kern="0" dirty="0">
                <a:solidFill>
                  <a:prstClr val="black"/>
                </a:solidFill>
                <a:latin typeface="Calibri" panose="020F0502020204030204"/>
                <a:cs typeface="Arial"/>
              </a:rPr>
              <a:t>interdependencies and sequencing,</a:t>
            </a:r>
            <a:r>
              <a:rPr lang="en-US" sz="1000" kern="0" dirty="0">
                <a:solidFill>
                  <a:prstClr val="black"/>
                </a:solidFill>
                <a:latin typeface="Calibri" panose="020F0502020204030204"/>
                <a:cs typeface="Arial"/>
              </a:rPr>
              <a:t> building the necessary </a:t>
            </a:r>
            <a:r>
              <a:rPr lang="en-US" sz="1000" b="1" kern="0" dirty="0">
                <a:solidFill>
                  <a:prstClr val="black"/>
                </a:solidFill>
                <a:latin typeface="Calibri" panose="020F0502020204030204"/>
                <a:cs typeface="Arial"/>
              </a:rPr>
              <a:t>maturity and sophistication </a:t>
            </a:r>
            <a:r>
              <a:rPr lang="en-US" sz="1000" kern="0" dirty="0">
                <a:solidFill>
                  <a:prstClr val="black"/>
                </a:solidFill>
                <a:latin typeface="Calibri" panose="020F0502020204030204"/>
                <a:cs typeface="Arial"/>
              </a:rPr>
              <a:t>to fully realise the benefits of the opportunity. </a:t>
            </a:r>
          </a:p>
          <a:p>
            <a:pPr>
              <a:spcBef>
                <a:spcPts val="600"/>
              </a:spcBef>
              <a:buClr>
                <a:srgbClr val="000000"/>
              </a:buClr>
              <a:defRPr/>
            </a:pPr>
            <a:r>
              <a:rPr lang="en-AU" sz="1000" dirty="0"/>
              <a:t>There </a:t>
            </a:r>
            <a:r>
              <a:rPr lang="en-AU" sz="1000" dirty="0" smtClean="0"/>
              <a:t>are </a:t>
            </a:r>
            <a:r>
              <a:rPr lang="en-AU" sz="1000" dirty="0"/>
              <a:t>a number of supply </a:t>
            </a:r>
            <a:r>
              <a:rPr lang="en-AU" sz="1000" dirty="0" smtClean="0"/>
              <a:t>strategies </a:t>
            </a:r>
            <a:r>
              <a:rPr lang="en-AU" sz="1000" dirty="0"/>
              <a:t>that can be considered and tailored to ensure the Commission has access to the workforce capabilities and capacity required to deliver on our workforce vision and in turn, our broader purpose and ambition. Key supply strategies include but are not limited to:</a:t>
            </a:r>
          </a:p>
          <a:p>
            <a:pPr marL="171450" indent="-171450">
              <a:spcBef>
                <a:spcPts val="600"/>
              </a:spcBef>
              <a:buClr>
                <a:srgbClr val="000000"/>
              </a:buClr>
              <a:buFont typeface="Arial" panose="020B0604020202020204" pitchFamily="34" charset="0"/>
              <a:buChar char="•"/>
              <a:defRPr/>
            </a:pPr>
            <a:r>
              <a:rPr lang="en-AU" sz="1000" b="1" dirty="0"/>
              <a:t>buy</a:t>
            </a:r>
            <a:r>
              <a:rPr lang="en-AU" sz="1000" dirty="0"/>
              <a:t> by hiring </a:t>
            </a:r>
            <a:r>
              <a:rPr lang="en-AU" sz="1000" dirty="0" smtClean="0"/>
              <a:t>new, fully formed </a:t>
            </a:r>
            <a:r>
              <a:rPr lang="en-AU" sz="1000" dirty="0"/>
              <a:t>talent from outside of the organisation </a:t>
            </a:r>
          </a:p>
          <a:p>
            <a:pPr marL="171450" indent="-171450">
              <a:spcBef>
                <a:spcPts val="600"/>
              </a:spcBef>
              <a:buClr>
                <a:srgbClr val="000000"/>
              </a:buClr>
              <a:buFont typeface="Arial" panose="020B0604020202020204" pitchFamily="34" charset="0"/>
              <a:buChar char="•"/>
              <a:defRPr/>
            </a:pPr>
            <a:r>
              <a:rPr lang="en-AU" sz="1000" b="1" dirty="0"/>
              <a:t>borrow </a:t>
            </a:r>
            <a:r>
              <a:rPr lang="en-AU" sz="1000" dirty="0"/>
              <a:t>from industry and global partnerships, agencies, vendors and students </a:t>
            </a:r>
          </a:p>
          <a:p>
            <a:pPr marL="171450" indent="-171450">
              <a:spcBef>
                <a:spcPts val="600"/>
              </a:spcBef>
              <a:buClr>
                <a:srgbClr val="000000"/>
              </a:buClr>
              <a:buFont typeface="Arial" panose="020B0604020202020204" pitchFamily="34" charset="0"/>
              <a:buChar char="•"/>
              <a:defRPr/>
            </a:pPr>
            <a:r>
              <a:rPr lang="en-AU" sz="1000" b="1" dirty="0"/>
              <a:t>build </a:t>
            </a:r>
            <a:r>
              <a:rPr lang="en-AU" sz="1000" dirty="0"/>
              <a:t>an internal talent pipeline by investing in the uplift of capabilities and skills</a:t>
            </a:r>
          </a:p>
          <a:p>
            <a:pPr marL="171450" indent="-171450">
              <a:spcBef>
                <a:spcPts val="600"/>
              </a:spcBef>
              <a:buClr>
                <a:srgbClr val="000000"/>
              </a:buClr>
              <a:buFont typeface="Arial" panose="020B0604020202020204" pitchFamily="34" charset="0"/>
              <a:buChar char="•"/>
              <a:defRPr/>
            </a:pPr>
            <a:r>
              <a:rPr lang="en-AU" sz="1000" b="1" dirty="0"/>
              <a:t>bind</a:t>
            </a:r>
            <a:r>
              <a:rPr lang="en-AU" sz="1000" dirty="0"/>
              <a:t> </a:t>
            </a:r>
            <a:r>
              <a:rPr lang="en-AU" sz="1000" dirty="0">
                <a:sym typeface="Arial"/>
              </a:rPr>
              <a:t>talent with the right </a:t>
            </a:r>
            <a:r>
              <a:rPr lang="en-AU" sz="1000" dirty="0"/>
              <a:t>skills</a:t>
            </a:r>
            <a:r>
              <a:rPr lang="en-AU" sz="1000" dirty="0">
                <a:sym typeface="Arial"/>
              </a:rPr>
              <a:t>, </a:t>
            </a:r>
            <a:r>
              <a:rPr lang="en-AU" sz="1000" dirty="0"/>
              <a:t>or high potential, </a:t>
            </a:r>
            <a:r>
              <a:rPr lang="en-AU" sz="1000" dirty="0">
                <a:sym typeface="Arial"/>
              </a:rPr>
              <a:t>to </a:t>
            </a:r>
            <a:r>
              <a:rPr lang="en-AU" sz="1000" dirty="0"/>
              <a:t>with a tailored EVP and retention strategies</a:t>
            </a:r>
          </a:p>
          <a:p>
            <a:pPr marL="171450" indent="-171450">
              <a:spcBef>
                <a:spcPts val="600"/>
              </a:spcBef>
              <a:buClr>
                <a:srgbClr val="000000"/>
              </a:buClr>
              <a:buFont typeface="Arial" panose="020B0604020202020204" pitchFamily="34" charset="0"/>
              <a:buChar char="•"/>
              <a:defRPr/>
            </a:pPr>
            <a:r>
              <a:rPr lang="en-AU" sz="1000" b="1" dirty="0"/>
              <a:t>bound </a:t>
            </a:r>
            <a:r>
              <a:rPr lang="en-AU" sz="1000" dirty="0"/>
              <a:t>provide lateral development opportunities and cross-team exposure for existing talent to develop the right capabilities</a:t>
            </a:r>
          </a:p>
          <a:p>
            <a:pPr marL="171450" indent="-171450">
              <a:spcBef>
                <a:spcPts val="600"/>
              </a:spcBef>
              <a:buClr>
                <a:srgbClr val="000000"/>
              </a:buClr>
              <a:buFont typeface="Arial" panose="020B0604020202020204" pitchFamily="34" charset="0"/>
              <a:buChar char="•"/>
              <a:defRPr/>
            </a:pPr>
            <a:r>
              <a:rPr lang="en-AU" sz="1000" b="1" dirty="0"/>
              <a:t>balance</a:t>
            </a:r>
            <a:r>
              <a:rPr lang="en-AU" sz="1000" dirty="0"/>
              <a:t> redistribute and reallocate resources to high priority areas to improve efficiency and performance while embedding new ways of working</a:t>
            </a:r>
          </a:p>
          <a:p>
            <a:pPr marL="171450" indent="-171450">
              <a:spcBef>
                <a:spcPts val="600"/>
              </a:spcBef>
              <a:buClr>
                <a:srgbClr val="000000"/>
              </a:buClr>
              <a:buFont typeface="Arial" panose="020B0604020202020204" pitchFamily="34" charset="0"/>
              <a:buChar char="•"/>
              <a:defRPr/>
            </a:pPr>
            <a:r>
              <a:rPr lang="en-AU" sz="1000" b="1" dirty="0"/>
              <a:t>bot </a:t>
            </a:r>
            <a:r>
              <a:rPr lang="en-AU" sz="1000" dirty="0"/>
              <a:t>to in</a:t>
            </a:r>
            <a:r>
              <a:rPr lang="en-AU" sz="1000" dirty="0">
                <a:sym typeface="Arial"/>
              </a:rPr>
              <a:t>crease efficiency through the use of technology to automate or augment</a:t>
            </a:r>
            <a:r>
              <a:rPr lang="en-AU" sz="1000" dirty="0"/>
              <a:t> work.</a:t>
            </a:r>
          </a:p>
        </p:txBody>
      </p:sp>
      <p:sp>
        <p:nvSpPr>
          <p:cNvPr id="57" name="TextBox 56">
            <a:extLst>
              <a:ext uri="{FF2B5EF4-FFF2-40B4-BE49-F238E27FC236}">
                <a16:creationId xmlns:a16="http://schemas.microsoft.com/office/drawing/2014/main" id="{E6FA579A-15E7-4B22-BB19-8587E04518D4}"/>
              </a:ext>
            </a:extLst>
          </p:cNvPr>
          <p:cNvSpPr txBox="1"/>
          <p:nvPr/>
        </p:nvSpPr>
        <p:spPr>
          <a:xfrm>
            <a:off x="532041" y="1547212"/>
            <a:ext cx="7120839" cy="388778"/>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Delivering the </a:t>
            </a:r>
            <a:r>
              <a:rPr lang="en-US" sz="1400" b="1" dirty="0" smtClean="0">
                <a:solidFill>
                  <a:schemeClr val="bg1"/>
                </a:solidFill>
              </a:rPr>
              <a:t>Plan</a:t>
            </a:r>
            <a:endParaRPr lang="en-US" sz="1400" b="1" dirty="0">
              <a:solidFill>
                <a:schemeClr val="bg1"/>
              </a:solidFill>
            </a:endParaRPr>
          </a:p>
        </p:txBody>
      </p:sp>
      <p:sp>
        <p:nvSpPr>
          <p:cNvPr id="58" name="TextBox 57">
            <a:extLst>
              <a:ext uri="{FF2B5EF4-FFF2-40B4-BE49-F238E27FC236}">
                <a16:creationId xmlns:a16="http://schemas.microsoft.com/office/drawing/2014/main" id="{64A79EA2-2AEA-4F54-B196-C3866BB844BC}"/>
              </a:ext>
            </a:extLst>
          </p:cNvPr>
          <p:cNvSpPr txBox="1"/>
          <p:nvPr/>
        </p:nvSpPr>
        <p:spPr>
          <a:xfrm>
            <a:off x="7952928" y="1544227"/>
            <a:ext cx="3707029" cy="388778"/>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Next Steps </a:t>
            </a:r>
          </a:p>
        </p:txBody>
      </p:sp>
      <p:sp>
        <p:nvSpPr>
          <p:cNvPr id="42" name="TextBox 41">
            <a:extLst>
              <a:ext uri="{FF2B5EF4-FFF2-40B4-BE49-F238E27FC236}">
                <a16:creationId xmlns:a16="http://schemas.microsoft.com/office/drawing/2014/main" id="{73B8EA12-FB16-4EBE-BF17-C027255FF0DF}"/>
              </a:ext>
            </a:extLst>
          </p:cNvPr>
          <p:cNvSpPr txBox="1"/>
          <p:nvPr/>
        </p:nvSpPr>
        <p:spPr>
          <a:xfrm>
            <a:off x="7927063" y="1935296"/>
            <a:ext cx="3796127" cy="1323439"/>
          </a:xfrm>
          <a:prstGeom prst="rect">
            <a:avLst/>
          </a:prstGeom>
          <a:noFill/>
        </p:spPr>
        <p:txBody>
          <a:bodyPr wrap="square">
            <a:spAutoFit/>
          </a:bodyPr>
          <a:lstStyle/>
          <a:p>
            <a:pPr>
              <a:spcBef>
                <a:spcPts val="600"/>
              </a:spcBef>
              <a:buClr>
                <a:srgbClr val="000000"/>
              </a:buClr>
              <a:defRPr/>
            </a:pPr>
            <a:r>
              <a:rPr lang="en-US" sz="1000" dirty="0"/>
              <a:t>It is important to note, this </a:t>
            </a:r>
            <a:r>
              <a:rPr lang="en-US" sz="1000" dirty="0" smtClean="0"/>
              <a:t>Plan </a:t>
            </a:r>
            <a:r>
              <a:rPr lang="en-US" sz="1000" dirty="0"/>
              <a:t>isn’t an endorsed suite of recommendations or agreed program of work. The recommended opportunities will require further validation and decision making based on organisational priorities, capacity and available funding including endorsement by the ELT. In practice, this means initiatives may not commence immediately and ongoing engagement with key stakeholders will be critical to striking the balance between maintaining momentum and required governance processes. </a:t>
            </a:r>
          </a:p>
        </p:txBody>
      </p:sp>
      <p:sp>
        <p:nvSpPr>
          <p:cNvPr id="43" name="Slide Number Placeholder 4">
            <a:extLst>
              <a:ext uri="{FF2B5EF4-FFF2-40B4-BE49-F238E27FC236}">
                <a16:creationId xmlns:a16="http://schemas.microsoft.com/office/drawing/2014/main" id="{FB23BC25-0B89-4510-8EC8-478403D0D59D}"/>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22</a:t>
            </a:fld>
            <a:endParaRPr lang="en-US" dirty="0"/>
          </a:p>
        </p:txBody>
      </p:sp>
      <p:sp>
        <p:nvSpPr>
          <p:cNvPr id="5" name="Footer Placeholder 4">
            <a:extLst>
              <a:ext uri="{FF2B5EF4-FFF2-40B4-BE49-F238E27FC236}">
                <a16:creationId xmlns:a16="http://schemas.microsoft.com/office/drawing/2014/main" id="{D3548525-7DE0-1657-14B0-3C2047868AE8}"/>
              </a:ext>
            </a:extLst>
          </p:cNvPr>
          <p:cNvSpPr>
            <a:spLocks noGrp="1"/>
          </p:cNvSpPr>
          <p:nvPr>
            <p:ph type="ftr" sz="quarter" idx="11"/>
          </p:nvPr>
        </p:nvSpPr>
        <p:spPr>
          <a:xfrm>
            <a:off x="1143250" y="6578198"/>
            <a:ext cx="6783813" cy="180000"/>
          </a:xfrm>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1537065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267028" cy="992778"/>
          </a:xfrm>
        </p:spPr>
        <p:txBody>
          <a:bodyPr>
            <a:normAutofit/>
          </a:bodyPr>
          <a:lstStyle/>
          <a:p>
            <a:pPr>
              <a:lnSpc>
                <a:spcPct val="100000"/>
              </a:lnSpc>
            </a:pPr>
            <a:r>
              <a:rPr lang="en-US" sz="2400" dirty="0">
                <a:solidFill>
                  <a:schemeClr val="tx2"/>
                </a:solidFill>
              </a:rPr>
              <a:t>Opportunities for investment were identified through consultation and inform the Workforce </a:t>
            </a:r>
            <a:r>
              <a:rPr lang="en-US" sz="2400" dirty="0" smtClean="0">
                <a:solidFill>
                  <a:schemeClr val="tx2"/>
                </a:solidFill>
              </a:rPr>
              <a:t>Plan </a:t>
            </a:r>
            <a:r>
              <a:rPr lang="en-US" sz="1800" dirty="0">
                <a:solidFill>
                  <a:schemeClr val="tx2"/>
                </a:solidFill>
              </a:rPr>
              <a:t>(1/2) </a:t>
            </a:r>
            <a:endParaRPr lang="en-AU" sz="2400" dirty="0">
              <a:solidFill>
                <a:schemeClr val="tx2"/>
              </a:solidFill>
            </a:endParaRPr>
          </a:p>
        </p:txBody>
      </p:sp>
      <p:sp>
        <p:nvSpPr>
          <p:cNvPr id="74" name="Google Shape;2191;p207">
            <a:extLst>
              <a:ext uri="{FF2B5EF4-FFF2-40B4-BE49-F238E27FC236}">
                <a16:creationId xmlns:a16="http://schemas.microsoft.com/office/drawing/2014/main" id="{738049F8-E417-41B2-9C7B-D515AE0FC644}"/>
              </a:ext>
            </a:extLst>
          </p:cNvPr>
          <p:cNvSpPr/>
          <p:nvPr/>
        </p:nvSpPr>
        <p:spPr>
          <a:xfrm>
            <a:off x="6070720" y="155608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urrent performance management approach is not keeping up with workforce needs</a:t>
            </a:r>
            <a:endParaRPr lang="en-US" sz="1100" b="1" kern="0" dirty="0">
              <a:solidFill>
                <a:srgbClr val="FFFFFF"/>
              </a:solidFill>
              <a:cs typeface="Arial"/>
            </a:endParaRPr>
          </a:p>
        </p:txBody>
      </p:sp>
      <p:sp>
        <p:nvSpPr>
          <p:cNvPr id="73" name="Google Shape;2191;p207">
            <a:extLst>
              <a:ext uri="{FF2B5EF4-FFF2-40B4-BE49-F238E27FC236}">
                <a16:creationId xmlns:a16="http://schemas.microsoft.com/office/drawing/2014/main" id="{50ADB92D-4D69-4666-BE0E-069DBBB2B59B}"/>
              </a:ext>
            </a:extLst>
          </p:cNvPr>
          <p:cNvSpPr/>
          <p:nvPr/>
        </p:nvSpPr>
        <p:spPr>
          <a:xfrm>
            <a:off x="3306401" y="155608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ultural practices of the past will not serve the Commission in the future </a:t>
            </a:r>
            <a:endParaRPr lang="en-US" sz="1100" b="1" kern="0" dirty="0">
              <a:solidFill>
                <a:srgbClr val="FFFFFF"/>
              </a:solidFill>
              <a:cs typeface="Arial"/>
            </a:endParaRPr>
          </a:p>
        </p:txBody>
      </p:sp>
      <p:sp>
        <p:nvSpPr>
          <p:cNvPr id="39" name="Freeform 65">
            <a:extLst>
              <a:ext uri="{FF2B5EF4-FFF2-40B4-BE49-F238E27FC236}">
                <a16:creationId xmlns:a16="http://schemas.microsoft.com/office/drawing/2014/main" id="{3299DE07-C153-4679-A149-5165783B3AB0}"/>
              </a:ext>
            </a:extLst>
          </p:cNvPr>
          <p:cNvSpPr>
            <a:spLocks noChangeAspect="1" noEditPoints="1"/>
          </p:cNvSpPr>
          <p:nvPr/>
        </p:nvSpPr>
        <p:spPr bwMode="auto">
          <a:xfrm>
            <a:off x="3365318" y="1615477"/>
            <a:ext cx="462821" cy="477136"/>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ja-JP" altLang="en-US" sz="1000"/>
          </a:p>
        </p:txBody>
      </p:sp>
      <p:sp>
        <p:nvSpPr>
          <p:cNvPr id="40" name="Freeform 12">
            <a:extLst>
              <a:ext uri="{FF2B5EF4-FFF2-40B4-BE49-F238E27FC236}">
                <a16:creationId xmlns:a16="http://schemas.microsoft.com/office/drawing/2014/main" id="{04C117FC-9B71-4E34-9AF4-D1FEB1EFF63D}"/>
              </a:ext>
            </a:extLst>
          </p:cNvPr>
          <p:cNvSpPr>
            <a:spLocks noChangeAspect="1" noEditPoints="1"/>
          </p:cNvSpPr>
          <p:nvPr/>
        </p:nvSpPr>
        <p:spPr bwMode="auto">
          <a:xfrm>
            <a:off x="6114774" y="1622180"/>
            <a:ext cx="464404" cy="464404"/>
          </a:xfrm>
          <a:custGeom>
            <a:avLst/>
            <a:gdLst>
              <a:gd name="T0" fmla="*/ 288 w 576"/>
              <a:gd name="T1" fmla="*/ 224 h 576"/>
              <a:gd name="T2" fmla="*/ 224 w 576"/>
              <a:gd name="T3" fmla="*/ 288 h 576"/>
              <a:gd name="T4" fmla="*/ 288 w 576"/>
              <a:gd name="T5" fmla="*/ 352 h 576"/>
              <a:gd name="T6" fmla="*/ 352 w 576"/>
              <a:gd name="T7" fmla="*/ 288 h 576"/>
              <a:gd name="T8" fmla="*/ 288 w 576"/>
              <a:gd name="T9" fmla="*/ 224 h 576"/>
              <a:gd name="T10" fmla="*/ 327 w 576"/>
              <a:gd name="T11" fmla="*/ 288 h 576"/>
              <a:gd name="T12" fmla="*/ 288 w 576"/>
              <a:gd name="T13" fmla="*/ 327 h 576"/>
              <a:gd name="T14" fmla="*/ 249 w 576"/>
              <a:gd name="T15" fmla="*/ 288 h 576"/>
              <a:gd name="T16" fmla="*/ 288 w 576"/>
              <a:gd name="T17" fmla="*/ 249 h 576"/>
              <a:gd name="T18" fmla="*/ 327 w 576"/>
              <a:gd name="T19" fmla="*/ 288 h 576"/>
              <a:gd name="T20" fmla="*/ 479 w 576"/>
              <a:gd name="T21" fmla="*/ 288 h 576"/>
              <a:gd name="T22" fmla="*/ 423 w 576"/>
              <a:gd name="T23" fmla="*/ 153 h 576"/>
              <a:gd name="T24" fmla="*/ 288 w 576"/>
              <a:gd name="T25" fmla="*/ 97 h 576"/>
              <a:gd name="T26" fmla="*/ 153 w 576"/>
              <a:gd name="T27" fmla="*/ 153 h 576"/>
              <a:gd name="T28" fmla="*/ 97 w 576"/>
              <a:gd name="T29" fmla="*/ 288 h 576"/>
              <a:gd name="T30" fmla="*/ 145 w 576"/>
              <a:gd name="T31" fmla="*/ 414 h 576"/>
              <a:gd name="T32" fmla="*/ 113 w 576"/>
              <a:gd name="T33" fmla="*/ 446 h 576"/>
              <a:gd name="T34" fmla="*/ 113 w 576"/>
              <a:gd name="T35" fmla="*/ 446 h 576"/>
              <a:gd name="T36" fmla="*/ 130 w 576"/>
              <a:gd name="T37" fmla="*/ 463 h 576"/>
              <a:gd name="T38" fmla="*/ 130 w 576"/>
              <a:gd name="T39" fmla="*/ 463 h 576"/>
              <a:gd name="T40" fmla="*/ 162 w 576"/>
              <a:gd name="T41" fmla="*/ 431 h 576"/>
              <a:gd name="T42" fmla="*/ 288 w 576"/>
              <a:gd name="T43" fmla="*/ 479 h 576"/>
              <a:gd name="T44" fmla="*/ 414 w 576"/>
              <a:gd name="T45" fmla="*/ 431 h 576"/>
              <a:gd name="T46" fmla="*/ 446 w 576"/>
              <a:gd name="T47" fmla="*/ 463 h 576"/>
              <a:gd name="T48" fmla="*/ 446 w 576"/>
              <a:gd name="T49" fmla="*/ 463 h 576"/>
              <a:gd name="T50" fmla="*/ 463 w 576"/>
              <a:gd name="T51" fmla="*/ 446 h 576"/>
              <a:gd name="T52" fmla="*/ 464 w 576"/>
              <a:gd name="T53" fmla="*/ 446 h 576"/>
              <a:gd name="T54" fmla="*/ 431 w 576"/>
              <a:gd name="T55" fmla="*/ 414 h 576"/>
              <a:gd name="T56" fmla="*/ 479 w 576"/>
              <a:gd name="T57" fmla="*/ 288 h 576"/>
              <a:gd name="T58" fmla="*/ 454 w 576"/>
              <a:gd name="T59" fmla="*/ 288 h 576"/>
              <a:gd name="T60" fmla="*/ 288 w 576"/>
              <a:gd name="T61" fmla="*/ 454 h 576"/>
              <a:gd name="T62" fmla="*/ 122 w 576"/>
              <a:gd name="T63" fmla="*/ 288 h 576"/>
              <a:gd name="T64" fmla="*/ 288 w 576"/>
              <a:gd name="T65" fmla="*/ 122 h 576"/>
              <a:gd name="T66" fmla="*/ 454 w 576"/>
              <a:gd name="T67" fmla="*/ 288 h 576"/>
              <a:gd name="T68" fmla="*/ 288 w 576"/>
              <a:gd name="T69" fmla="*/ 161 h 576"/>
              <a:gd name="T70" fmla="*/ 161 w 576"/>
              <a:gd name="T71" fmla="*/ 288 h 576"/>
              <a:gd name="T72" fmla="*/ 288 w 576"/>
              <a:gd name="T73" fmla="*/ 415 h 576"/>
              <a:gd name="T74" fmla="*/ 415 w 576"/>
              <a:gd name="T75" fmla="*/ 288 h 576"/>
              <a:gd name="T76" fmla="*/ 288 w 576"/>
              <a:gd name="T77" fmla="*/ 161 h 576"/>
              <a:gd name="T78" fmla="*/ 391 w 576"/>
              <a:gd name="T79" fmla="*/ 288 h 576"/>
              <a:gd name="T80" fmla="*/ 288 w 576"/>
              <a:gd name="T81" fmla="*/ 391 h 576"/>
              <a:gd name="T82" fmla="*/ 185 w 576"/>
              <a:gd name="T83" fmla="*/ 288 h 576"/>
              <a:gd name="T84" fmla="*/ 288 w 576"/>
              <a:gd name="T85" fmla="*/ 185 h 576"/>
              <a:gd name="T86" fmla="*/ 391 w 576"/>
              <a:gd name="T87" fmla="*/ 288 h 576"/>
              <a:gd name="T88" fmla="*/ 0 w 576"/>
              <a:gd name="T89" fmla="*/ 0 h 576"/>
              <a:gd name="T90" fmla="*/ 0 w 576"/>
              <a:gd name="T91" fmla="*/ 576 h 576"/>
              <a:gd name="T92" fmla="*/ 576 w 576"/>
              <a:gd name="T93" fmla="*/ 576 h 576"/>
              <a:gd name="T94" fmla="*/ 576 w 576"/>
              <a:gd name="T95" fmla="*/ 0 h 576"/>
              <a:gd name="T96" fmla="*/ 0 w 576"/>
              <a:gd name="T97" fmla="*/ 0 h 576"/>
              <a:gd name="T98" fmla="*/ 551 w 576"/>
              <a:gd name="T99" fmla="*/ 551 h 576"/>
              <a:gd name="T100" fmla="*/ 25 w 576"/>
              <a:gd name="T101" fmla="*/ 551 h 576"/>
              <a:gd name="T102" fmla="*/ 25 w 576"/>
              <a:gd name="T103" fmla="*/ 25 h 576"/>
              <a:gd name="T104" fmla="*/ 551 w 576"/>
              <a:gd name="T105" fmla="*/ 25 h 576"/>
              <a:gd name="T106" fmla="*/ 551 w 576"/>
              <a:gd name="T10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6" h="576">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0" dirty="0"/>
          </a:p>
        </p:txBody>
      </p:sp>
      <p:sp>
        <p:nvSpPr>
          <p:cNvPr id="47" name="Freeform 14">
            <a:extLst>
              <a:ext uri="{FF2B5EF4-FFF2-40B4-BE49-F238E27FC236}">
                <a16:creationId xmlns:a16="http://schemas.microsoft.com/office/drawing/2014/main" id="{B730E2E8-8B64-4643-B675-4A59B0B29104}"/>
              </a:ext>
            </a:extLst>
          </p:cNvPr>
          <p:cNvSpPr>
            <a:spLocks noChangeAspect="1" noEditPoints="1"/>
          </p:cNvSpPr>
          <p:nvPr/>
        </p:nvSpPr>
        <p:spPr bwMode="auto">
          <a:xfrm>
            <a:off x="7213737" y="4538772"/>
            <a:ext cx="481737" cy="481295"/>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0" dirty="0"/>
          </a:p>
        </p:txBody>
      </p:sp>
      <p:sp>
        <p:nvSpPr>
          <p:cNvPr id="55" name="TextBox 54">
            <a:extLst>
              <a:ext uri="{FF2B5EF4-FFF2-40B4-BE49-F238E27FC236}">
                <a16:creationId xmlns:a16="http://schemas.microsoft.com/office/drawing/2014/main" id="{DDC9D791-1723-4E43-B073-B07726B835AD}"/>
              </a:ext>
            </a:extLst>
          </p:cNvPr>
          <p:cNvSpPr txBox="1"/>
          <p:nvPr/>
        </p:nvSpPr>
        <p:spPr>
          <a:xfrm>
            <a:off x="3306401" y="2178806"/>
            <a:ext cx="2700000" cy="4177179"/>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olidFill>
                  <a:schemeClr val="tx1"/>
                </a:solidFill>
                <a:cs typeface="Arial" panose="020B0604020202020204" pitchFamily="34" charset="0"/>
              </a:rPr>
              <a:t>The Commission has experienced rapid growth and development from </a:t>
            </a:r>
            <a:r>
              <a:rPr lang="en-AU" dirty="0" smtClean="0">
                <a:solidFill>
                  <a:schemeClr val="tx1"/>
                </a:solidFill>
                <a:cs typeface="Arial" panose="020B0604020202020204" pitchFamily="34" charset="0"/>
              </a:rPr>
              <a:t>start-up </a:t>
            </a:r>
            <a:r>
              <a:rPr lang="en-AU" dirty="0">
                <a:solidFill>
                  <a:schemeClr val="tx1"/>
                </a:solidFill>
                <a:cs typeface="Arial" panose="020B0604020202020204" pitchFamily="34" charset="0"/>
              </a:rPr>
              <a:t>in 2018 and is now transitioning into a </a:t>
            </a:r>
            <a:r>
              <a:rPr lang="en-AU" dirty="0" smtClean="0">
                <a:solidFill>
                  <a:schemeClr val="tx1"/>
                </a:solidFill>
                <a:cs typeface="Arial" panose="020B0604020202020204" pitchFamily="34" charset="0"/>
              </a:rPr>
              <a:t>scale-up </a:t>
            </a:r>
            <a:r>
              <a:rPr lang="en-AU" dirty="0">
                <a:solidFill>
                  <a:schemeClr val="tx1"/>
                </a:solidFill>
                <a:cs typeface="Arial" panose="020B0604020202020204" pitchFamily="34" charset="0"/>
              </a:rPr>
              <a:t>phase. </a:t>
            </a:r>
            <a:r>
              <a:rPr lang="en-US" dirty="0">
                <a:solidFill>
                  <a:schemeClr val="tx1"/>
                </a:solidFill>
                <a:ea typeface="+mn-ea"/>
                <a:cs typeface="Arial" panose="020B0604020202020204" pitchFamily="34" charset="0"/>
              </a:rPr>
              <a:t>The workforce was shaped organically through the </a:t>
            </a:r>
            <a:r>
              <a:rPr lang="en-US" dirty="0" smtClean="0">
                <a:solidFill>
                  <a:schemeClr val="tx1"/>
                </a:solidFill>
                <a:ea typeface="+mn-ea"/>
                <a:cs typeface="Arial" panose="020B0604020202020204" pitchFamily="34" charset="0"/>
              </a:rPr>
              <a:t>start-up </a:t>
            </a:r>
            <a:r>
              <a:rPr lang="en-US" dirty="0">
                <a:solidFill>
                  <a:schemeClr val="tx1"/>
                </a:solidFill>
                <a:ea typeface="+mn-ea"/>
                <a:cs typeface="Arial" panose="020B0604020202020204" pitchFamily="34" charset="0"/>
              </a:rPr>
              <a:t>phase and now needs to be considered more deliberately.</a:t>
            </a:r>
            <a:r>
              <a:rPr lang="en-AU" dirty="0">
                <a:solidFill>
                  <a:schemeClr val="tx1"/>
                </a:solidFill>
                <a:ea typeface="+mn-ea"/>
                <a:cs typeface="Arial" panose="020B0604020202020204" pitchFamily="34" charset="0"/>
                <a:sym typeface="Arial"/>
              </a:rPr>
              <a:t> </a:t>
            </a:r>
            <a:r>
              <a:rPr lang="en-US" dirty="0">
                <a:solidFill>
                  <a:schemeClr val="tx1"/>
                </a:solidFill>
                <a:ea typeface="+mn-ea"/>
                <a:cs typeface="Arial" panose="020B0604020202020204" pitchFamily="34" charset="0"/>
              </a:rPr>
              <a:t>There is a risk that as the Commission grows it loses some of the strong connections and collaborative practices needed to deliver quality </a:t>
            </a:r>
            <a:r>
              <a:rPr lang="en-US" dirty="0" smtClean="0">
                <a:solidFill>
                  <a:schemeClr val="tx1"/>
                </a:solidFill>
                <a:ea typeface="+mn-ea"/>
                <a:cs typeface="Arial" panose="020B0604020202020204" pitchFamily="34" charset="0"/>
              </a:rPr>
              <a:t>services. </a:t>
            </a:r>
            <a:r>
              <a:rPr lang="en-US" dirty="0">
                <a:solidFill>
                  <a:schemeClr val="tx1"/>
                </a:solidFill>
                <a:ea typeface="+mn-ea"/>
                <a:cs typeface="Arial" panose="020B0604020202020204" pitchFamily="34" charset="0"/>
              </a:rPr>
              <a:t>As the Commission grows, </a:t>
            </a:r>
            <a:r>
              <a:rPr lang="en-US" dirty="0" smtClean="0">
                <a:solidFill>
                  <a:schemeClr val="tx1"/>
                </a:solidFill>
                <a:ea typeface="+mn-ea"/>
                <a:cs typeface="Arial" panose="020B0604020202020204" pitchFamily="34" charset="0"/>
              </a:rPr>
              <a:t>it will need to invest </a:t>
            </a:r>
            <a:r>
              <a:rPr lang="en-US" dirty="0">
                <a:solidFill>
                  <a:schemeClr val="tx1"/>
                </a:solidFill>
                <a:ea typeface="+mn-ea"/>
                <a:cs typeface="Arial" panose="020B0604020202020204" pitchFamily="34" charset="0"/>
              </a:rPr>
              <a:t>in structures that encourage collaboration </a:t>
            </a:r>
            <a:r>
              <a:rPr lang="en-US" dirty="0" smtClean="0">
                <a:solidFill>
                  <a:schemeClr val="tx1"/>
                </a:solidFill>
                <a:ea typeface="+mn-ea"/>
                <a:cs typeface="Arial" panose="020B0604020202020204" pitchFamily="34" charset="0"/>
              </a:rPr>
              <a:t>and </a:t>
            </a:r>
            <a:r>
              <a:rPr lang="en-US" dirty="0">
                <a:solidFill>
                  <a:schemeClr val="tx1"/>
                </a:solidFill>
                <a:ea typeface="+mn-ea"/>
                <a:cs typeface="Arial" panose="020B0604020202020204" pitchFamily="34" charset="0"/>
              </a:rPr>
              <a:t>allow people to communicate across </a:t>
            </a:r>
            <a:r>
              <a:rPr lang="en-US" dirty="0" smtClean="0">
                <a:solidFill>
                  <a:schemeClr val="tx1"/>
                </a:solidFill>
                <a:ea typeface="+mn-ea"/>
                <a:cs typeface="Arial" panose="020B0604020202020204" pitchFamily="34" charset="0"/>
              </a:rPr>
              <a:t>boundaries. Building </a:t>
            </a:r>
            <a:r>
              <a:rPr lang="en-US" dirty="0">
                <a:solidFill>
                  <a:schemeClr val="tx1"/>
                </a:solidFill>
                <a:ea typeface="+mn-ea"/>
                <a:cs typeface="Arial" panose="020B0604020202020204" pitchFamily="34" charset="0"/>
              </a:rPr>
              <a:t>a culture of collaboration will be key. </a:t>
            </a:r>
            <a:r>
              <a:rPr lang="en-AU" dirty="0">
                <a:solidFill>
                  <a:schemeClr val="tx1"/>
                </a:solidFill>
                <a:ea typeface="+mn-ea"/>
                <a:cs typeface="Arial" panose="020B0604020202020204" pitchFamily="34" charset="0"/>
                <a:sym typeface="Arial"/>
              </a:rPr>
              <a:t>The Commission has </a:t>
            </a:r>
            <a:r>
              <a:rPr lang="en-AU" dirty="0">
                <a:solidFill>
                  <a:schemeClr val="tx1"/>
                </a:solidFill>
                <a:ea typeface="+mn-ea"/>
                <a:cs typeface="Arial" panose="020B0604020202020204" pitchFamily="34" charset="0"/>
              </a:rPr>
              <a:t>a committed, values-driven workforce with a clear sense of purpose, identity, goodwill and positive values. To support the transition to the future state, cultural shifts will be required -- some behaviours, others mindsets. </a:t>
            </a:r>
            <a:r>
              <a:rPr lang="en-AU" i="1" dirty="0">
                <a:solidFill>
                  <a:schemeClr val="tx1"/>
                </a:solidFill>
                <a:ea typeface="+mn-ea"/>
                <a:cs typeface="Arial" panose="020B0604020202020204" pitchFamily="34" charset="0"/>
                <a:sym typeface="Arial"/>
              </a:rPr>
              <a:t>Our </a:t>
            </a:r>
            <a:r>
              <a:rPr lang="en-AU" i="1" dirty="0" smtClean="0">
                <a:solidFill>
                  <a:schemeClr val="tx1"/>
                </a:solidFill>
                <a:ea typeface="+mn-ea"/>
                <a:cs typeface="Arial" panose="020B0604020202020204" pitchFamily="34" charset="0"/>
                <a:sym typeface="Arial"/>
              </a:rPr>
              <a:t>cultural </a:t>
            </a:r>
            <a:r>
              <a:rPr lang="en-AU" i="1" dirty="0">
                <a:solidFill>
                  <a:schemeClr val="tx1"/>
                </a:solidFill>
                <a:ea typeface="+mn-ea"/>
                <a:cs typeface="Arial" panose="020B0604020202020204" pitchFamily="34" charset="0"/>
                <a:sym typeface="Arial"/>
              </a:rPr>
              <a:t>principles</a:t>
            </a:r>
            <a:r>
              <a:rPr lang="en-AU" dirty="0">
                <a:solidFill>
                  <a:schemeClr val="tx1"/>
                </a:solidFill>
                <a:ea typeface="+mn-ea"/>
                <a:cs typeface="Arial" panose="020B0604020202020204" pitchFamily="34" charset="0"/>
                <a:sym typeface="Arial"/>
              </a:rPr>
              <a:t> will be key to successfully evolving as a contemporary </a:t>
            </a:r>
            <a:r>
              <a:rPr lang="en-AU" dirty="0" smtClean="0">
                <a:solidFill>
                  <a:schemeClr val="tx1"/>
                </a:solidFill>
                <a:ea typeface="+mn-ea"/>
                <a:cs typeface="Arial" panose="020B0604020202020204" pitchFamily="34" charset="0"/>
                <a:sym typeface="Arial"/>
              </a:rPr>
              <a:t>purpose-driven </a:t>
            </a:r>
            <a:r>
              <a:rPr lang="en-AU" dirty="0">
                <a:solidFill>
                  <a:schemeClr val="tx1"/>
                </a:solidFill>
                <a:ea typeface="+mn-ea"/>
                <a:cs typeface="Arial" panose="020B0604020202020204" pitchFamily="34" charset="0"/>
                <a:sym typeface="Arial"/>
              </a:rPr>
              <a:t>regulator fostering the right values, mindsets and behaviours. </a:t>
            </a:r>
            <a:endParaRPr lang="en-AU" dirty="0">
              <a:solidFill>
                <a:schemeClr val="tx1"/>
              </a:solidFill>
              <a:sym typeface="Arial"/>
            </a:endParaRPr>
          </a:p>
          <a:p>
            <a:endParaRPr lang="en-AU" dirty="0"/>
          </a:p>
        </p:txBody>
      </p:sp>
      <p:sp>
        <p:nvSpPr>
          <p:cNvPr id="56" name="TextBox 55">
            <a:extLst>
              <a:ext uri="{FF2B5EF4-FFF2-40B4-BE49-F238E27FC236}">
                <a16:creationId xmlns:a16="http://schemas.microsoft.com/office/drawing/2014/main" id="{B24F1BE0-F7C9-4A68-9DC4-7308E2A97472}"/>
              </a:ext>
            </a:extLst>
          </p:cNvPr>
          <p:cNvSpPr txBox="1"/>
          <p:nvPr/>
        </p:nvSpPr>
        <p:spPr>
          <a:xfrm>
            <a:off x="6070719" y="2182861"/>
            <a:ext cx="2700000" cy="4173225"/>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smtClean="0">
                <a:solidFill>
                  <a:schemeClr val="tx1"/>
                </a:solidFill>
                <a:ea typeface="+mn-ea"/>
                <a:cs typeface="Arial" panose="020B0604020202020204" pitchFamily="34" charset="0"/>
              </a:rPr>
              <a:t>The performance and development management process was established prior to </a:t>
            </a:r>
            <a:r>
              <a:rPr lang="en-AU" dirty="0">
                <a:solidFill>
                  <a:schemeClr val="tx1"/>
                </a:solidFill>
                <a:ea typeface="+mn-ea"/>
                <a:cs typeface="Arial" panose="020B0604020202020204" pitchFamily="34" charset="0"/>
              </a:rPr>
              <a:t>the Commission’s contemporary and future strategic agenda, </a:t>
            </a:r>
            <a:r>
              <a:rPr lang="en-AU" dirty="0">
                <a:solidFill>
                  <a:schemeClr val="tx1"/>
                </a:solidFill>
                <a:ea typeface="+mn-ea"/>
                <a:cs typeface="Arial" panose="020B0604020202020204" pitchFamily="34" charset="0"/>
                <a:sym typeface="Arial"/>
              </a:rPr>
              <a:t>desired culture and ways of working, </a:t>
            </a:r>
            <a:r>
              <a:rPr lang="en-AU" dirty="0" smtClean="0">
                <a:solidFill>
                  <a:schemeClr val="tx1"/>
                </a:solidFill>
                <a:ea typeface="+mn-ea"/>
                <a:cs typeface="Arial" panose="020B0604020202020204" pitchFamily="34" charset="0"/>
                <a:sym typeface="Arial"/>
              </a:rPr>
              <a:t>and is not well-aligned. For </a:t>
            </a:r>
            <a:r>
              <a:rPr lang="en-AU" dirty="0">
                <a:solidFill>
                  <a:schemeClr val="tx1"/>
                </a:solidFill>
                <a:ea typeface="+mn-ea"/>
                <a:cs typeface="Arial" panose="020B0604020202020204" pitchFamily="34" charset="0"/>
                <a:sym typeface="Arial"/>
              </a:rPr>
              <a:t>example</a:t>
            </a:r>
            <a:r>
              <a:rPr lang="en-AU" dirty="0" smtClean="0">
                <a:solidFill>
                  <a:schemeClr val="tx1"/>
                </a:solidFill>
                <a:ea typeface="+mn-ea"/>
                <a:cs typeface="Arial" panose="020B0604020202020204" pitchFamily="34" charset="0"/>
                <a:sym typeface="Arial"/>
              </a:rPr>
              <a:t>, the cultural principles do not feature in the process, and there is a need to reinforce </a:t>
            </a:r>
            <a:r>
              <a:rPr lang="en-AU" dirty="0">
                <a:solidFill>
                  <a:schemeClr val="tx1"/>
                </a:solidFill>
                <a:ea typeface="+mn-ea"/>
                <a:cs typeface="Arial" panose="020B0604020202020204" pitchFamily="34" charset="0"/>
                <a:sym typeface="Arial"/>
              </a:rPr>
              <a:t>expectations </a:t>
            </a:r>
            <a:r>
              <a:rPr lang="en-AU" dirty="0" smtClean="0">
                <a:solidFill>
                  <a:schemeClr val="tx1"/>
                </a:solidFill>
                <a:ea typeface="+mn-ea"/>
                <a:cs typeface="Arial" panose="020B0604020202020204" pitchFamily="34" charset="0"/>
                <a:sym typeface="Arial"/>
              </a:rPr>
              <a:t>that managers will have </a:t>
            </a:r>
            <a:r>
              <a:rPr lang="en-AU" dirty="0">
                <a:solidFill>
                  <a:schemeClr val="tx1"/>
                </a:solidFill>
                <a:ea typeface="+mn-ea"/>
                <a:cs typeface="Arial" panose="020B0604020202020204" pitchFamily="34" charset="0"/>
                <a:sym typeface="Arial"/>
              </a:rPr>
              <a:t>courageous conversations, </a:t>
            </a:r>
            <a:r>
              <a:rPr lang="en-AU" dirty="0" smtClean="0">
                <a:solidFill>
                  <a:schemeClr val="tx1"/>
                </a:solidFill>
                <a:ea typeface="+mn-ea"/>
                <a:cs typeface="Arial" panose="020B0604020202020204" pitchFamily="34" charset="0"/>
                <a:sym typeface="Arial"/>
              </a:rPr>
              <a:t>hold </a:t>
            </a:r>
            <a:r>
              <a:rPr lang="en-AU" dirty="0">
                <a:solidFill>
                  <a:schemeClr val="tx1"/>
                </a:solidFill>
                <a:ea typeface="+mn-ea"/>
                <a:cs typeface="Arial" panose="020B0604020202020204" pitchFamily="34" charset="0"/>
                <a:sym typeface="Arial"/>
              </a:rPr>
              <a:t>people to account and  </a:t>
            </a:r>
            <a:r>
              <a:rPr lang="en-AU" dirty="0" smtClean="0">
                <a:solidFill>
                  <a:schemeClr val="tx1"/>
                </a:solidFill>
                <a:ea typeface="+mn-ea"/>
                <a:cs typeface="Arial" panose="020B0604020202020204" pitchFamily="34" charset="0"/>
                <a:sym typeface="Arial"/>
              </a:rPr>
              <a:t>challenge </a:t>
            </a:r>
            <a:r>
              <a:rPr lang="en-AU" dirty="0">
                <a:solidFill>
                  <a:schemeClr val="tx1"/>
                </a:solidFill>
                <a:ea typeface="+mn-ea"/>
                <a:cs typeface="Arial" panose="020B0604020202020204" pitchFamily="34" charset="0"/>
                <a:sym typeface="Arial"/>
              </a:rPr>
              <a:t>behaviours that are not aligned.</a:t>
            </a:r>
          </a:p>
          <a:p>
            <a:pPr>
              <a:spcBef>
                <a:spcPts val="600"/>
              </a:spcBef>
            </a:pPr>
            <a:r>
              <a:rPr lang="en-US" dirty="0">
                <a:solidFill>
                  <a:schemeClr val="tx1"/>
                </a:solidFill>
                <a:ea typeface="+mn-ea"/>
                <a:cs typeface="Arial" panose="020B0604020202020204" pitchFamily="34" charset="0"/>
                <a:sym typeface="Arial"/>
              </a:rPr>
              <a:t>The Commission will need to evolve performance management within the context including leveraging existing APS performance management tools and solutions. In time, </a:t>
            </a:r>
            <a:r>
              <a:rPr lang="en-AU" dirty="0">
                <a:solidFill>
                  <a:schemeClr val="tx1"/>
                </a:solidFill>
                <a:ea typeface="+mn-ea"/>
                <a:cs typeface="Arial" panose="020B0604020202020204" pitchFamily="34" charset="0"/>
                <a:sym typeface="Arial"/>
              </a:rPr>
              <a:t>embedding a one-Commission view on performance management with alignment, visibility and consistency on performance processes across </a:t>
            </a:r>
            <a:r>
              <a:rPr lang="en-US" dirty="0">
                <a:solidFill>
                  <a:schemeClr val="tx1"/>
                </a:solidFill>
                <a:ea typeface="+mn-ea"/>
                <a:cs typeface="Arial" panose="020B0604020202020204" pitchFamily="34" charset="0"/>
                <a:sym typeface="Arial"/>
              </a:rPr>
              <a:t>the </a:t>
            </a:r>
            <a:r>
              <a:rPr lang="en-US" dirty="0" smtClean="0">
                <a:solidFill>
                  <a:schemeClr val="tx1"/>
                </a:solidFill>
                <a:ea typeface="+mn-ea"/>
                <a:cs typeface="Arial" panose="020B0604020202020204" pitchFamily="34" charset="0"/>
                <a:sym typeface="Arial"/>
              </a:rPr>
              <a:t>Commission will be necessary. </a:t>
            </a:r>
            <a:r>
              <a:rPr lang="en-US" dirty="0">
                <a:solidFill>
                  <a:schemeClr val="tx1"/>
                </a:solidFill>
                <a:ea typeface="+mn-ea"/>
                <a:cs typeface="Arial" panose="020B0604020202020204" pitchFamily="34" charset="0"/>
                <a:sym typeface="Arial"/>
              </a:rPr>
              <a:t>In turn, </a:t>
            </a:r>
            <a:r>
              <a:rPr lang="en-US" dirty="0" smtClean="0">
                <a:solidFill>
                  <a:schemeClr val="tx1"/>
                </a:solidFill>
                <a:ea typeface="+mn-ea"/>
                <a:cs typeface="Arial" panose="020B0604020202020204" pitchFamily="34" charset="0"/>
                <a:sym typeface="Arial"/>
              </a:rPr>
              <a:t>focus can shift to </a:t>
            </a:r>
            <a:r>
              <a:rPr lang="en-AU" dirty="0" smtClean="0">
                <a:solidFill>
                  <a:schemeClr val="tx1"/>
                </a:solidFill>
                <a:ea typeface="+mn-ea"/>
                <a:cs typeface="Arial" panose="020B0604020202020204" pitchFamily="34" charset="0"/>
                <a:sym typeface="Arial"/>
              </a:rPr>
              <a:t>increasing </a:t>
            </a:r>
            <a:r>
              <a:rPr lang="en-AU" dirty="0">
                <a:solidFill>
                  <a:schemeClr val="tx1"/>
                </a:solidFill>
                <a:ea typeface="+mn-ea"/>
                <a:cs typeface="Arial" panose="020B0604020202020204" pitchFamily="34" charset="0"/>
                <a:sym typeface="Arial"/>
              </a:rPr>
              <a:t>clarity and consistency in accountabilities, expectations and </a:t>
            </a:r>
            <a:r>
              <a:rPr lang="en-AU" dirty="0" smtClean="0">
                <a:solidFill>
                  <a:schemeClr val="tx1"/>
                </a:solidFill>
                <a:ea typeface="+mn-ea"/>
                <a:cs typeface="Arial" panose="020B0604020202020204" pitchFamily="34" charset="0"/>
                <a:sym typeface="Arial"/>
              </a:rPr>
              <a:t>priorities.</a:t>
            </a:r>
            <a:endParaRPr lang="en-US" dirty="0">
              <a:solidFill>
                <a:schemeClr val="tx1"/>
              </a:solidFill>
              <a:ea typeface="+mn-ea"/>
              <a:cs typeface="Arial" panose="020B0604020202020204" pitchFamily="34" charset="0"/>
              <a:sym typeface="Arial"/>
            </a:endParaRPr>
          </a:p>
          <a:p>
            <a:endParaRPr lang="en-AU" dirty="0">
              <a:solidFill>
                <a:schemeClr val="tx1"/>
              </a:solidFill>
            </a:endParaRPr>
          </a:p>
          <a:p>
            <a:endParaRPr lang="en-AU" dirty="0">
              <a:solidFill>
                <a:schemeClr val="tx1"/>
              </a:solidFill>
            </a:endParaRPr>
          </a:p>
        </p:txBody>
      </p:sp>
      <p:sp>
        <p:nvSpPr>
          <p:cNvPr id="67" name="Google Shape;2191;p207">
            <a:extLst>
              <a:ext uri="{FF2B5EF4-FFF2-40B4-BE49-F238E27FC236}">
                <a16:creationId xmlns:a16="http://schemas.microsoft.com/office/drawing/2014/main" id="{431EC110-185F-42DB-9B59-BBAD7C349470}"/>
              </a:ext>
            </a:extLst>
          </p:cNvPr>
          <p:cNvSpPr/>
          <p:nvPr/>
        </p:nvSpPr>
        <p:spPr>
          <a:xfrm>
            <a:off x="517086" y="155608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ommission must capitalise on the skills and capabilities it has today and build for the future </a:t>
            </a:r>
            <a:endParaRPr lang="en-US" sz="1100" b="1" kern="0" dirty="0">
              <a:solidFill>
                <a:srgbClr val="FFFFFF"/>
              </a:solidFill>
              <a:cs typeface="Arial"/>
            </a:endParaRPr>
          </a:p>
        </p:txBody>
      </p:sp>
      <p:sp>
        <p:nvSpPr>
          <p:cNvPr id="68" name="TextBox 67">
            <a:extLst>
              <a:ext uri="{FF2B5EF4-FFF2-40B4-BE49-F238E27FC236}">
                <a16:creationId xmlns:a16="http://schemas.microsoft.com/office/drawing/2014/main" id="{AE4CAE6F-2487-44D6-A01A-76B2260F969E}"/>
              </a:ext>
            </a:extLst>
          </p:cNvPr>
          <p:cNvSpPr txBox="1"/>
          <p:nvPr/>
        </p:nvSpPr>
        <p:spPr>
          <a:xfrm>
            <a:off x="517086" y="2175938"/>
            <a:ext cx="2700000" cy="4166486"/>
          </a:xfrm>
          <a:prstGeom prst="rect">
            <a:avLst/>
          </a:prstGeom>
          <a:solidFill>
            <a:schemeClr val="bg1">
              <a:lumMod val="95000"/>
            </a:schemeClr>
          </a:solidFill>
        </p:spPr>
        <p:txBody>
          <a:bodyPr wrap="square" lIns="91440" tIns="45720" rIns="91440" bIns="45720" rtlCol="0" anchor="t">
            <a:noAutofit/>
          </a:bodyPr>
          <a:lstStyle/>
          <a:p>
            <a:pPr fontAlgn="ctr">
              <a:spcBef>
                <a:spcPts val="600"/>
              </a:spcBef>
            </a:pPr>
            <a:r>
              <a:rPr lang="en-US" sz="1000" dirty="0">
                <a:cs typeface="Arial" panose="020B0604020202020204" pitchFamily="34" charset="0"/>
                <a:sym typeface="Arial"/>
              </a:rPr>
              <a:t>The Commission operates in a continuously changing environment – </a:t>
            </a:r>
            <a:r>
              <a:rPr lang="en-US" sz="1000" dirty="0" smtClean="0">
                <a:cs typeface="Arial" panose="020B0604020202020204" pitchFamily="34" charset="0"/>
                <a:sym typeface="Arial"/>
              </a:rPr>
              <a:t>facing </a:t>
            </a:r>
            <a:r>
              <a:rPr lang="en-US" sz="1000" dirty="0">
                <a:cs typeface="Arial" panose="020B0604020202020204" pitchFamily="34" charset="0"/>
                <a:sym typeface="Arial"/>
              </a:rPr>
              <a:t>evolving Government and community expectations, a complex legal and regulatory environment, fiscal pressures, increased public scrutiny</a:t>
            </a:r>
            <a:r>
              <a:rPr lang="en-US" sz="1000" dirty="0">
                <a:cs typeface="Arial" panose="020B0604020202020204" pitchFamily="34" charset="0"/>
              </a:rPr>
              <a:t> </a:t>
            </a:r>
            <a:r>
              <a:rPr lang="en-US" sz="1000" dirty="0">
                <a:cs typeface="Arial" panose="020B0604020202020204" pitchFamily="34" charset="0"/>
                <a:sym typeface="Arial"/>
              </a:rPr>
              <a:t>and both the impacts of and opportunities for increasing digitisation. </a:t>
            </a:r>
            <a:r>
              <a:rPr lang="en-US" sz="1000" dirty="0">
                <a:ea typeface="Arial" panose="020B0604020202020204" pitchFamily="34" charset="0"/>
                <a:cs typeface="Arial" panose="020B0604020202020204" pitchFamily="34" charset="0"/>
              </a:rPr>
              <a:t>This </a:t>
            </a:r>
            <a:r>
              <a:rPr lang="en-US" sz="1000" dirty="0">
                <a:cs typeface="Arial" panose="020B0604020202020204" pitchFamily="34" charset="0"/>
                <a:sym typeface="Arial"/>
              </a:rPr>
              <a:t>requires a diverse and increasingly sophisticated skills mix such as enhanced regulatory capability for all, successfully navigating complex legal and regulatory requirements including investigative skills, cross-functionally strategic case management, digital and data enabled, risk-based decision making with people with disability at the centre. </a:t>
            </a:r>
          </a:p>
          <a:p>
            <a:pPr fontAlgn="ctr">
              <a:spcBef>
                <a:spcPts val="600"/>
              </a:spcBef>
            </a:pPr>
            <a:r>
              <a:rPr lang="en-US" sz="1000" dirty="0">
                <a:cs typeface="Arial" panose="020B0604020202020204" pitchFamily="34" charset="0"/>
                <a:sym typeface="Arial"/>
              </a:rPr>
              <a:t>The Commission will need to consider how it acquires, develops, sustains and evolves its workforce (capabilities, capacity, design / mix) and how it flexes to deliver on strategic priorities and operational delivery requirements in an efficient, effective and sustainable manner.</a:t>
            </a:r>
            <a:r>
              <a:rPr lang="en-US" sz="1000" dirty="0">
                <a:cs typeface="Arial" panose="020B0604020202020204" pitchFamily="34" charset="0"/>
              </a:rPr>
              <a:t> This will enable the Commission to maintain delivery of strategic and operational requirements, increase ability to ramp up and down as demand changes and flexibly adapt as the operating environment shifts.</a:t>
            </a:r>
          </a:p>
        </p:txBody>
      </p:sp>
      <p:grpSp>
        <p:nvGrpSpPr>
          <p:cNvPr id="28" name="Group 109">
            <a:extLst>
              <a:ext uri="{FF2B5EF4-FFF2-40B4-BE49-F238E27FC236}">
                <a16:creationId xmlns:a16="http://schemas.microsoft.com/office/drawing/2014/main" id="{DBEFE901-DF11-446A-872A-C1DCF82F2B10}"/>
              </a:ext>
            </a:extLst>
          </p:cNvPr>
          <p:cNvGrpSpPr>
            <a:grpSpLocks noChangeAspect="1"/>
          </p:cNvGrpSpPr>
          <p:nvPr/>
        </p:nvGrpSpPr>
        <p:grpSpPr bwMode="auto">
          <a:xfrm>
            <a:off x="569405" y="1632896"/>
            <a:ext cx="441438" cy="439854"/>
            <a:chOff x="986" y="0"/>
            <a:chExt cx="6673" cy="6672"/>
          </a:xfrm>
          <a:solidFill>
            <a:schemeClr val="bg1"/>
          </a:solidFill>
        </p:grpSpPr>
        <p:sp>
          <p:nvSpPr>
            <p:cNvPr id="29" name="Freeform 110">
              <a:extLst>
                <a:ext uri="{FF2B5EF4-FFF2-40B4-BE49-F238E27FC236}">
                  <a16:creationId xmlns:a16="http://schemas.microsoft.com/office/drawing/2014/main" id="{1DF81F0C-44C9-4FAF-BCC3-D7983EE43FDA}"/>
                </a:ext>
              </a:extLst>
            </p:cNvPr>
            <p:cNvSpPr>
              <a:spLocks noEditPoints="1"/>
            </p:cNvSpPr>
            <p:nvPr/>
          </p:nvSpPr>
          <p:spPr bwMode="auto">
            <a:xfrm>
              <a:off x="986" y="0"/>
              <a:ext cx="6673" cy="6672"/>
            </a:xfrm>
            <a:custGeom>
              <a:avLst/>
              <a:gdLst>
                <a:gd name="T0" fmla="*/ 0 w 6673"/>
                <a:gd name="T1" fmla="*/ 0 h 6672"/>
                <a:gd name="T2" fmla="*/ 0 w 6673"/>
                <a:gd name="T3" fmla="*/ 6672 h 6672"/>
                <a:gd name="T4" fmla="*/ 6673 w 6673"/>
                <a:gd name="T5" fmla="*/ 6672 h 6672"/>
                <a:gd name="T6" fmla="*/ 6673 w 6673"/>
                <a:gd name="T7" fmla="*/ 0 h 6672"/>
                <a:gd name="T8" fmla="*/ 0 w 6673"/>
                <a:gd name="T9" fmla="*/ 0 h 6672"/>
                <a:gd name="T10" fmla="*/ 6389 w 6673"/>
                <a:gd name="T11" fmla="*/ 6388 h 6672"/>
                <a:gd name="T12" fmla="*/ 284 w 6673"/>
                <a:gd name="T13" fmla="*/ 6388 h 6672"/>
                <a:gd name="T14" fmla="*/ 284 w 6673"/>
                <a:gd name="T15" fmla="*/ 284 h 6672"/>
                <a:gd name="T16" fmla="*/ 6389 w 6673"/>
                <a:gd name="T17" fmla="*/ 284 h 6672"/>
                <a:gd name="T18" fmla="*/ 6389 w 6673"/>
                <a:gd name="T19" fmla="*/ 6388 h 6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73" h="6672">
                  <a:moveTo>
                    <a:pt x="0" y="0"/>
                  </a:moveTo>
                  <a:lnTo>
                    <a:pt x="0" y="6672"/>
                  </a:lnTo>
                  <a:lnTo>
                    <a:pt x="6673" y="6672"/>
                  </a:lnTo>
                  <a:lnTo>
                    <a:pt x="6673" y="0"/>
                  </a:lnTo>
                  <a:lnTo>
                    <a:pt x="0" y="0"/>
                  </a:lnTo>
                  <a:close/>
                  <a:moveTo>
                    <a:pt x="6389" y="6388"/>
                  </a:moveTo>
                  <a:lnTo>
                    <a:pt x="284" y="6388"/>
                  </a:lnTo>
                  <a:lnTo>
                    <a:pt x="284" y="284"/>
                  </a:lnTo>
                  <a:lnTo>
                    <a:pt x="6389" y="284"/>
                  </a:lnTo>
                  <a:lnTo>
                    <a:pt x="6389" y="6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US" sz="1000" dirty="0"/>
            </a:p>
          </p:txBody>
        </p:sp>
        <p:sp>
          <p:nvSpPr>
            <p:cNvPr id="30" name="Freeform 111">
              <a:extLst>
                <a:ext uri="{FF2B5EF4-FFF2-40B4-BE49-F238E27FC236}">
                  <a16:creationId xmlns:a16="http://schemas.microsoft.com/office/drawing/2014/main" id="{CA14C9A1-EBD3-46C6-AF66-8E09311B7394}"/>
                </a:ext>
              </a:extLst>
            </p:cNvPr>
            <p:cNvSpPr>
              <a:spLocks noEditPoints="1"/>
            </p:cNvSpPr>
            <p:nvPr/>
          </p:nvSpPr>
          <p:spPr bwMode="auto">
            <a:xfrm>
              <a:off x="1882" y="896"/>
              <a:ext cx="4879" cy="4878"/>
            </a:xfrm>
            <a:custGeom>
              <a:avLst/>
              <a:gdLst>
                <a:gd name="T0" fmla="*/ 3335 w 4879"/>
                <a:gd name="T1" fmla="*/ 4710 h 4878"/>
                <a:gd name="T2" fmla="*/ 4165 w 4879"/>
                <a:gd name="T3" fmla="*/ 4164 h 4878"/>
                <a:gd name="T4" fmla="*/ 4711 w 4879"/>
                <a:gd name="T5" fmla="*/ 3334 h 4878"/>
                <a:gd name="T6" fmla="*/ 4879 w 4879"/>
                <a:gd name="T7" fmla="*/ 2376 h 4878"/>
                <a:gd name="T8" fmla="*/ 4639 w 4879"/>
                <a:gd name="T9" fmla="*/ 1384 h 4878"/>
                <a:gd name="T10" fmla="*/ 4035 w 4879"/>
                <a:gd name="T11" fmla="*/ 596 h 4878"/>
                <a:gd name="T12" fmla="*/ 3165 w 4879"/>
                <a:gd name="T13" fmla="*/ 110 h 4878"/>
                <a:gd name="T14" fmla="*/ 2190 w 4879"/>
                <a:gd name="T15" fmla="*/ 14 h 4878"/>
                <a:gd name="T16" fmla="*/ 1226 w 4879"/>
                <a:gd name="T17" fmla="*/ 324 h 4878"/>
                <a:gd name="T18" fmla="*/ 486 w 4879"/>
                <a:gd name="T19" fmla="*/ 982 h 4878"/>
                <a:gd name="T20" fmla="*/ 64 w 4879"/>
                <a:gd name="T21" fmla="*/ 1890 h 4878"/>
                <a:gd name="T22" fmla="*/ 38 w 4879"/>
                <a:gd name="T23" fmla="*/ 2872 h 4878"/>
                <a:gd name="T24" fmla="*/ 418 w 4879"/>
                <a:gd name="T25" fmla="*/ 3802 h 4878"/>
                <a:gd name="T26" fmla="*/ 1126 w 4879"/>
                <a:gd name="T27" fmla="*/ 4494 h 4878"/>
                <a:gd name="T28" fmla="*/ 2068 w 4879"/>
                <a:gd name="T29" fmla="*/ 4850 h 4878"/>
                <a:gd name="T30" fmla="*/ 1526 w 4879"/>
                <a:gd name="T31" fmla="*/ 4344 h 4878"/>
                <a:gd name="T32" fmla="*/ 758 w 4879"/>
                <a:gd name="T33" fmla="*/ 3786 h 4878"/>
                <a:gd name="T34" fmla="*/ 1002 w 4879"/>
                <a:gd name="T35" fmla="*/ 2158 h 4878"/>
                <a:gd name="T36" fmla="*/ 464 w 4879"/>
                <a:gd name="T37" fmla="*/ 1584 h 4878"/>
                <a:gd name="T38" fmla="*/ 4049 w 4879"/>
                <a:gd name="T39" fmla="*/ 2040 h 4878"/>
                <a:gd name="T40" fmla="*/ 4345 w 4879"/>
                <a:gd name="T41" fmla="*/ 1434 h 4878"/>
                <a:gd name="T42" fmla="*/ 4589 w 4879"/>
                <a:gd name="T43" fmla="*/ 2298 h 4878"/>
                <a:gd name="T44" fmla="*/ 1590 w 4879"/>
                <a:gd name="T45" fmla="*/ 1802 h 4878"/>
                <a:gd name="T46" fmla="*/ 2230 w 4879"/>
                <a:gd name="T47" fmla="*/ 3078 h 4878"/>
                <a:gd name="T48" fmla="*/ 1388 w 4879"/>
                <a:gd name="T49" fmla="*/ 3346 h 4878"/>
                <a:gd name="T50" fmla="*/ 2292 w 4879"/>
                <a:gd name="T51" fmla="*/ 3746 h 4878"/>
                <a:gd name="T52" fmla="*/ 2260 w 4879"/>
                <a:gd name="T53" fmla="*/ 3404 h 4878"/>
                <a:gd name="T54" fmla="*/ 2603 w 4879"/>
                <a:gd name="T55" fmla="*/ 3372 h 4878"/>
                <a:gd name="T56" fmla="*/ 2635 w 4879"/>
                <a:gd name="T57" fmla="*/ 3714 h 4878"/>
                <a:gd name="T58" fmla="*/ 2020 w 4879"/>
                <a:gd name="T59" fmla="*/ 3870 h 4878"/>
                <a:gd name="T60" fmla="*/ 2182 w 4879"/>
                <a:gd name="T61" fmla="*/ 4538 h 4878"/>
                <a:gd name="T62" fmla="*/ 1948 w 4879"/>
                <a:gd name="T63" fmla="*/ 3730 h 4878"/>
                <a:gd name="T64" fmla="*/ 2921 w 4879"/>
                <a:gd name="T65" fmla="*/ 3790 h 4878"/>
                <a:gd name="T66" fmla="*/ 2783 w 4879"/>
                <a:gd name="T67" fmla="*/ 4492 h 4878"/>
                <a:gd name="T68" fmla="*/ 2853 w 4879"/>
                <a:gd name="T69" fmla="*/ 3220 h 4878"/>
                <a:gd name="T70" fmla="*/ 3299 w 4879"/>
                <a:gd name="T71" fmla="*/ 2738 h 4878"/>
                <a:gd name="T72" fmla="*/ 2963 w 4879"/>
                <a:gd name="T73" fmla="*/ 3446 h 4878"/>
                <a:gd name="T74" fmla="*/ 4001 w 4879"/>
                <a:gd name="T75" fmla="*/ 2456 h 4878"/>
                <a:gd name="T76" fmla="*/ 3783 w 4879"/>
                <a:gd name="T77" fmla="*/ 2722 h 4878"/>
                <a:gd name="T78" fmla="*/ 3517 w 4879"/>
                <a:gd name="T79" fmla="*/ 2504 h 4878"/>
                <a:gd name="T80" fmla="*/ 3733 w 4879"/>
                <a:gd name="T81" fmla="*/ 2238 h 4878"/>
                <a:gd name="T82" fmla="*/ 4239 w 4879"/>
                <a:gd name="T83" fmla="*/ 2696 h 4878"/>
                <a:gd name="T84" fmla="*/ 4439 w 4879"/>
                <a:gd name="T85" fmla="*/ 3244 h 4878"/>
                <a:gd name="T86" fmla="*/ 3475 w 4879"/>
                <a:gd name="T87" fmla="*/ 2036 h 4878"/>
                <a:gd name="T88" fmla="*/ 3485 w 4879"/>
                <a:gd name="T89" fmla="*/ 1498 h 4878"/>
                <a:gd name="T90" fmla="*/ 2757 w 4879"/>
                <a:gd name="T91" fmla="*/ 368 h 4878"/>
                <a:gd name="T92" fmla="*/ 2298 w 4879"/>
                <a:gd name="T93" fmla="*/ 1150 h 4878"/>
                <a:gd name="T94" fmla="*/ 1868 w 4879"/>
                <a:gd name="T95" fmla="*/ 572 h 4878"/>
                <a:gd name="T96" fmla="*/ 1462 w 4879"/>
                <a:gd name="T97" fmla="*/ 1100 h 4878"/>
                <a:gd name="T98" fmla="*/ 1592 w 4879"/>
                <a:gd name="T99" fmla="*/ 1418 h 4878"/>
                <a:gd name="T100" fmla="*/ 1274 w 4879"/>
                <a:gd name="T101" fmla="*/ 1548 h 4878"/>
                <a:gd name="T102" fmla="*/ 1144 w 4879"/>
                <a:gd name="T103" fmla="*/ 1230 h 4878"/>
                <a:gd name="T104" fmla="*/ 1008 w 4879"/>
                <a:gd name="T105" fmla="*/ 2810 h 4878"/>
                <a:gd name="T106" fmla="*/ 354 w 4879"/>
                <a:gd name="T107" fmla="*/ 2978 h 4878"/>
                <a:gd name="T108" fmla="*/ 3631 w 4879"/>
                <a:gd name="T109" fmla="*/ 3830 h 4878"/>
                <a:gd name="T110" fmla="*/ 3415 w 4879"/>
                <a:gd name="T111" fmla="*/ 4360 h 4878"/>
                <a:gd name="T112" fmla="*/ 3423 w 4879"/>
                <a:gd name="T113" fmla="*/ 522 h 4878"/>
                <a:gd name="T114" fmla="*/ 1588 w 4879"/>
                <a:gd name="T115" fmla="*/ 462 h 4878"/>
                <a:gd name="T116" fmla="*/ 1060 w 4879"/>
                <a:gd name="T117" fmla="*/ 896 h 4878"/>
                <a:gd name="T118" fmla="*/ 1052 w 4879"/>
                <a:gd name="T119" fmla="*/ 794 h 4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79" h="4878">
                  <a:moveTo>
                    <a:pt x="2441" y="4878"/>
                  </a:moveTo>
                  <a:lnTo>
                    <a:pt x="2441" y="4878"/>
                  </a:lnTo>
                  <a:lnTo>
                    <a:pt x="2503" y="4878"/>
                  </a:lnTo>
                  <a:lnTo>
                    <a:pt x="2565" y="4876"/>
                  </a:lnTo>
                  <a:lnTo>
                    <a:pt x="2627" y="4872"/>
                  </a:lnTo>
                  <a:lnTo>
                    <a:pt x="2689" y="4866"/>
                  </a:lnTo>
                  <a:lnTo>
                    <a:pt x="2751" y="4860"/>
                  </a:lnTo>
                  <a:lnTo>
                    <a:pt x="2811" y="4850"/>
                  </a:lnTo>
                  <a:lnTo>
                    <a:pt x="2871" y="4840"/>
                  </a:lnTo>
                  <a:lnTo>
                    <a:pt x="2931" y="4830"/>
                  </a:lnTo>
                  <a:lnTo>
                    <a:pt x="2991" y="4816"/>
                  </a:lnTo>
                  <a:lnTo>
                    <a:pt x="3049" y="4802"/>
                  </a:lnTo>
                  <a:lnTo>
                    <a:pt x="3107" y="4786"/>
                  </a:lnTo>
                  <a:lnTo>
                    <a:pt x="3165" y="4770"/>
                  </a:lnTo>
                  <a:lnTo>
                    <a:pt x="3223" y="4750"/>
                  </a:lnTo>
                  <a:lnTo>
                    <a:pt x="3279" y="4730"/>
                  </a:lnTo>
                  <a:lnTo>
                    <a:pt x="3335" y="4710"/>
                  </a:lnTo>
                  <a:lnTo>
                    <a:pt x="3389" y="4686"/>
                  </a:lnTo>
                  <a:lnTo>
                    <a:pt x="3443" y="4664"/>
                  </a:lnTo>
                  <a:lnTo>
                    <a:pt x="3497" y="4638"/>
                  </a:lnTo>
                  <a:lnTo>
                    <a:pt x="3551" y="4612"/>
                  </a:lnTo>
                  <a:lnTo>
                    <a:pt x="3603" y="4584"/>
                  </a:lnTo>
                  <a:lnTo>
                    <a:pt x="3653" y="4556"/>
                  </a:lnTo>
                  <a:lnTo>
                    <a:pt x="3705" y="4526"/>
                  </a:lnTo>
                  <a:lnTo>
                    <a:pt x="3755" y="4494"/>
                  </a:lnTo>
                  <a:lnTo>
                    <a:pt x="3803" y="4462"/>
                  </a:lnTo>
                  <a:lnTo>
                    <a:pt x="3851" y="4428"/>
                  </a:lnTo>
                  <a:lnTo>
                    <a:pt x="3899" y="4394"/>
                  </a:lnTo>
                  <a:lnTo>
                    <a:pt x="3945" y="4358"/>
                  </a:lnTo>
                  <a:lnTo>
                    <a:pt x="3991" y="4322"/>
                  </a:lnTo>
                  <a:lnTo>
                    <a:pt x="4035" y="4284"/>
                  </a:lnTo>
                  <a:lnTo>
                    <a:pt x="4079" y="4244"/>
                  </a:lnTo>
                  <a:lnTo>
                    <a:pt x="4123" y="4204"/>
                  </a:lnTo>
                  <a:lnTo>
                    <a:pt x="4165" y="4164"/>
                  </a:lnTo>
                  <a:lnTo>
                    <a:pt x="4205" y="4122"/>
                  </a:lnTo>
                  <a:lnTo>
                    <a:pt x="4245" y="4078"/>
                  </a:lnTo>
                  <a:lnTo>
                    <a:pt x="4285" y="4036"/>
                  </a:lnTo>
                  <a:lnTo>
                    <a:pt x="4323" y="3990"/>
                  </a:lnTo>
                  <a:lnTo>
                    <a:pt x="4359" y="3944"/>
                  </a:lnTo>
                  <a:lnTo>
                    <a:pt x="4395" y="3898"/>
                  </a:lnTo>
                  <a:lnTo>
                    <a:pt x="4429" y="3850"/>
                  </a:lnTo>
                  <a:lnTo>
                    <a:pt x="4463" y="3802"/>
                  </a:lnTo>
                  <a:lnTo>
                    <a:pt x="4495" y="3754"/>
                  </a:lnTo>
                  <a:lnTo>
                    <a:pt x="4527" y="3704"/>
                  </a:lnTo>
                  <a:lnTo>
                    <a:pt x="4557" y="3652"/>
                  </a:lnTo>
                  <a:lnTo>
                    <a:pt x="4585" y="3602"/>
                  </a:lnTo>
                  <a:lnTo>
                    <a:pt x="4613" y="3550"/>
                  </a:lnTo>
                  <a:lnTo>
                    <a:pt x="4639" y="3496"/>
                  </a:lnTo>
                  <a:lnTo>
                    <a:pt x="4663" y="3442"/>
                  </a:lnTo>
                  <a:lnTo>
                    <a:pt x="4687" y="3388"/>
                  </a:lnTo>
                  <a:lnTo>
                    <a:pt x="4711" y="3334"/>
                  </a:lnTo>
                  <a:lnTo>
                    <a:pt x="4731" y="3278"/>
                  </a:lnTo>
                  <a:lnTo>
                    <a:pt x="4751" y="3222"/>
                  </a:lnTo>
                  <a:lnTo>
                    <a:pt x="4769" y="3164"/>
                  </a:lnTo>
                  <a:lnTo>
                    <a:pt x="4787" y="3106"/>
                  </a:lnTo>
                  <a:lnTo>
                    <a:pt x="4803" y="3048"/>
                  </a:lnTo>
                  <a:lnTo>
                    <a:pt x="4817" y="2990"/>
                  </a:lnTo>
                  <a:lnTo>
                    <a:pt x="4831" y="2930"/>
                  </a:lnTo>
                  <a:lnTo>
                    <a:pt x="4841" y="2872"/>
                  </a:lnTo>
                  <a:lnTo>
                    <a:pt x="4851" y="2810"/>
                  </a:lnTo>
                  <a:lnTo>
                    <a:pt x="4861" y="2750"/>
                  </a:lnTo>
                  <a:lnTo>
                    <a:pt x="4867" y="2688"/>
                  </a:lnTo>
                  <a:lnTo>
                    <a:pt x="4873" y="2628"/>
                  </a:lnTo>
                  <a:lnTo>
                    <a:pt x="4877" y="2566"/>
                  </a:lnTo>
                  <a:lnTo>
                    <a:pt x="4879" y="2502"/>
                  </a:lnTo>
                  <a:lnTo>
                    <a:pt x="4879" y="2440"/>
                  </a:lnTo>
                  <a:lnTo>
                    <a:pt x="4879" y="2440"/>
                  </a:lnTo>
                  <a:lnTo>
                    <a:pt x="4879" y="2376"/>
                  </a:lnTo>
                  <a:lnTo>
                    <a:pt x="4877" y="2314"/>
                  </a:lnTo>
                  <a:lnTo>
                    <a:pt x="4873" y="2252"/>
                  </a:lnTo>
                  <a:lnTo>
                    <a:pt x="4867" y="2190"/>
                  </a:lnTo>
                  <a:lnTo>
                    <a:pt x="4861" y="2130"/>
                  </a:lnTo>
                  <a:lnTo>
                    <a:pt x="4851" y="2068"/>
                  </a:lnTo>
                  <a:lnTo>
                    <a:pt x="4841" y="2008"/>
                  </a:lnTo>
                  <a:lnTo>
                    <a:pt x="4831" y="1948"/>
                  </a:lnTo>
                  <a:lnTo>
                    <a:pt x="4817" y="1890"/>
                  </a:lnTo>
                  <a:lnTo>
                    <a:pt x="4803" y="1830"/>
                  </a:lnTo>
                  <a:lnTo>
                    <a:pt x="4787" y="1772"/>
                  </a:lnTo>
                  <a:lnTo>
                    <a:pt x="4769" y="1716"/>
                  </a:lnTo>
                  <a:lnTo>
                    <a:pt x="4751" y="1658"/>
                  </a:lnTo>
                  <a:lnTo>
                    <a:pt x="4731" y="1602"/>
                  </a:lnTo>
                  <a:lnTo>
                    <a:pt x="4711" y="1546"/>
                  </a:lnTo>
                  <a:lnTo>
                    <a:pt x="4687" y="1492"/>
                  </a:lnTo>
                  <a:lnTo>
                    <a:pt x="4663" y="1436"/>
                  </a:lnTo>
                  <a:lnTo>
                    <a:pt x="4639" y="1384"/>
                  </a:lnTo>
                  <a:lnTo>
                    <a:pt x="4613" y="1330"/>
                  </a:lnTo>
                  <a:lnTo>
                    <a:pt x="4585" y="1278"/>
                  </a:lnTo>
                  <a:lnTo>
                    <a:pt x="4557" y="1226"/>
                  </a:lnTo>
                  <a:lnTo>
                    <a:pt x="4527" y="1176"/>
                  </a:lnTo>
                  <a:lnTo>
                    <a:pt x="4495" y="1126"/>
                  </a:lnTo>
                  <a:lnTo>
                    <a:pt x="4463" y="1078"/>
                  </a:lnTo>
                  <a:lnTo>
                    <a:pt x="4429" y="1028"/>
                  </a:lnTo>
                  <a:lnTo>
                    <a:pt x="4395" y="982"/>
                  </a:lnTo>
                  <a:lnTo>
                    <a:pt x="4359" y="934"/>
                  </a:lnTo>
                  <a:lnTo>
                    <a:pt x="4323" y="890"/>
                  </a:lnTo>
                  <a:lnTo>
                    <a:pt x="4285" y="844"/>
                  </a:lnTo>
                  <a:lnTo>
                    <a:pt x="4245" y="800"/>
                  </a:lnTo>
                  <a:lnTo>
                    <a:pt x="4205" y="758"/>
                  </a:lnTo>
                  <a:lnTo>
                    <a:pt x="4165" y="716"/>
                  </a:lnTo>
                  <a:lnTo>
                    <a:pt x="4123" y="676"/>
                  </a:lnTo>
                  <a:lnTo>
                    <a:pt x="4079" y="636"/>
                  </a:lnTo>
                  <a:lnTo>
                    <a:pt x="4035" y="596"/>
                  </a:lnTo>
                  <a:lnTo>
                    <a:pt x="3991" y="558"/>
                  </a:lnTo>
                  <a:lnTo>
                    <a:pt x="3945" y="522"/>
                  </a:lnTo>
                  <a:lnTo>
                    <a:pt x="3899" y="486"/>
                  </a:lnTo>
                  <a:lnTo>
                    <a:pt x="3851" y="452"/>
                  </a:lnTo>
                  <a:lnTo>
                    <a:pt x="3803" y="418"/>
                  </a:lnTo>
                  <a:lnTo>
                    <a:pt x="3755" y="386"/>
                  </a:lnTo>
                  <a:lnTo>
                    <a:pt x="3705" y="354"/>
                  </a:lnTo>
                  <a:lnTo>
                    <a:pt x="3653" y="324"/>
                  </a:lnTo>
                  <a:lnTo>
                    <a:pt x="3603" y="296"/>
                  </a:lnTo>
                  <a:lnTo>
                    <a:pt x="3551" y="268"/>
                  </a:lnTo>
                  <a:lnTo>
                    <a:pt x="3497" y="242"/>
                  </a:lnTo>
                  <a:lnTo>
                    <a:pt x="3443" y="216"/>
                  </a:lnTo>
                  <a:lnTo>
                    <a:pt x="3389" y="192"/>
                  </a:lnTo>
                  <a:lnTo>
                    <a:pt x="3335" y="170"/>
                  </a:lnTo>
                  <a:lnTo>
                    <a:pt x="3279" y="150"/>
                  </a:lnTo>
                  <a:lnTo>
                    <a:pt x="3223" y="130"/>
                  </a:lnTo>
                  <a:lnTo>
                    <a:pt x="3165" y="110"/>
                  </a:lnTo>
                  <a:lnTo>
                    <a:pt x="3107" y="94"/>
                  </a:lnTo>
                  <a:lnTo>
                    <a:pt x="3049" y="78"/>
                  </a:lnTo>
                  <a:lnTo>
                    <a:pt x="2991" y="64"/>
                  </a:lnTo>
                  <a:lnTo>
                    <a:pt x="2931" y="50"/>
                  </a:lnTo>
                  <a:lnTo>
                    <a:pt x="2871" y="38"/>
                  </a:lnTo>
                  <a:lnTo>
                    <a:pt x="2811" y="28"/>
                  </a:lnTo>
                  <a:lnTo>
                    <a:pt x="2751" y="20"/>
                  </a:lnTo>
                  <a:lnTo>
                    <a:pt x="2689" y="14"/>
                  </a:lnTo>
                  <a:lnTo>
                    <a:pt x="2627" y="8"/>
                  </a:lnTo>
                  <a:lnTo>
                    <a:pt x="2565" y="4"/>
                  </a:lnTo>
                  <a:lnTo>
                    <a:pt x="2503" y="2"/>
                  </a:lnTo>
                  <a:lnTo>
                    <a:pt x="2441" y="0"/>
                  </a:lnTo>
                  <a:lnTo>
                    <a:pt x="2441" y="0"/>
                  </a:lnTo>
                  <a:lnTo>
                    <a:pt x="2376" y="2"/>
                  </a:lnTo>
                  <a:lnTo>
                    <a:pt x="2314" y="4"/>
                  </a:lnTo>
                  <a:lnTo>
                    <a:pt x="2252" y="8"/>
                  </a:lnTo>
                  <a:lnTo>
                    <a:pt x="2190" y="14"/>
                  </a:lnTo>
                  <a:lnTo>
                    <a:pt x="2130" y="20"/>
                  </a:lnTo>
                  <a:lnTo>
                    <a:pt x="2068" y="28"/>
                  </a:lnTo>
                  <a:lnTo>
                    <a:pt x="2008" y="38"/>
                  </a:lnTo>
                  <a:lnTo>
                    <a:pt x="1948" y="50"/>
                  </a:lnTo>
                  <a:lnTo>
                    <a:pt x="1890" y="64"/>
                  </a:lnTo>
                  <a:lnTo>
                    <a:pt x="1830" y="78"/>
                  </a:lnTo>
                  <a:lnTo>
                    <a:pt x="1772" y="94"/>
                  </a:lnTo>
                  <a:lnTo>
                    <a:pt x="1716" y="110"/>
                  </a:lnTo>
                  <a:lnTo>
                    <a:pt x="1658" y="130"/>
                  </a:lnTo>
                  <a:lnTo>
                    <a:pt x="1602" y="150"/>
                  </a:lnTo>
                  <a:lnTo>
                    <a:pt x="1546" y="170"/>
                  </a:lnTo>
                  <a:lnTo>
                    <a:pt x="1492" y="192"/>
                  </a:lnTo>
                  <a:lnTo>
                    <a:pt x="1436" y="216"/>
                  </a:lnTo>
                  <a:lnTo>
                    <a:pt x="1384" y="242"/>
                  </a:lnTo>
                  <a:lnTo>
                    <a:pt x="1330" y="268"/>
                  </a:lnTo>
                  <a:lnTo>
                    <a:pt x="1278" y="296"/>
                  </a:lnTo>
                  <a:lnTo>
                    <a:pt x="1226" y="324"/>
                  </a:lnTo>
                  <a:lnTo>
                    <a:pt x="1176" y="354"/>
                  </a:lnTo>
                  <a:lnTo>
                    <a:pt x="1126" y="386"/>
                  </a:lnTo>
                  <a:lnTo>
                    <a:pt x="1076" y="418"/>
                  </a:lnTo>
                  <a:lnTo>
                    <a:pt x="1028" y="452"/>
                  </a:lnTo>
                  <a:lnTo>
                    <a:pt x="982" y="486"/>
                  </a:lnTo>
                  <a:lnTo>
                    <a:pt x="934" y="522"/>
                  </a:lnTo>
                  <a:lnTo>
                    <a:pt x="890" y="558"/>
                  </a:lnTo>
                  <a:lnTo>
                    <a:pt x="844" y="596"/>
                  </a:lnTo>
                  <a:lnTo>
                    <a:pt x="800" y="636"/>
                  </a:lnTo>
                  <a:lnTo>
                    <a:pt x="758" y="676"/>
                  </a:lnTo>
                  <a:lnTo>
                    <a:pt x="716" y="716"/>
                  </a:lnTo>
                  <a:lnTo>
                    <a:pt x="674" y="758"/>
                  </a:lnTo>
                  <a:lnTo>
                    <a:pt x="634" y="800"/>
                  </a:lnTo>
                  <a:lnTo>
                    <a:pt x="596" y="844"/>
                  </a:lnTo>
                  <a:lnTo>
                    <a:pt x="558" y="890"/>
                  </a:lnTo>
                  <a:lnTo>
                    <a:pt x="522" y="934"/>
                  </a:lnTo>
                  <a:lnTo>
                    <a:pt x="486" y="982"/>
                  </a:lnTo>
                  <a:lnTo>
                    <a:pt x="452" y="1028"/>
                  </a:lnTo>
                  <a:lnTo>
                    <a:pt x="418" y="1078"/>
                  </a:lnTo>
                  <a:lnTo>
                    <a:pt x="386" y="1126"/>
                  </a:lnTo>
                  <a:lnTo>
                    <a:pt x="354" y="1176"/>
                  </a:lnTo>
                  <a:lnTo>
                    <a:pt x="324" y="1226"/>
                  </a:lnTo>
                  <a:lnTo>
                    <a:pt x="296" y="1278"/>
                  </a:lnTo>
                  <a:lnTo>
                    <a:pt x="268" y="1330"/>
                  </a:lnTo>
                  <a:lnTo>
                    <a:pt x="242" y="1384"/>
                  </a:lnTo>
                  <a:lnTo>
                    <a:pt x="216" y="1436"/>
                  </a:lnTo>
                  <a:lnTo>
                    <a:pt x="192" y="1492"/>
                  </a:lnTo>
                  <a:lnTo>
                    <a:pt x="170" y="1546"/>
                  </a:lnTo>
                  <a:lnTo>
                    <a:pt x="148" y="1602"/>
                  </a:lnTo>
                  <a:lnTo>
                    <a:pt x="128" y="1658"/>
                  </a:lnTo>
                  <a:lnTo>
                    <a:pt x="110" y="1716"/>
                  </a:lnTo>
                  <a:lnTo>
                    <a:pt x="94" y="1772"/>
                  </a:lnTo>
                  <a:lnTo>
                    <a:pt x="78" y="1830"/>
                  </a:lnTo>
                  <a:lnTo>
                    <a:pt x="64" y="1890"/>
                  </a:lnTo>
                  <a:lnTo>
                    <a:pt x="50" y="1948"/>
                  </a:lnTo>
                  <a:lnTo>
                    <a:pt x="38" y="2008"/>
                  </a:lnTo>
                  <a:lnTo>
                    <a:pt x="28" y="2068"/>
                  </a:lnTo>
                  <a:lnTo>
                    <a:pt x="20" y="2130"/>
                  </a:lnTo>
                  <a:lnTo>
                    <a:pt x="14" y="2190"/>
                  </a:lnTo>
                  <a:lnTo>
                    <a:pt x="8" y="2252"/>
                  </a:lnTo>
                  <a:lnTo>
                    <a:pt x="4" y="2314"/>
                  </a:lnTo>
                  <a:lnTo>
                    <a:pt x="2" y="2376"/>
                  </a:lnTo>
                  <a:lnTo>
                    <a:pt x="0" y="2440"/>
                  </a:lnTo>
                  <a:lnTo>
                    <a:pt x="0" y="2440"/>
                  </a:lnTo>
                  <a:lnTo>
                    <a:pt x="2" y="2502"/>
                  </a:lnTo>
                  <a:lnTo>
                    <a:pt x="4" y="2566"/>
                  </a:lnTo>
                  <a:lnTo>
                    <a:pt x="8" y="2628"/>
                  </a:lnTo>
                  <a:lnTo>
                    <a:pt x="14" y="2688"/>
                  </a:lnTo>
                  <a:lnTo>
                    <a:pt x="20" y="2750"/>
                  </a:lnTo>
                  <a:lnTo>
                    <a:pt x="28" y="2810"/>
                  </a:lnTo>
                  <a:lnTo>
                    <a:pt x="38" y="2872"/>
                  </a:lnTo>
                  <a:lnTo>
                    <a:pt x="50" y="2930"/>
                  </a:lnTo>
                  <a:lnTo>
                    <a:pt x="64" y="2990"/>
                  </a:lnTo>
                  <a:lnTo>
                    <a:pt x="78" y="3048"/>
                  </a:lnTo>
                  <a:lnTo>
                    <a:pt x="94" y="3106"/>
                  </a:lnTo>
                  <a:lnTo>
                    <a:pt x="110" y="3164"/>
                  </a:lnTo>
                  <a:lnTo>
                    <a:pt x="128" y="3222"/>
                  </a:lnTo>
                  <a:lnTo>
                    <a:pt x="148" y="3278"/>
                  </a:lnTo>
                  <a:lnTo>
                    <a:pt x="170" y="3334"/>
                  </a:lnTo>
                  <a:lnTo>
                    <a:pt x="192" y="3388"/>
                  </a:lnTo>
                  <a:lnTo>
                    <a:pt x="216" y="3442"/>
                  </a:lnTo>
                  <a:lnTo>
                    <a:pt x="242" y="3496"/>
                  </a:lnTo>
                  <a:lnTo>
                    <a:pt x="268" y="3550"/>
                  </a:lnTo>
                  <a:lnTo>
                    <a:pt x="296" y="3602"/>
                  </a:lnTo>
                  <a:lnTo>
                    <a:pt x="324" y="3652"/>
                  </a:lnTo>
                  <a:lnTo>
                    <a:pt x="354" y="3704"/>
                  </a:lnTo>
                  <a:lnTo>
                    <a:pt x="386" y="3754"/>
                  </a:lnTo>
                  <a:lnTo>
                    <a:pt x="418" y="3802"/>
                  </a:lnTo>
                  <a:lnTo>
                    <a:pt x="452" y="3850"/>
                  </a:lnTo>
                  <a:lnTo>
                    <a:pt x="486" y="3898"/>
                  </a:lnTo>
                  <a:lnTo>
                    <a:pt x="522" y="3944"/>
                  </a:lnTo>
                  <a:lnTo>
                    <a:pt x="558" y="3990"/>
                  </a:lnTo>
                  <a:lnTo>
                    <a:pt x="596" y="4036"/>
                  </a:lnTo>
                  <a:lnTo>
                    <a:pt x="634" y="4078"/>
                  </a:lnTo>
                  <a:lnTo>
                    <a:pt x="674" y="4122"/>
                  </a:lnTo>
                  <a:lnTo>
                    <a:pt x="716" y="4164"/>
                  </a:lnTo>
                  <a:lnTo>
                    <a:pt x="758" y="4204"/>
                  </a:lnTo>
                  <a:lnTo>
                    <a:pt x="800" y="4244"/>
                  </a:lnTo>
                  <a:lnTo>
                    <a:pt x="844" y="4284"/>
                  </a:lnTo>
                  <a:lnTo>
                    <a:pt x="890" y="4322"/>
                  </a:lnTo>
                  <a:lnTo>
                    <a:pt x="934" y="4358"/>
                  </a:lnTo>
                  <a:lnTo>
                    <a:pt x="982" y="4394"/>
                  </a:lnTo>
                  <a:lnTo>
                    <a:pt x="1028" y="4428"/>
                  </a:lnTo>
                  <a:lnTo>
                    <a:pt x="1076" y="4462"/>
                  </a:lnTo>
                  <a:lnTo>
                    <a:pt x="1126" y="4494"/>
                  </a:lnTo>
                  <a:lnTo>
                    <a:pt x="1176" y="4526"/>
                  </a:lnTo>
                  <a:lnTo>
                    <a:pt x="1226" y="4556"/>
                  </a:lnTo>
                  <a:lnTo>
                    <a:pt x="1278" y="4584"/>
                  </a:lnTo>
                  <a:lnTo>
                    <a:pt x="1330" y="4612"/>
                  </a:lnTo>
                  <a:lnTo>
                    <a:pt x="1384" y="4638"/>
                  </a:lnTo>
                  <a:lnTo>
                    <a:pt x="1436" y="4664"/>
                  </a:lnTo>
                  <a:lnTo>
                    <a:pt x="1492" y="4686"/>
                  </a:lnTo>
                  <a:lnTo>
                    <a:pt x="1546" y="4710"/>
                  </a:lnTo>
                  <a:lnTo>
                    <a:pt x="1602" y="4730"/>
                  </a:lnTo>
                  <a:lnTo>
                    <a:pt x="1658" y="4750"/>
                  </a:lnTo>
                  <a:lnTo>
                    <a:pt x="1716" y="4770"/>
                  </a:lnTo>
                  <a:lnTo>
                    <a:pt x="1772" y="4786"/>
                  </a:lnTo>
                  <a:lnTo>
                    <a:pt x="1830" y="4802"/>
                  </a:lnTo>
                  <a:lnTo>
                    <a:pt x="1890" y="4816"/>
                  </a:lnTo>
                  <a:lnTo>
                    <a:pt x="1948" y="4830"/>
                  </a:lnTo>
                  <a:lnTo>
                    <a:pt x="2008" y="4840"/>
                  </a:lnTo>
                  <a:lnTo>
                    <a:pt x="2068" y="4850"/>
                  </a:lnTo>
                  <a:lnTo>
                    <a:pt x="2130" y="4860"/>
                  </a:lnTo>
                  <a:lnTo>
                    <a:pt x="2190" y="4866"/>
                  </a:lnTo>
                  <a:lnTo>
                    <a:pt x="2252" y="4872"/>
                  </a:lnTo>
                  <a:lnTo>
                    <a:pt x="2314" y="4876"/>
                  </a:lnTo>
                  <a:lnTo>
                    <a:pt x="2376" y="4878"/>
                  </a:lnTo>
                  <a:lnTo>
                    <a:pt x="2441" y="4878"/>
                  </a:lnTo>
                  <a:lnTo>
                    <a:pt x="2441" y="4878"/>
                  </a:lnTo>
                  <a:close/>
                  <a:moveTo>
                    <a:pt x="716" y="3730"/>
                  </a:moveTo>
                  <a:lnTo>
                    <a:pt x="1206" y="3730"/>
                  </a:lnTo>
                  <a:lnTo>
                    <a:pt x="1206" y="3730"/>
                  </a:lnTo>
                  <a:lnTo>
                    <a:pt x="1244" y="3830"/>
                  </a:lnTo>
                  <a:lnTo>
                    <a:pt x="1284" y="3924"/>
                  </a:lnTo>
                  <a:lnTo>
                    <a:pt x="1328" y="4016"/>
                  </a:lnTo>
                  <a:lnTo>
                    <a:pt x="1374" y="4104"/>
                  </a:lnTo>
                  <a:lnTo>
                    <a:pt x="1422" y="4188"/>
                  </a:lnTo>
                  <a:lnTo>
                    <a:pt x="1472" y="4268"/>
                  </a:lnTo>
                  <a:lnTo>
                    <a:pt x="1526" y="4344"/>
                  </a:lnTo>
                  <a:lnTo>
                    <a:pt x="1580" y="4416"/>
                  </a:lnTo>
                  <a:lnTo>
                    <a:pt x="1580" y="4416"/>
                  </a:lnTo>
                  <a:lnTo>
                    <a:pt x="1516" y="4386"/>
                  </a:lnTo>
                  <a:lnTo>
                    <a:pt x="1454" y="4354"/>
                  </a:lnTo>
                  <a:lnTo>
                    <a:pt x="1392" y="4322"/>
                  </a:lnTo>
                  <a:lnTo>
                    <a:pt x="1332" y="4286"/>
                  </a:lnTo>
                  <a:lnTo>
                    <a:pt x="1272" y="4250"/>
                  </a:lnTo>
                  <a:lnTo>
                    <a:pt x="1214" y="4210"/>
                  </a:lnTo>
                  <a:lnTo>
                    <a:pt x="1158" y="4170"/>
                  </a:lnTo>
                  <a:lnTo>
                    <a:pt x="1102" y="4128"/>
                  </a:lnTo>
                  <a:lnTo>
                    <a:pt x="1048" y="4084"/>
                  </a:lnTo>
                  <a:lnTo>
                    <a:pt x="996" y="4038"/>
                  </a:lnTo>
                  <a:lnTo>
                    <a:pt x="946" y="3990"/>
                  </a:lnTo>
                  <a:lnTo>
                    <a:pt x="896" y="3942"/>
                  </a:lnTo>
                  <a:lnTo>
                    <a:pt x="848" y="3892"/>
                  </a:lnTo>
                  <a:lnTo>
                    <a:pt x="802" y="3840"/>
                  </a:lnTo>
                  <a:lnTo>
                    <a:pt x="758" y="3786"/>
                  </a:lnTo>
                  <a:lnTo>
                    <a:pt x="716" y="3730"/>
                  </a:lnTo>
                  <a:lnTo>
                    <a:pt x="716" y="3730"/>
                  </a:lnTo>
                  <a:close/>
                  <a:moveTo>
                    <a:pt x="852" y="1434"/>
                  </a:moveTo>
                  <a:lnTo>
                    <a:pt x="852" y="1434"/>
                  </a:lnTo>
                  <a:lnTo>
                    <a:pt x="864" y="1480"/>
                  </a:lnTo>
                  <a:lnTo>
                    <a:pt x="880" y="1526"/>
                  </a:lnTo>
                  <a:lnTo>
                    <a:pt x="900" y="1568"/>
                  </a:lnTo>
                  <a:lnTo>
                    <a:pt x="924" y="1608"/>
                  </a:lnTo>
                  <a:lnTo>
                    <a:pt x="952" y="1648"/>
                  </a:lnTo>
                  <a:lnTo>
                    <a:pt x="982" y="1682"/>
                  </a:lnTo>
                  <a:lnTo>
                    <a:pt x="1016" y="1716"/>
                  </a:lnTo>
                  <a:lnTo>
                    <a:pt x="1052" y="1746"/>
                  </a:lnTo>
                  <a:lnTo>
                    <a:pt x="1052" y="1746"/>
                  </a:lnTo>
                  <a:lnTo>
                    <a:pt x="1040" y="1812"/>
                  </a:lnTo>
                  <a:lnTo>
                    <a:pt x="1030" y="1880"/>
                  </a:lnTo>
                  <a:lnTo>
                    <a:pt x="1014" y="2018"/>
                  </a:lnTo>
                  <a:lnTo>
                    <a:pt x="1002" y="2158"/>
                  </a:lnTo>
                  <a:lnTo>
                    <a:pt x="998" y="2228"/>
                  </a:lnTo>
                  <a:lnTo>
                    <a:pt x="996" y="2298"/>
                  </a:lnTo>
                  <a:lnTo>
                    <a:pt x="290" y="2298"/>
                  </a:lnTo>
                  <a:lnTo>
                    <a:pt x="290" y="2298"/>
                  </a:lnTo>
                  <a:lnTo>
                    <a:pt x="294" y="2240"/>
                  </a:lnTo>
                  <a:lnTo>
                    <a:pt x="302" y="2182"/>
                  </a:lnTo>
                  <a:lnTo>
                    <a:pt x="308" y="2124"/>
                  </a:lnTo>
                  <a:lnTo>
                    <a:pt x="318" y="2068"/>
                  </a:lnTo>
                  <a:lnTo>
                    <a:pt x="328" y="2012"/>
                  </a:lnTo>
                  <a:lnTo>
                    <a:pt x="340" y="1956"/>
                  </a:lnTo>
                  <a:lnTo>
                    <a:pt x="354" y="1902"/>
                  </a:lnTo>
                  <a:lnTo>
                    <a:pt x="368" y="1848"/>
                  </a:lnTo>
                  <a:lnTo>
                    <a:pt x="384" y="1794"/>
                  </a:lnTo>
                  <a:lnTo>
                    <a:pt x="402" y="1740"/>
                  </a:lnTo>
                  <a:lnTo>
                    <a:pt x="422" y="1688"/>
                  </a:lnTo>
                  <a:lnTo>
                    <a:pt x="442" y="1636"/>
                  </a:lnTo>
                  <a:lnTo>
                    <a:pt x="464" y="1584"/>
                  </a:lnTo>
                  <a:lnTo>
                    <a:pt x="486" y="1534"/>
                  </a:lnTo>
                  <a:lnTo>
                    <a:pt x="510" y="1484"/>
                  </a:lnTo>
                  <a:lnTo>
                    <a:pt x="536" y="1434"/>
                  </a:lnTo>
                  <a:lnTo>
                    <a:pt x="852" y="1434"/>
                  </a:lnTo>
                  <a:close/>
                  <a:moveTo>
                    <a:pt x="4589" y="2298"/>
                  </a:moveTo>
                  <a:lnTo>
                    <a:pt x="4253" y="2298"/>
                  </a:lnTo>
                  <a:lnTo>
                    <a:pt x="4253" y="2298"/>
                  </a:lnTo>
                  <a:lnTo>
                    <a:pt x="4241" y="2266"/>
                  </a:lnTo>
                  <a:lnTo>
                    <a:pt x="4225" y="2236"/>
                  </a:lnTo>
                  <a:lnTo>
                    <a:pt x="4209" y="2206"/>
                  </a:lnTo>
                  <a:lnTo>
                    <a:pt x="4191" y="2178"/>
                  </a:lnTo>
                  <a:lnTo>
                    <a:pt x="4171" y="2152"/>
                  </a:lnTo>
                  <a:lnTo>
                    <a:pt x="4149" y="2126"/>
                  </a:lnTo>
                  <a:lnTo>
                    <a:pt x="4125" y="2102"/>
                  </a:lnTo>
                  <a:lnTo>
                    <a:pt x="4101" y="2080"/>
                  </a:lnTo>
                  <a:lnTo>
                    <a:pt x="4075" y="2058"/>
                  </a:lnTo>
                  <a:lnTo>
                    <a:pt x="4049" y="2040"/>
                  </a:lnTo>
                  <a:lnTo>
                    <a:pt x="4019" y="2022"/>
                  </a:lnTo>
                  <a:lnTo>
                    <a:pt x="3989" y="2006"/>
                  </a:lnTo>
                  <a:lnTo>
                    <a:pt x="3959" y="1992"/>
                  </a:lnTo>
                  <a:lnTo>
                    <a:pt x="3927" y="1980"/>
                  </a:lnTo>
                  <a:lnTo>
                    <a:pt x="3895" y="1970"/>
                  </a:lnTo>
                  <a:lnTo>
                    <a:pt x="3861" y="1962"/>
                  </a:lnTo>
                  <a:lnTo>
                    <a:pt x="3861" y="1962"/>
                  </a:lnTo>
                  <a:lnTo>
                    <a:pt x="3853" y="1894"/>
                  </a:lnTo>
                  <a:lnTo>
                    <a:pt x="3843" y="1824"/>
                  </a:lnTo>
                  <a:lnTo>
                    <a:pt x="3831" y="1758"/>
                  </a:lnTo>
                  <a:lnTo>
                    <a:pt x="3819" y="1690"/>
                  </a:lnTo>
                  <a:lnTo>
                    <a:pt x="3807" y="1626"/>
                  </a:lnTo>
                  <a:lnTo>
                    <a:pt x="3793" y="1560"/>
                  </a:lnTo>
                  <a:lnTo>
                    <a:pt x="3779" y="1496"/>
                  </a:lnTo>
                  <a:lnTo>
                    <a:pt x="3763" y="1434"/>
                  </a:lnTo>
                  <a:lnTo>
                    <a:pt x="4345" y="1434"/>
                  </a:lnTo>
                  <a:lnTo>
                    <a:pt x="4345" y="1434"/>
                  </a:lnTo>
                  <a:lnTo>
                    <a:pt x="4371" y="1484"/>
                  </a:lnTo>
                  <a:lnTo>
                    <a:pt x="4395" y="1534"/>
                  </a:lnTo>
                  <a:lnTo>
                    <a:pt x="4417" y="1584"/>
                  </a:lnTo>
                  <a:lnTo>
                    <a:pt x="4439" y="1636"/>
                  </a:lnTo>
                  <a:lnTo>
                    <a:pt x="4459" y="1688"/>
                  </a:lnTo>
                  <a:lnTo>
                    <a:pt x="4477" y="1740"/>
                  </a:lnTo>
                  <a:lnTo>
                    <a:pt x="4495" y="1794"/>
                  </a:lnTo>
                  <a:lnTo>
                    <a:pt x="4511" y="1848"/>
                  </a:lnTo>
                  <a:lnTo>
                    <a:pt x="4527" y="1902"/>
                  </a:lnTo>
                  <a:lnTo>
                    <a:pt x="4539" y="1956"/>
                  </a:lnTo>
                  <a:lnTo>
                    <a:pt x="4551" y="2012"/>
                  </a:lnTo>
                  <a:lnTo>
                    <a:pt x="4563" y="2068"/>
                  </a:lnTo>
                  <a:lnTo>
                    <a:pt x="4571" y="2124"/>
                  </a:lnTo>
                  <a:lnTo>
                    <a:pt x="4579" y="2182"/>
                  </a:lnTo>
                  <a:lnTo>
                    <a:pt x="4585" y="2240"/>
                  </a:lnTo>
                  <a:lnTo>
                    <a:pt x="4589" y="2298"/>
                  </a:lnTo>
                  <a:lnTo>
                    <a:pt x="4589" y="2298"/>
                  </a:lnTo>
                  <a:close/>
                  <a:moveTo>
                    <a:pt x="1884" y="1434"/>
                  </a:moveTo>
                  <a:lnTo>
                    <a:pt x="2298" y="1434"/>
                  </a:lnTo>
                  <a:lnTo>
                    <a:pt x="2298" y="2298"/>
                  </a:lnTo>
                  <a:lnTo>
                    <a:pt x="1280" y="2298"/>
                  </a:lnTo>
                  <a:lnTo>
                    <a:pt x="1280" y="2298"/>
                  </a:lnTo>
                  <a:lnTo>
                    <a:pt x="1286" y="2184"/>
                  </a:lnTo>
                  <a:lnTo>
                    <a:pt x="1294" y="2070"/>
                  </a:lnTo>
                  <a:lnTo>
                    <a:pt x="1308" y="1960"/>
                  </a:lnTo>
                  <a:lnTo>
                    <a:pt x="1322" y="1850"/>
                  </a:lnTo>
                  <a:lnTo>
                    <a:pt x="1322" y="1850"/>
                  </a:lnTo>
                  <a:lnTo>
                    <a:pt x="1368" y="1852"/>
                  </a:lnTo>
                  <a:lnTo>
                    <a:pt x="1368" y="1852"/>
                  </a:lnTo>
                  <a:lnTo>
                    <a:pt x="1414" y="1850"/>
                  </a:lnTo>
                  <a:lnTo>
                    <a:pt x="1460" y="1844"/>
                  </a:lnTo>
                  <a:lnTo>
                    <a:pt x="1504" y="1834"/>
                  </a:lnTo>
                  <a:lnTo>
                    <a:pt x="1548" y="1820"/>
                  </a:lnTo>
                  <a:lnTo>
                    <a:pt x="1590" y="1802"/>
                  </a:lnTo>
                  <a:lnTo>
                    <a:pt x="1628" y="1782"/>
                  </a:lnTo>
                  <a:lnTo>
                    <a:pt x="1666" y="1758"/>
                  </a:lnTo>
                  <a:lnTo>
                    <a:pt x="1702" y="1732"/>
                  </a:lnTo>
                  <a:lnTo>
                    <a:pt x="1734" y="1702"/>
                  </a:lnTo>
                  <a:lnTo>
                    <a:pt x="1764" y="1670"/>
                  </a:lnTo>
                  <a:lnTo>
                    <a:pt x="1792" y="1636"/>
                  </a:lnTo>
                  <a:lnTo>
                    <a:pt x="1818" y="1600"/>
                  </a:lnTo>
                  <a:lnTo>
                    <a:pt x="1838" y="1560"/>
                  </a:lnTo>
                  <a:lnTo>
                    <a:pt x="1858" y="1520"/>
                  </a:lnTo>
                  <a:lnTo>
                    <a:pt x="1872" y="1478"/>
                  </a:lnTo>
                  <a:lnTo>
                    <a:pt x="1884" y="1434"/>
                  </a:lnTo>
                  <a:lnTo>
                    <a:pt x="1884" y="1434"/>
                  </a:lnTo>
                  <a:close/>
                  <a:moveTo>
                    <a:pt x="2298" y="2582"/>
                  </a:moveTo>
                  <a:lnTo>
                    <a:pt x="2298" y="3054"/>
                  </a:lnTo>
                  <a:lnTo>
                    <a:pt x="2298" y="3054"/>
                  </a:lnTo>
                  <a:lnTo>
                    <a:pt x="2264" y="3064"/>
                  </a:lnTo>
                  <a:lnTo>
                    <a:pt x="2230" y="3078"/>
                  </a:lnTo>
                  <a:lnTo>
                    <a:pt x="2200" y="3094"/>
                  </a:lnTo>
                  <a:lnTo>
                    <a:pt x="2168" y="3112"/>
                  </a:lnTo>
                  <a:lnTo>
                    <a:pt x="2140" y="3130"/>
                  </a:lnTo>
                  <a:lnTo>
                    <a:pt x="2112" y="3152"/>
                  </a:lnTo>
                  <a:lnTo>
                    <a:pt x="2086" y="3174"/>
                  </a:lnTo>
                  <a:lnTo>
                    <a:pt x="2062" y="3200"/>
                  </a:lnTo>
                  <a:lnTo>
                    <a:pt x="2038" y="3226"/>
                  </a:lnTo>
                  <a:lnTo>
                    <a:pt x="2018" y="3254"/>
                  </a:lnTo>
                  <a:lnTo>
                    <a:pt x="1998" y="3282"/>
                  </a:lnTo>
                  <a:lnTo>
                    <a:pt x="1980" y="3312"/>
                  </a:lnTo>
                  <a:lnTo>
                    <a:pt x="1966" y="3344"/>
                  </a:lnTo>
                  <a:lnTo>
                    <a:pt x="1952" y="3378"/>
                  </a:lnTo>
                  <a:lnTo>
                    <a:pt x="1940" y="3412"/>
                  </a:lnTo>
                  <a:lnTo>
                    <a:pt x="1932" y="3446"/>
                  </a:lnTo>
                  <a:lnTo>
                    <a:pt x="1416" y="3446"/>
                  </a:lnTo>
                  <a:lnTo>
                    <a:pt x="1416" y="3446"/>
                  </a:lnTo>
                  <a:lnTo>
                    <a:pt x="1388" y="3346"/>
                  </a:lnTo>
                  <a:lnTo>
                    <a:pt x="1364" y="3244"/>
                  </a:lnTo>
                  <a:lnTo>
                    <a:pt x="1342" y="3138"/>
                  </a:lnTo>
                  <a:lnTo>
                    <a:pt x="1324" y="3032"/>
                  </a:lnTo>
                  <a:lnTo>
                    <a:pt x="1308" y="2922"/>
                  </a:lnTo>
                  <a:lnTo>
                    <a:pt x="1296" y="2810"/>
                  </a:lnTo>
                  <a:lnTo>
                    <a:pt x="1286" y="2698"/>
                  </a:lnTo>
                  <a:lnTo>
                    <a:pt x="1280" y="2582"/>
                  </a:lnTo>
                  <a:lnTo>
                    <a:pt x="2298" y="2582"/>
                  </a:lnTo>
                  <a:close/>
                  <a:moveTo>
                    <a:pt x="2447" y="3802"/>
                  </a:moveTo>
                  <a:lnTo>
                    <a:pt x="2447" y="3802"/>
                  </a:lnTo>
                  <a:lnTo>
                    <a:pt x="2422" y="3802"/>
                  </a:lnTo>
                  <a:lnTo>
                    <a:pt x="2398" y="3798"/>
                  </a:lnTo>
                  <a:lnTo>
                    <a:pt x="2374" y="3792"/>
                  </a:lnTo>
                  <a:lnTo>
                    <a:pt x="2352" y="3784"/>
                  </a:lnTo>
                  <a:lnTo>
                    <a:pt x="2332" y="3774"/>
                  </a:lnTo>
                  <a:lnTo>
                    <a:pt x="2312" y="3760"/>
                  </a:lnTo>
                  <a:lnTo>
                    <a:pt x="2292" y="3746"/>
                  </a:lnTo>
                  <a:lnTo>
                    <a:pt x="2276" y="3732"/>
                  </a:lnTo>
                  <a:lnTo>
                    <a:pt x="2260" y="3714"/>
                  </a:lnTo>
                  <a:lnTo>
                    <a:pt x="2246" y="3696"/>
                  </a:lnTo>
                  <a:lnTo>
                    <a:pt x="2234" y="3676"/>
                  </a:lnTo>
                  <a:lnTo>
                    <a:pt x="2222" y="3654"/>
                  </a:lnTo>
                  <a:lnTo>
                    <a:pt x="2214" y="3632"/>
                  </a:lnTo>
                  <a:lnTo>
                    <a:pt x="2208" y="3608"/>
                  </a:lnTo>
                  <a:lnTo>
                    <a:pt x="2206" y="3584"/>
                  </a:lnTo>
                  <a:lnTo>
                    <a:pt x="2204" y="3560"/>
                  </a:lnTo>
                  <a:lnTo>
                    <a:pt x="2204" y="3560"/>
                  </a:lnTo>
                  <a:lnTo>
                    <a:pt x="2206" y="3534"/>
                  </a:lnTo>
                  <a:lnTo>
                    <a:pt x="2208" y="3510"/>
                  </a:lnTo>
                  <a:lnTo>
                    <a:pt x="2214" y="3488"/>
                  </a:lnTo>
                  <a:lnTo>
                    <a:pt x="2222" y="3464"/>
                  </a:lnTo>
                  <a:lnTo>
                    <a:pt x="2234" y="3444"/>
                  </a:lnTo>
                  <a:lnTo>
                    <a:pt x="2246" y="3424"/>
                  </a:lnTo>
                  <a:lnTo>
                    <a:pt x="2260" y="3404"/>
                  </a:lnTo>
                  <a:lnTo>
                    <a:pt x="2276" y="3388"/>
                  </a:lnTo>
                  <a:lnTo>
                    <a:pt x="2292" y="3372"/>
                  </a:lnTo>
                  <a:lnTo>
                    <a:pt x="2312" y="3358"/>
                  </a:lnTo>
                  <a:lnTo>
                    <a:pt x="2332" y="3346"/>
                  </a:lnTo>
                  <a:lnTo>
                    <a:pt x="2352" y="3336"/>
                  </a:lnTo>
                  <a:lnTo>
                    <a:pt x="2374" y="3328"/>
                  </a:lnTo>
                  <a:lnTo>
                    <a:pt x="2398" y="3322"/>
                  </a:lnTo>
                  <a:lnTo>
                    <a:pt x="2422" y="3318"/>
                  </a:lnTo>
                  <a:lnTo>
                    <a:pt x="2447" y="3316"/>
                  </a:lnTo>
                  <a:lnTo>
                    <a:pt x="2447" y="3316"/>
                  </a:lnTo>
                  <a:lnTo>
                    <a:pt x="2473" y="3318"/>
                  </a:lnTo>
                  <a:lnTo>
                    <a:pt x="2497" y="3322"/>
                  </a:lnTo>
                  <a:lnTo>
                    <a:pt x="2521" y="3328"/>
                  </a:lnTo>
                  <a:lnTo>
                    <a:pt x="2543" y="3336"/>
                  </a:lnTo>
                  <a:lnTo>
                    <a:pt x="2563" y="3346"/>
                  </a:lnTo>
                  <a:lnTo>
                    <a:pt x="2583" y="3358"/>
                  </a:lnTo>
                  <a:lnTo>
                    <a:pt x="2603" y="3372"/>
                  </a:lnTo>
                  <a:lnTo>
                    <a:pt x="2619" y="3388"/>
                  </a:lnTo>
                  <a:lnTo>
                    <a:pt x="2635" y="3404"/>
                  </a:lnTo>
                  <a:lnTo>
                    <a:pt x="2649" y="3424"/>
                  </a:lnTo>
                  <a:lnTo>
                    <a:pt x="2661" y="3444"/>
                  </a:lnTo>
                  <a:lnTo>
                    <a:pt x="2673" y="3464"/>
                  </a:lnTo>
                  <a:lnTo>
                    <a:pt x="2681" y="3488"/>
                  </a:lnTo>
                  <a:lnTo>
                    <a:pt x="2687" y="3510"/>
                  </a:lnTo>
                  <a:lnTo>
                    <a:pt x="2689" y="3534"/>
                  </a:lnTo>
                  <a:lnTo>
                    <a:pt x="2691" y="3560"/>
                  </a:lnTo>
                  <a:lnTo>
                    <a:pt x="2691" y="3560"/>
                  </a:lnTo>
                  <a:lnTo>
                    <a:pt x="2689" y="3584"/>
                  </a:lnTo>
                  <a:lnTo>
                    <a:pt x="2687" y="3608"/>
                  </a:lnTo>
                  <a:lnTo>
                    <a:pt x="2681" y="3632"/>
                  </a:lnTo>
                  <a:lnTo>
                    <a:pt x="2673" y="3654"/>
                  </a:lnTo>
                  <a:lnTo>
                    <a:pt x="2661" y="3676"/>
                  </a:lnTo>
                  <a:lnTo>
                    <a:pt x="2649" y="3696"/>
                  </a:lnTo>
                  <a:lnTo>
                    <a:pt x="2635" y="3714"/>
                  </a:lnTo>
                  <a:lnTo>
                    <a:pt x="2619" y="3732"/>
                  </a:lnTo>
                  <a:lnTo>
                    <a:pt x="2603" y="3746"/>
                  </a:lnTo>
                  <a:lnTo>
                    <a:pt x="2583" y="3760"/>
                  </a:lnTo>
                  <a:lnTo>
                    <a:pt x="2563" y="3774"/>
                  </a:lnTo>
                  <a:lnTo>
                    <a:pt x="2543" y="3784"/>
                  </a:lnTo>
                  <a:lnTo>
                    <a:pt x="2521" y="3792"/>
                  </a:lnTo>
                  <a:lnTo>
                    <a:pt x="2497" y="3798"/>
                  </a:lnTo>
                  <a:lnTo>
                    <a:pt x="2473" y="3802"/>
                  </a:lnTo>
                  <a:lnTo>
                    <a:pt x="2447" y="3802"/>
                  </a:lnTo>
                  <a:lnTo>
                    <a:pt x="2447" y="3802"/>
                  </a:lnTo>
                  <a:close/>
                  <a:moveTo>
                    <a:pt x="1948" y="3730"/>
                  </a:moveTo>
                  <a:lnTo>
                    <a:pt x="1948" y="3730"/>
                  </a:lnTo>
                  <a:lnTo>
                    <a:pt x="1960" y="3760"/>
                  </a:lnTo>
                  <a:lnTo>
                    <a:pt x="1972" y="3788"/>
                  </a:lnTo>
                  <a:lnTo>
                    <a:pt x="1988" y="3816"/>
                  </a:lnTo>
                  <a:lnTo>
                    <a:pt x="2004" y="3844"/>
                  </a:lnTo>
                  <a:lnTo>
                    <a:pt x="2020" y="3870"/>
                  </a:lnTo>
                  <a:lnTo>
                    <a:pt x="2040" y="3894"/>
                  </a:lnTo>
                  <a:lnTo>
                    <a:pt x="2060" y="3918"/>
                  </a:lnTo>
                  <a:lnTo>
                    <a:pt x="2082" y="3940"/>
                  </a:lnTo>
                  <a:lnTo>
                    <a:pt x="2106" y="3960"/>
                  </a:lnTo>
                  <a:lnTo>
                    <a:pt x="2130" y="3980"/>
                  </a:lnTo>
                  <a:lnTo>
                    <a:pt x="2156" y="3998"/>
                  </a:lnTo>
                  <a:lnTo>
                    <a:pt x="2182" y="4014"/>
                  </a:lnTo>
                  <a:lnTo>
                    <a:pt x="2210" y="4030"/>
                  </a:lnTo>
                  <a:lnTo>
                    <a:pt x="2238" y="4044"/>
                  </a:lnTo>
                  <a:lnTo>
                    <a:pt x="2268" y="4056"/>
                  </a:lnTo>
                  <a:lnTo>
                    <a:pt x="2298" y="4066"/>
                  </a:lnTo>
                  <a:lnTo>
                    <a:pt x="2298" y="4576"/>
                  </a:lnTo>
                  <a:lnTo>
                    <a:pt x="2298" y="4576"/>
                  </a:lnTo>
                  <a:lnTo>
                    <a:pt x="2268" y="4570"/>
                  </a:lnTo>
                  <a:lnTo>
                    <a:pt x="2238" y="4560"/>
                  </a:lnTo>
                  <a:lnTo>
                    <a:pt x="2210" y="4550"/>
                  </a:lnTo>
                  <a:lnTo>
                    <a:pt x="2182" y="4538"/>
                  </a:lnTo>
                  <a:lnTo>
                    <a:pt x="2152" y="4524"/>
                  </a:lnTo>
                  <a:lnTo>
                    <a:pt x="2124" y="4510"/>
                  </a:lnTo>
                  <a:lnTo>
                    <a:pt x="2096" y="4494"/>
                  </a:lnTo>
                  <a:lnTo>
                    <a:pt x="2068" y="4476"/>
                  </a:lnTo>
                  <a:lnTo>
                    <a:pt x="2014" y="4438"/>
                  </a:lnTo>
                  <a:lnTo>
                    <a:pt x="1962" y="4396"/>
                  </a:lnTo>
                  <a:lnTo>
                    <a:pt x="1910" y="4348"/>
                  </a:lnTo>
                  <a:lnTo>
                    <a:pt x="1858" y="4296"/>
                  </a:lnTo>
                  <a:lnTo>
                    <a:pt x="1810" y="4238"/>
                  </a:lnTo>
                  <a:lnTo>
                    <a:pt x="1762" y="4178"/>
                  </a:lnTo>
                  <a:lnTo>
                    <a:pt x="1716" y="4112"/>
                  </a:lnTo>
                  <a:lnTo>
                    <a:pt x="1672" y="4044"/>
                  </a:lnTo>
                  <a:lnTo>
                    <a:pt x="1630" y="3970"/>
                  </a:lnTo>
                  <a:lnTo>
                    <a:pt x="1590" y="3894"/>
                  </a:lnTo>
                  <a:lnTo>
                    <a:pt x="1552" y="3814"/>
                  </a:lnTo>
                  <a:lnTo>
                    <a:pt x="1516" y="3730"/>
                  </a:lnTo>
                  <a:lnTo>
                    <a:pt x="1948" y="3730"/>
                  </a:lnTo>
                  <a:close/>
                  <a:moveTo>
                    <a:pt x="2583" y="4576"/>
                  </a:moveTo>
                  <a:lnTo>
                    <a:pt x="2583" y="4068"/>
                  </a:lnTo>
                  <a:lnTo>
                    <a:pt x="2583" y="4068"/>
                  </a:lnTo>
                  <a:lnTo>
                    <a:pt x="2615" y="4060"/>
                  </a:lnTo>
                  <a:lnTo>
                    <a:pt x="2645" y="4048"/>
                  </a:lnTo>
                  <a:lnTo>
                    <a:pt x="2675" y="4036"/>
                  </a:lnTo>
                  <a:lnTo>
                    <a:pt x="2703" y="4020"/>
                  </a:lnTo>
                  <a:lnTo>
                    <a:pt x="2731" y="4004"/>
                  </a:lnTo>
                  <a:lnTo>
                    <a:pt x="2757" y="3986"/>
                  </a:lnTo>
                  <a:lnTo>
                    <a:pt x="2783" y="3966"/>
                  </a:lnTo>
                  <a:lnTo>
                    <a:pt x="2807" y="3944"/>
                  </a:lnTo>
                  <a:lnTo>
                    <a:pt x="2831" y="3922"/>
                  </a:lnTo>
                  <a:lnTo>
                    <a:pt x="2851" y="3898"/>
                  </a:lnTo>
                  <a:lnTo>
                    <a:pt x="2871" y="3874"/>
                  </a:lnTo>
                  <a:lnTo>
                    <a:pt x="2889" y="3846"/>
                  </a:lnTo>
                  <a:lnTo>
                    <a:pt x="2907" y="3820"/>
                  </a:lnTo>
                  <a:lnTo>
                    <a:pt x="2921" y="3790"/>
                  </a:lnTo>
                  <a:lnTo>
                    <a:pt x="2935" y="3762"/>
                  </a:lnTo>
                  <a:lnTo>
                    <a:pt x="2947" y="3730"/>
                  </a:lnTo>
                  <a:lnTo>
                    <a:pt x="3365" y="3730"/>
                  </a:lnTo>
                  <a:lnTo>
                    <a:pt x="3365" y="3730"/>
                  </a:lnTo>
                  <a:lnTo>
                    <a:pt x="3329" y="3814"/>
                  </a:lnTo>
                  <a:lnTo>
                    <a:pt x="3289" y="3894"/>
                  </a:lnTo>
                  <a:lnTo>
                    <a:pt x="3249" y="3972"/>
                  </a:lnTo>
                  <a:lnTo>
                    <a:pt x="3207" y="4044"/>
                  </a:lnTo>
                  <a:lnTo>
                    <a:pt x="3163" y="4114"/>
                  </a:lnTo>
                  <a:lnTo>
                    <a:pt x="3117" y="4178"/>
                  </a:lnTo>
                  <a:lnTo>
                    <a:pt x="3069" y="4238"/>
                  </a:lnTo>
                  <a:lnTo>
                    <a:pt x="3019" y="4296"/>
                  </a:lnTo>
                  <a:lnTo>
                    <a:pt x="2969" y="4348"/>
                  </a:lnTo>
                  <a:lnTo>
                    <a:pt x="2917" y="4394"/>
                  </a:lnTo>
                  <a:lnTo>
                    <a:pt x="2863" y="4438"/>
                  </a:lnTo>
                  <a:lnTo>
                    <a:pt x="2809" y="4476"/>
                  </a:lnTo>
                  <a:lnTo>
                    <a:pt x="2783" y="4492"/>
                  </a:lnTo>
                  <a:lnTo>
                    <a:pt x="2755" y="4508"/>
                  </a:lnTo>
                  <a:lnTo>
                    <a:pt x="2727" y="4522"/>
                  </a:lnTo>
                  <a:lnTo>
                    <a:pt x="2697" y="4536"/>
                  </a:lnTo>
                  <a:lnTo>
                    <a:pt x="2669" y="4548"/>
                  </a:lnTo>
                  <a:lnTo>
                    <a:pt x="2641" y="4558"/>
                  </a:lnTo>
                  <a:lnTo>
                    <a:pt x="2611" y="4568"/>
                  </a:lnTo>
                  <a:lnTo>
                    <a:pt x="2583" y="4576"/>
                  </a:lnTo>
                  <a:lnTo>
                    <a:pt x="2583" y="4576"/>
                  </a:lnTo>
                  <a:close/>
                  <a:moveTo>
                    <a:pt x="2963" y="3446"/>
                  </a:moveTo>
                  <a:lnTo>
                    <a:pt x="2963" y="3446"/>
                  </a:lnTo>
                  <a:lnTo>
                    <a:pt x="2953" y="3410"/>
                  </a:lnTo>
                  <a:lnTo>
                    <a:pt x="2943" y="3376"/>
                  </a:lnTo>
                  <a:lnTo>
                    <a:pt x="2929" y="3342"/>
                  </a:lnTo>
                  <a:lnTo>
                    <a:pt x="2913" y="3310"/>
                  </a:lnTo>
                  <a:lnTo>
                    <a:pt x="2895" y="3278"/>
                  </a:lnTo>
                  <a:lnTo>
                    <a:pt x="2875" y="3250"/>
                  </a:lnTo>
                  <a:lnTo>
                    <a:pt x="2853" y="3220"/>
                  </a:lnTo>
                  <a:lnTo>
                    <a:pt x="2829" y="3194"/>
                  </a:lnTo>
                  <a:lnTo>
                    <a:pt x="2803" y="3170"/>
                  </a:lnTo>
                  <a:lnTo>
                    <a:pt x="2775" y="3146"/>
                  </a:lnTo>
                  <a:lnTo>
                    <a:pt x="2747" y="3126"/>
                  </a:lnTo>
                  <a:lnTo>
                    <a:pt x="2717" y="3106"/>
                  </a:lnTo>
                  <a:lnTo>
                    <a:pt x="2685" y="3088"/>
                  </a:lnTo>
                  <a:lnTo>
                    <a:pt x="2651" y="3074"/>
                  </a:lnTo>
                  <a:lnTo>
                    <a:pt x="2617" y="3060"/>
                  </a:lnTo>
                  <a:lnTo>
                    <a:pt x="2583" y="3050"/>
                  </a:lnTo>
                  <a:lnTo>
                    <a:pt x="2583" y="2582"/>
                  </a:lnTo>
                  <a:lnTo>
                    <a:pt x="3241" y="2582"/>
                  </a:lnTo>
                  <a:lnTo>
                    <a:pt x="3241" y="2582"/>
                  </a:lnTo>
                  <a:lnTo>
                    <a:pt x="3249" y="2616"/>
                  </a:lnTo>
                  <a:lnTo>
                    <a:pt x="3259" y="2648"/>
                  </a:lnTo>
                  <a:lnTo>
                    <a:pt x="3269" y="2678"/>
                  </a:lnTo>
                  <a:lnTo>
                    <a:pt x="3283" y="2708"/>
                  </a:lnTo>
                  <a:lnTo>
                    <a:pt x="3299" y="2738"/>
                  </a:lnTo>
                  <a:lnTo>
                    <a:pt x="3315" y="2766"/>
                  </a:lnTo>
                  <a:lnTo>
                    <a:pt x="3335" y="2794"/>
                  </a:lnTo>
                  <a:lnTo>
                    <a:pt x="3355" y="2818"/>
                  </a:lnTo>
                  <a:lnTo>
                    <a:pt x="3377" y="2844"/>
                  </a:lnTo>
                  <a:lnTo>
                    <a:pt x="3399" y="2866"/>
                  </a:lnTo>
                  <a:lnTo>
                    <a:pt x="3425" y="2888"/>
                  </a:lnTo>
                  <a:lnTo>
                    <a:pt x="3451" y="2908"/>
                  </a:lnTo>
                  <a:lnTo>
                    <a:pt x="3477" y="2926"/>
                  </a:lnTo>
                  <a:lnTo>
                    <a:pt x="3505" y="2942"/>
                  </a:lnTo>
                  <a:lnTo>
                    <a:pt x="3535" y="2958"/>
                  </a:lnTo>
                  <a:lnTo>
                    <a:pt x="3565" y="2970"/>
                  </a:lnTo>
                  <a:lnTo>
                    <a:pt x="3565" y="2970"/>
                  </a:lnTo>
                  <a:lnTo>
                    <a:pt x="3547" y="3094"/>
                  </a:lnTo>
                  <a:lnTo>
                    <a:pt x="3523" y="3216"/>
                  </a:lnTo>
                  <a:lnTo>
                    <a:pt x="3495" y="3332"/>
                  </a:lnTo>
                  <a:lnTo>
                    <a:pt x="3465" y="3446"/>
                  </a:lnTo>
                  <a:lnTo>
                    <a:pt x="2963" y="3446"/>
                  </a:lnTo>
                  <a:close/>
                  <a:moveTo>
                    <a:pt x="3759" y="2236"/>
                  </a:moveTo>
                  <a:lnTo>
                    <a:pt x="3759" y="2236"/>
                  </a:lnTo>
                  <a:lnTo>
                    <a:pt x="3783" y="2238"/>
                  </a:lnTo>
                  <a:lnTo>
                    <a:pt x="3807" y="2242"/>
                  </a:lnTo>
                  <a:lnTo>
                    <a:pt x="3831" y="2248"/>
                  </a:lnTo>
                  <a:lnTo>
                    <a:pt x="3853" y="2256"/>
                  </a:lnTo>
                  <a:lnTo>
                    <a:pt x="3875" y="2266"/>
                  </a:lnTo>
                  <a:lnTo>
                    <a:pt x="3895" y="2278"/>
                  </a:lnTo>
                  <a:lnTo>
                    <a:pt x="3913" y="2292"/>
                  </a:lnTo>
                  <a:lnTo>
                    <a:pt x="3931" y="2308"/>
                  </a:lnTo>
                  <a:lnTo>
                    <a:pt x="3947" y="2326"/>
                  </a:lnTo>
                  <a:lnTo>
                    <a:pt x="3961" y="2344"/>
                  </a:lnTo>
                  <a:lnTo>
                    <a:pt x="3973" y="2364"/>
                  </a:lnTo>
                  <a:lnTo>
                    <a:pt x="3983" y="2386"/>
                  </a:lnTo>
                  <a:lnTo>
                    <a:pt x="3991" y="2408"/>
                  </a:lnTo>
                  <a:lnTo>
                    <a:pt x="3997" y="2432"/>
                  </a:lnTo>
                  <a:lnTo>
                    <a:pt x="4001" y="2456"/>
                  </a:lnTo>
                  <a:lnTo>
                    <a:pt x="4001" y="2480"/>
                  </a:lnTo>
                  <a:lnTo>
                    <a:pt x="4001" y="2480"/>
                  </a:lnTo>
                  <a:lnTo>
                    <a:pt x="4001" y="2504"/>
                  </a:lnTo>
                  <a:lnTo>
                    <a:pt x="3997" y="2528"/>
                  </a:lnTo>
                  <a:lnTo>
                    <a:pt x="3991" y="2552"/>
                  </a:lnTo>
                  <a:lnTo>
                    <a:pt x="3983" y="2574"/>
                  </a:lnTo>
                  <a:lnTo>
                    <a:pt x="3973" y="2596"/>
                  </a:lnTo>
                  <a:lnTo>
                    <a:pt x="3961" y="2616"/>
                  </a:lnTo>
                  <a:lnTo>
                    <a:pt x="3947" y="2634"/>
                  </a:lnTo>
                  <a:lnTo>
                    <a:pt x="3931" y="2652"/>
                  </a:lnTo>
                  <a:lnTo>
                    <a:pt x="3913" y="2668"/>
                  </a:lnTo>
                  <a:lnTo>
                    <a:pt x="3895" y="2682"/>
                  </a:lnTo>
                  <a:lnTo>
                    <a:pt x="3875" y="2694"/>
                  </a:lnTo>
                  <a:lnTo>
                    <a:pt x="3853" y="2704"/>
                  </a:lnTo>
                  <a:lnTo>
                    <a:pt x="3831" y="2712"/>
                  </a:lnTo>
                  <a:lnTo>
                    <a:pt x="3807" y="2718"/>
                  </a:lnTo>
                  <a:lnTo>
                    <a:pt x="3783" y="2722"/>
                  </a:lnTo>
                  <a:lnTo>
                    <a:pt x="3759" y="2724"/>
                  </a:lnTo>
                  <a:lnTo>
                    <a:pt x="3759" y="2724"/>
                  </a:lnTo>
                  <a:lnTo>
                    <a:pt x="3733" y="2722"/>
                  </a:lnTo>
                  <a:lnTo>
                    <a:pt x="3709" y="2718"/>
                  </a:lnTo>
                  <a:lnTo>
                    <a:pt x="3687" y="2712"/>
                  </a:lnTo>
                  <a:lnTo>
                    <a:pt x="3663" y="2704"/>
                  </a:lnTo>
                  <a:lnTo>
                    <a:pt x="3643" y="2694"/>
                  </a:lnTo>
                  <a:lnTo>
                    <a:pt x="3623" y="2682"/>
                  </a:lnTo>
                  <a:lnTo>
                    <a:pt x="3603" y="2668"/>
                  </a:lnTo>
                  <a:lnTo>
                    <a:pt x="3587" y="2652"/>
                  </a:lnTo>
                  <a:lnTo>
                    <a:pt x="3571" y="2634"/>
                  </a:lnTo>
                  <a:lnTo>
                    <a:pt x="3557" y="2616"/>
                  </a:lnTo>
                  <a:lnTo>
                    <a:pt x="3545" y="2596"/>
                  </a:lnTo>
                  <a:lnTo>
                    <a:pt x="3535" y="2574"/>
                  </a:lnTo>
                  <a:lnTo>
                    <a:pt x="3527" y="2552"/>
                  </a:lnTo>
                  <a:lnTo>
                    <a:pt x="3521" y="2528"/>
                  </a:lnTo>
                  <a:lnTo>
                    <a:pt x="3517" y="2504"/>
                  </a:lnTo>
                  <a:lnTo>
                    <a:pt x="3515" y="2480"/>
                  </a:lnTo>
                  <a:lnTo>
                    <a:pt x="3515" y="2480"/>
                  </a:lnTo>
                  <a:lnTo>
                    <a:pt x="3517" y="2456"/>
                  </a:lnTo>
                  <a:lnTo>
                    <a:pt x="3521" y="2432"/>
                  </a:lnTo>
                  <a:lnTo>
                    <a:pt x="3527" y="2408"/>
                  </a:lnTo>
                  <a:lnTo>
                    <a:pt x="3535" y="2386"/>
                  </a:lnTo>
                  <a:lnTo>
                    <a:pt x="3545" y="2364"/>
                  </a:lnTo>
                  <a:lnTo>
                    <a:pt x="3557" y="2344"/>
                  </a:lnTo>
                  <a:lnTo>
                    <a:pt x="3571" y="2326"/>
                  </a:lnTo>
                  <a:lnTo>
                    <a:pt x="3587" y="2308"/>
                  </a:lnTo>
                  <a:lnTo>
                    <a:pt x="3603" y="2292"/>
                  </a:lnTo>
                  <a:lnTo>
                    <a:pt x="3623" y="2278"/>
                  </a:lnTo>
                  <a:lnTo>
                    <a:pt x="3643" y="2266"/>
                  </a:lnTo>
                  <a:lnTo>
                    <a:pt x="3663" y="2256"/>
                  </a:lnTo>
                  <a:lnTo>
                    <a:pt x="3687" y="2248"/>
                  </a:lnTo>
                  <a:lnTo>
                    <a:pt x="3709" y="2242"/>
                  </a:lnTo>
                  <a:lnTo>
                    <a:pt x="3733" y="2238"/>
                  </a:lnTo>
                  <a:lnTo>
                    <a:pt x="3759" y="2236"/>
                  </a:lnTo>
                  <a:lnTo>
                    <a:pt x="3759" y="2236"/>
                  </a:lnTo>
                  <a:close/>
                  <a:moveTo>
                    <a:pt x="3851" y="3000"/>
                  </a:moveTo>
                  <a:lnTo>
                    <a:pt x="3851" y="3000"/>
                  </a:lnTo>
                  <a:lnTo>
                    <a:pt x="3889" y="2990"/>
                  </a:lnTo>
                  <a:lnTo>
                    <a:pt x="3929" y="2980"/>
                  </a:lnTo>
                  <a:lnTo>
                    <a:pt x="3965" y="2964"/>
                  </a:lnTo>
                  <a:lnTo>
                    <a:pt x="4001" y="2948"/>
                  </a:lnTo>
                  <a:lnTo>
                    <a:pt x="4035" y="2928"/>
                  </a:lnTo>
                  <a:lnTo>
                    <a:pt x="4069" y="2906"/>
                  </a:lnTo>
                  <a:lnTo>
                    <a:pt x="4099" y="2882"/>
                  </a:lnTo>
                  <a:lnTo>
                    <a:pt x="4127" y="2856"/>
                  </a:lnTo>
                  <a:lnTo>
                    <a:pt x="4155" y="2828"/>
                  </a:lnTo>
                  <a:lnTo>
                    <a:pt x="4179" y="2798"/>
                  </a:lnTo>
                  <a:lnTo>
                    <a:pt x="4201" y="2766"/>
                  </a:lnTo>
                  <a:lnTo>
                    <a:pt x="4223" y="2732"/>
                  </a:lnTo>
                  <a:lnTo>
                    <a:pt x="4239" y="2696"/>
                  </a:lnTo>
                  <a:lnTo>
                    <a:pt x="4255" y="2660"/>
                  </a:lnTo>
                  <a:lnTo>
                    <a:pt x="4267" y="2622"/>
                  </a:lnTo>
                  <a:lnTo>
                    <a:pt x="4277" y="2582"/>
                  </a:lnTo>
                  <a:lnTo>
                    <a:pt x="4589" y="2582"/>
                  </a:lnTo>
                  <a:lnTo>
                    <a:pt x="4589" y="2582"/>
                  </a:lnTo>
                  <a:lnTo>
                    <a:pt x="4585" y="2640"/>
                  </a:lnTo>
                  <a:lnTo>
                    <a:pt x="4579" y="2698"/>
                  </a:lnTo>
                  <a:lnTo>
                    <a:pt x="4571" y="2754"/>
                  </a:lnTo>
                  <a:lnTo>
                    <a:pt x="4563" y="2812"/>
                  </a:lnTo>
                  <a:lnTo>
                    <a:pt x="4551" y="2868"/>
                  </a:lnTo>
                  <a:lnTo>
                    <a:pt x="4539" y="2924"/>
                  </a:lnTo>
                  <a:lnTo>
                    <a:pt x="4527" y="2978"/>
                  </a:lnTo>
                  <a:lnTo>
                    <a:pt x="4511" y="3032"/>
                  </a:lnTo>
                  <a:lnTo>
                    <a:pt x="4495" y="3086"/>
                  </a:lnTo>
                  <a:lnTo>
                    <a:pt x="4477" y="3140"/>
                  </a:lnTo>
                  <a:lnTo>
                    <a:pt x="4459" y="3192"/>
                  </a:lnTo>
                  <a:lnTo>
                    <a:pt x="4439" y="3244"/>
                  </a:lnTo>
                  <a:lnTo>
                    <a:pt x="4417" y="3296"/>
                  </a:lnTo>
                  <a:lnTo>
                    <a:pt x="4395" y="3346"/>
                  </a:lnTo>
                  <a:lnTo>
                    <a:pt x="4371" y="3396"/>
                  </a:lnTo>
                  <a:lnTo>
                    <a:pt x="4345" y="3446"/>
                  </a:lnTo>
                  <a:lnTo>
                    <a:pt x="3761" y="3446"/>
                  </a:lnTo>
                  <a:lnTo>
                    <a:pt x="3761" y="3446"/>
                  </a:lnTo>
                  <a:lnTo>
                    <a:pt x="3787" y="3338"/>
                  </a:lnTo>
                  <a:lnTo>
                    <a:pt x="3811" y="3228"/>
                  </a:lnTo>
                  <a:lnTo>
                    <a:pt x="3833" y="3114"/>
                  </a:lnTo>
                  <a:lnTo>
                    <a:pt x="3851" y="3000"/>
                  </a:lnTo>
                  <a:lnTo>
                    <a:pt x="3851" y="3000"/>
                  </a:lnTo>
                  <a:close/>
                  <a:moveTo>
                    <a:pt x="3577" y="1986"/>
                  </a:moveTo>
                  <a:lnTo>
                    <a:pt x="3577" y="1986"/>
                  </a:lnTo>
                  <a:lnTo>
                    <a:pt x="3549" y="1996"/>
                  </a:lnTo>
                  <a:lnTo>
                    <a:pt x="3523" y="2008"/>
                  </a:lnTo>
                  <a:lnTo>
                    <a:pt x="3499" y="2022"/>
                  </a:lnTo>
                  <a:lnTo>
                    <a:pt x="3475" y="2036"/>
                  </a:lnTo>
                  <a:lnTo>
                    <a:pt x="3451" y="2052"/>
                  </a:lnTo>
                  <a:lnTo>
                    <a:pt x="3429" y="2070"/>
                  </a:lnTo>
                  <a:lnTo>
                    <a:pt x="3407" y="2088"/>
                  </a:lnTo>
                  <a:lnTo>
                    <a:pt x="3387" y="2108"/>
                  </a:lnTo>
                  <a:lnTo>
                    <a:pt x="3367" y="2128"/>
                  </a:lnTo>
                  <a:lnTo>
                    <a:pt x="3349" y="2150"/>
                  </a:lnTo>
                  <a:lnTo>
                    <a:pt x="3331" y="2172"/>
                  </a:lnTo>
                  <a:lnTo>
                    <a:pt x="3315" y="2196"/>
                  </a:lnTo>
                  <a:lnTo>
                    <a:pt x="3301" y="2220"/>
                  </a:lnTo>
                  <a:lnTo>
                    <a:pt x="3287" y="2244"/>
                  </a:lnTo>
                  <a:lnTo>
                    <a:pt x="3275" y="2270"/>
                  </a:lnTo>
                  <a:lnTo>
                    <a:pt x="3263" y="2298"/>
                  </a:lnTo>
                  <a:lnTo>
                    <a:pt x="2583" y="2298"/>
                  </a:lnTo>
                  <a:lnTo>
                    <a:pt x="2583" y="1434"/>
                  </a:lnTo>
                  <a:lnTo>
                    <a:pt x="3467" y="1434"/>
                  </a:lnTo>
                  <a:lnTo>
                    <a:pt x="3467" y="1434"/>
                  </a:lnTo>
                  <a:lnTo>
                    <a:pt x="3485" y="1498"/>
                  </a:lnTo>
                  <a:lnTo>
                    <a:pt x="3501" y="1564"/>
                  </a:lnTo>
                  <a:lnTo>
                    <a:pt x="3517" y="1632"/>
                  </a:lnTo>
                  <a:lnTo>
                    <a:pt x="3531" y="1700"/>
                  </a:lnTo>
                  <a:lnTo>
                    <a:pt x="3545" y="1770"/>
                  </a:lnTo>
                  <a:lnTo>
                    <a:pt x="3557" y="1840"/>
                  </a:lnTo>
                  <a:lnTo>
                    <a:pt x="3567" y="1912"/>
                  </a:lnTo>
                  <a:lnTo>
                    <a:pt x="3577" y="1986"/>
                  </a:lnTo>
                  <a:lnTo>
                    <a:pt x="3577" y="1986"/>
                  </a:lnTo>
                  <a:close/>
                  <a:moveTo>
                    <a:pt x="2583" y="1150"/>
                  </a:moveTo>
                  <a:lnTo>
                    <a:pt x="2583" y="302"/>
                  </a:lnTo>
                  <a:lnTo>
                    <a:pt x="2583" y="302"/>
                  </a:lnTo>
                  <a:lnTo>
                    <a:pt x="2613" y="310"/>
                  </a:lnTo>
                  <a:lnTo>
                    <a:pt x="2641" y="320"/>
                  </a:lnTo>
                  <a:lnTo>
                    <a:pt x="2671" y="330"/>
                  </a:lnTo>
                  <a:lnTo>
                    <a:pt x="2699" y="342"/>
                  </a:lnTo>
                  <a:lnTo>
                    <a:pt x="2727" y="354"/>
                  </a:lnTo>
                  <a:lnTo>
                    <a:pt x="2757" y="368"/>
                  </a:lnTo>
                  <a:lnTo>
                    <a:pt x="2785" y="384"/>
                  </a:lnTo>
                  <a:lnTo>
                    <a:pt x="2813" y="402"/>
                  </a:lnTo>
                  <a:lnTo>
                    <a:pt x="2867" y="440"/>
                  </a:lnTo>
                  <a:lnTo>
                    <a:pt x="2921" y="482"/>
                  </a:lnTo>
                  <a:lnTo>
                    <a:pt x="2973" y="530"/>
                  </a:lnTo>
                  <a:lnTo>
                    <a:pt x="3023" y="582"/>
                  </a:lnTo>
                  <a:lnTo>
                    <a:pt x="3073" y="638"/>
                  </a:lnTo>
                  <a:lnTo>
                    <a:pt x="3121" y="700"/>
                  </a:lnTo>
                  <a:lnTo>
                    <a:pt x="3167" y="764"/>
                  </a:lnTo>
                  <a:lnTo>
                    <a:pt x="3211" y="834"/>
                  </a:lnTo>
                  <a:lnTo>
                    <a:pt x="3253" y="908"/>
                  </a:lnTo>
                  <a:lnTo>
                    <a:pt x="3293" y="984"/>
                  </a:lnTo>
                  <a:lnTo>
                    <a:pt x="3331" y="1064"/>
                  </a:lnTo>
                  <a:lnTo>
                    <a:pt x="3367" y="1150"/>
                  </a:lnTo>
                  <a:lnTo>
                    <a:pt x="2583" y="1150"/>
                  </a:lnTo>
                  <a:close/>
                  <a:moveTo>
                    <a:pt x="2298" y="302"/>
                  </a:moveTo>
                  <a:lnTo>
                    <a:pt x="2298" y="1150"/>
                  </a:lnTo>
                  <a:lnTo>
                    <a:pt x="1866" y="1150"/>
                  </a:lnTo>
                  <a:lnTo>
                    <a:pt x="1866" y="1150"/>
                  </a:lnTo>
                  <a:lnTo>
                    <a:pt x="1848" y="1108"/>
                  </a:lnTo>
                  <a:lnTo>
                    <a:pt x="1828" y="1068"/>
                  </a:lnTo>
                  <a:lnTo>
                    <a:pt x="1804" y="1030"/>
                  </a:lnTo>
                  <a:lnTo>
                    <a:pt x="1778" y="994"/>
                  </a:lnTo>
                  <a:lnTo>
                    <a:pt x="1750" y="960"/>
                  </a:lnTo>
                  <a:lnTo>
                    <a:pt x="1718" y="930"/>
                  </a:lnTo>
                  <a:lnTo>
                    <a:pt x="1684" y="902"/>
                  </a:lnTo>
                  <a:lnTo>
                    <a:pt x="1646" y="876"/>
                  </a:lnTo>
                  <a:lnTo>
                    <a:pt x="1646" y="876"/>
                  </a:lnTo>
                  <a:lnTo>
                    <a:pt x="1682" y="818"/>
                  </a:lnTo>
                  <a:lnTo>
                    <a:pt x="1716" y="764"/>
                  </a:lnTo>
                  <a:lnTo>
                    <a:pt x="1754" y="712"/>
                  </a:lnTo>
                  <a:lnTo>
                    <a:pt x="1790" y="662"/>
                  </a:lnTo>
                  <a:lnTo>
                    <a:pt x="1830" y="614"/>
                  </a:lnTo>
                  <a:lnTo>
                    <a:pt x="1868" y="572"/>
                  </a:lnTo>
                  <a:lnTo>
                    <a:pt x="1908" y="530"/>
                  </a:lnTo>
                  <a:lnTo>
                    <a:pt x="1950" y="492"/>
                  </a:lnTo>
                  <a:lnTo>
                    <a:pt x="1992" y="458"/>
                  </a:lnTo>
                  <a:lnTo>
                    <a:pt x="2034" y="426"/>
                  </a:lnTo>
                  <a:lnTo>
                    <a:pt x="2076" y="398"/>
                  </a:lnTo>
                  <a:lnTo>
                    <a:pt x="2120" y="372"/>
                  </a:lnTo>
                  <a:lnTo>
                    <a:pt x="2164" y="350"/>
                  </a:lnTo>
                  <a:lnTo>
                    <a:pt x="2208" y="330"/>
                  </a:lnTo>
                  <a:lnTo>
                    <a:pt x="2252" y="316"/>
                  </a:lnTo>
                  <a:lnTo>
                    <a:pt x="2298" y="302"/>
                  </a:lnTo>
                  <a:lnTo>
                    <a:pt x="2298" y="302"/>
                  </a:lnTo>
                  <a:close/>
                  <a:moveTo>
                    <a:pt x="1368" y="1080"/>
                  </a:moveTo>
                  <a:lnTo>
                    <a:pt x="1368" y="1080"/>
                  </a:lnTo>
                  <a:lnTo>
                    <a:pt x="1392" y="1082"/>
                  </a:lnTo>
                  <a:lnTo>
                    <a:pt x="1416" y="1086"/>
                  </a:lnTo>
                  <a:lnTo>
                    <a:pt x="1440" y="1092"/>
                  </a:lnTo>
                  <a:lnTo>
                    <a:pt x="1462" y="1100"/>
                  </a:lnTo>
                  <a:lnTo>
                    <a:pt x="1484" y="1110"/>
                  </a:lnTo>
                  <a:lnTo>
                    <a:pt x="1504" y="1122"/>
                  </a:lnTo>
                  <a:lnTo>
                    <a:pt x="1522" y="1136"/>
                  </a:lnTo>
                  <a:lnTo>
                    <a:pt x="1540" y="1152"/>
                  </a:lnTo>
                  <a:lnTo>
                    <a:pt x="1556" y="1168"/>
                  </a:lnTo>
                  <a:lnTo>
                    <a:pt x="1570" y="1188"/>
                  </a:lnTo>
                  <a:lnTo>
                    <a:pt x="1582" y="1208"/>
                  </a:lnTo>
                  <a:lnTo>
                    <a:pt x="1592" y="1230"/>
                  </a:lnTo>
                  <a:lnTo>
                    <a:pt x="1600" y="1252"/>
                  </a:lnTo>
                  <a:lnTo>
                    <a:pt x="1606" y="1274"/>
                  </a:lnTo>
                  <a:lnTo>
                    <a:pt x="1610" y="1298"/>
                  </a:lnTo>
                  <a:lnTo>
                    <a:pt x="1610" y="1324"/>
                  </a:lnTo>
                  <a:lnTo>
                    <a:pt x="1610" y="1324"/>
                  </a:lnTo>
                  <a:lnTo>
                    <a:pt x="1610" y="1348"/>
                  </a:lnTo>
                  <a:lnTo>
                    <a:pt x="1606" y="1372"/>
                  </a:lnTo>
                  <a:lnTo>
                    <a:pt x="1600" y="1396"/>
                  </a:lnTo>
                  <a:lnTo>
                    <a:pt x="1592" y="1418"/>
                  </a:lnTo>
                  <a:lnTo>
                    <a:pt x="1582" y="1440"/>
                  </a:lnTo>
                  <a:lnTo>
                    <a:pt x="1570" y="1460"/>
                  </a:lnTo>
                  <a:lnTo>
                    <a:pt x="1556" y="1478"/>
                  </a:lnTo>
                  <a:lnTo>
                    <a:pt x="1540" y="1496"/>
                  </a:lnTo>
                  <a:lnTo>
                    <a:pt x="1522" y="1512"/>
                  </a:lnTo>
                  <a:lnTo>
                    <a:pt x="1504" y="1526"/>
                  </a:lnTo>
                  <a:lnTo>
                    <a:pt x="1484" y="1538"/>
                  </a:lnTo>
                  <a:lnTo>
                    <a:pt x="1462" y="1548"/>
                  </a:lnTo>
                  <a:lnTo>
                    <a:pt x="1440" y="1556"/>
                  </a:lnTo>
                  <a:lnTo>
                    <a:pt x="1416" y="1562"/>
                  </a:lnTo>
                  <a:lnTo>
                    <a:pt x="1392" y="1566"/>
                  </a:lnTo>
                  <a:lnTo>
                    <a:pt x="1368" y="1566"/>
                  </a:lnTo>
                  <a:lnTo>
                    <a:pt x="1368" y="1566"/>
                  </a:lnTo>
                  <a:lnTo>
                    <a:pt x="1342" y="1566"/>
                  </a:lnTo>
                  <a:lnTo>
                    <a:pt x="1318" y="1562"/>
                  </a:lnTo>
                  <a:lnTo>
                    <a:pt x="1296" y="1556"/>
                  </a:lnTo>
                  <a:lnTo>
                    <a:pt x="1274" y="1548"/>
                  </a:lnTo>
                  <a:lnTo>
                    <a:pt x="1252" y="1538"/>
                  </a:lnTo>
                  <a:lnTo>
                    <a:pt x="1232" y="1526"/>
                  </a:lnTo>
                  <a:lnTo>
                    <a:pt x="1214" y="1512"/>
                  </a:lnTo>
                  <a:lnTo>
                    <a:pt x="1196" y="1496"/>
                  </a:lnTo>
                  <a:lnTo>
                    <a:pt x="1180" y="1478"/>
                  </a:lnTo>
                  <a:lnTo>
                    <a:pt x="1166" y="1460"/>
                  </a:lnTo>
                  <a:lnTo>
                    <a:pt x="1154" y="1440"/>
                  </a:lnTo>
                  <a:lnTo>
                    <a:pt x="1144" y="1418"/>
                  </a:lnTo>
                  <a:lnTo>
                    <a:pt x="1136" y="1396"/>
                  </a:lnTo>
                  <a:lnTo>
                    <a:pt x="1130" y="1372"/>
                  </a:lnTo>
                  <a:lnTo>
                    <a:pt x="1126" y="1348"/>
                  </a:lnTo>
                  <a:lnTo>
                    <a:pt x="1124" y="1324"/>
                  </a:lnTo>
                  <a:lnTo>
                    <a:pt x="1124" y="1324"/>
                  </a:lnTo>
                  <a:lnTo>
                    <a:pt x="1126" y="1298"/>
                  </a:lnTo>
                  <a:lnTo>
                    <a:pt x="1130" y="1274"/>
                  </a:lnTo>
                  <a:lnTo>
                    <a:pt x="1136" y="1252"/>
                  </a:lnTo>
                  <a:lnTo>
                    <a:pt x="1144" y="1230"/>
                  </a:lnTo>
                  <a:lnTo>
                    <a:pt x="1154" y="1208"/>
                  </a:lnTo>
                  <a:lnTo>
                    <a:pt x="1166" y="1188"/>
                  </a:lnTo>
                  <a:lnTo>
                    <a:pt x="1180" y="1168"/>
                  </a:lnTo>
                  <a:lnTo>
                    <a:pt x="1196" y="1152"/>
                  </a:lnTo>
                  <a:lnTo>
                    <a:pt x="1214" y="1136"/>
                  </a:lnTo>
                  <a:lnTo>
                    <a:pt x="1232" y="1122"/>
                  </a:lnTo>
                  <a:lnTo>
                    <a:pt x="1252" y="1110"/>
                  </a:lnTo>
                  <a:lnTo>
                    <a:pt x="1274" y="1100"/>
                  </a:lnTo>
                  <a:lnTo>
                    <a:pt x="1296" y="1092"/>
                  </a:lnTo>
                  <a:lnTo>
                    <a:pt x="1318" y="1086"/>
                  </a:lnTo>
                  <a:lnTo>
                    <a:pt x="1342" y="1082"/>
                  </a:lnTo>
                  <a:lnTo>
                    <a:pt x="1368" y="1080"/>
                  </a:lnTo>
                  <a:lnTo>
                    <a:pt x="1368" y="1080"/>
                  </a:lnTo>
                  <a:close/>
                  <a:moveTo>
                    <a:pt x="994" y="2582"/>
                  </a:moveTo>
                  <a:lnTo>
                    <a:pt x="994" y="2582"/>
                  </a:lnTo>
                  <a:lnTo>
                    <a:pt x="1000" y="2696"/>
                  </a:lnTo>
                  <a:lnTo>
                    <a:pt x="1008" y="2810"/>
                  </a:lnTo>
                  <a:lnTo>
                    <a:pt x="1020" y="2920"/>
                  </a:lnTo>
                  <a:lnTo>
                    <a:pt x="1034" y="3030"/>
                  </a:lnTo>
                  <a:lnTo>
                    <a:pt x="1050" y="3138"/>
                  </a:lnTo>
                  <a:lnTo>
                    <a:pt x="1070" y="3242"/>
                  </a:lnTo>
                  <a:lnTo>
                    <a:pt x="1092" y="3346"/>
                  </a:lnTo>
                  <a:lnTo>
                    <a:pt x="1116" y="3446"/>
                  </a:lnTo>
                  <a:lnTo>
                    <a:pt x="536" y="3446"/>
                  </a:lnTo>
                  <a:lnTo>
                    <a:pt x="536" y="3446"/>
                  </a:lnTo>
                  <a:lnTo>
                    <a:pt x="510" y="3396"/>
                  </a:lnTo>
                  <a:lnTo>
                    <a:pt x="486" y="3346"/>
                  </a:lnTo>
                  <a:lnTo>
                    <a:pt x="464" y="3296"/>
                  </a:lnTo>
                  <a:lnTo>
                    <a:pt x="442" y="3244"/>
                  </a:lnTo>
                  <a:lnTo>
                    <a:pt x="422" y="3192"/>
                  </a:lnTo>
                  <a:lnTo>
                    <a:pt x="402" y="3140"/>
                  </a:lnTo>
                  <a:lnTo>
                    <a:pt x="384" y="3086"/>
                  </a:lnTo>
                  <a:lnTo>
                    <a:pt x="368" y="3032"/>
                  </a:lnTo>
                  <a:lnTo>
                    <a:pt x="354" y="2978"/>
                  </a:lnTo>
                  <a:lnTo>
                    <a:pt x="340" y="2924"/>
                  </a:lnTo>
                  <a:lnTo>
                    <a:pt x="328" y="2868"/>
                  </a:lnTo>
                  <a:lnTo>
                    <a:pt x="318" y="2812"/>
                  </a:lnTo>
                  <a:lnTo>
                    <a:pt x="308" y="2754"/>
                  </a:lnTo>
                  <a:lnTo>
                    <a:pt x="302" y="2698"/>
                  </a:lnTo>
                  <a:lnTo>
                    <a:pt x="294" y="2640"/>
                  </a:lnTo>
                  <a:lnTo>
                    <a:pt x="290" y="2582"/>
                  </a:lnTo>
                  <a:lnTo>
                    <a:pt x="994" y="2582"/>
                  </a:lnTo>
                  <a:close/>
                  <a:moveTo>
                    <a:pt x="3287" y="4422"/>
                  </a:moveTo>
                  <a:lnTo>
                    <a:pt x="3287" y="4422"/>
                  </a:lnTo>
                  <a:lnTo>
                    <a:pt x="3343" y="4350"/>
                  </a:lnTo>
                  <a:lnTo>
                    <a:pt x="3397" y="4274"/>
                  </a:lnTo>
                  <a:lnTo>
                    <a:pt x="3449" y="4192"/>
                  </a:lnTo>
                  <a:lnTo>
                    <a:pt x="3499" y="4108"/>
                  </a:lnTo>
                  <a:lnTo>
                    <a:pt x="3545" y="4020"/>
                  </a:lnTo>
                  <a:lnTo>
                    <a:pt x="3589" y="3928"/>
                  </a:lnTo>
                  <a:lnTo>
                    <a:pt x="3631" y="3830"/>
                  </a:lnTo>
                  <a:lnTo>
                    <a:pt x="3671" y="3730"/>
                  </a:lnTo>
                  <a:lnTo>
                    <a:pt x="4165" y="3730"/>
                  </a:lnTo>
                  <a:lnTo>
                    <a:pt x="4165" y="3730"/>
                  </a:lnTo>
                  <a:lnTo>
                    <a:pt x="4121" y="3786"/>
                  </a:lnTo>
                  <a:lnTo>
                    <a:pt x="4077" y="3840"/>
                  </a:lnTo>
                  <a:lnTo>
                    <a:pt x="4029" y="3894"/>
                  </a:lnTo>
                  <a:lnTo>
                    <a:pt x="3981" y="3944"/>
                  </a:lnTo>
                  <a:lnTo>
                    <a:pt x="3931" y="3994"/>
                  </a:lnTo>
                  <a:lnTo>
                    <a:pt x="3879" y="4042"/>
                  </a:lnTo>
                  <a:lnTo>
                    <a:pt x="3827" y="4088"/>
                  </a:lnTo>
                  <a:lnTo>
                    <a:pt x="3773" y="4132"/>
                  </a:lnTo>
                  <a:lnTo>
                    <a:pt x="3717" y="4176"/>
                  </a:lnTo>
                  <a:lnTo>
                    <a:pt x="3659" y="4216"/>
                  </a:lnTo>
                  <a:lnTo>
                    <a:pt x="3599" y="4256"/>
                  </a:lnTo>
                  <a:lnTo>
                    <a:pt x="3539" y="4292"/>
                  </a:lnTo>
                  <a:lnTo>
                    <a:pt x="3479" y="4328"/>
                  </a:lnTo>
                  <a:lnTo>
                    <a:pt x="3415" y="4360"/>
                  </a:lnTo>
                  <a:lnTo>
                    <a:pt x="3351" y="4392"/>
                  </a:lnTo>
                  <a:lnTo>
                    <a:pt x="3287" y="4422"/>
                  </a:lnTo>
                  <a:lnTo>
                    <a:pt x="3287" y="4422"/>
                  </a:lnTo>
                  <a:close/>
                  <a:moveTo>
                    <a:pt x="4165" y="1150"/>
                  </a:moveTo>
                  <a:lnTo>
                    <a:pt x="3673" y="1150"/>
                  </a:lnTo>
                  <a:lnTo>
                    <a:pt x="3673" y="1150"/>
                  </a:lnTo>
                  <a:lnTo>
                    <a:pt x="3635" y="1050"/>
                  </a:lnTo>
                  <a:lnTo>
                    <a:pt x="3593" y="954"/>
                  </a:lnTo>
                  <a:lnTo>
                    <a:pt x="3549" y="862"/>
                  </a:lnTo>
                  <a:lnTo>
                    <a:pt x="3503" y="774"/>
                  </a:lnTo>
                  <a:lnTo>
                    <a:pt x="3455" y="690"/>
                  </a:lnTo>
                  <a:lnTo>
                    <a:pt x="3403" y="610"/>
                  </a:lnTo>
                  <a:lnTo>
                    <a:pt x="3349" y="534"/>
                  </a:lnTo>
                  <a:lnTo>
                    <a:pt x="3295" y="462"/>
                  </a:lnTo>
                  <a:lnTo>
                    <a:pt x="3295" y="462"/>
                  </a:lnTo>
                  <a:lnTo>
                    <a:pt x="3359" y="492"/>
                  </a:lnTo>
                  <a:lnTo>
                    <a:pt x="3423" y="522"/>
                  </a:lnTo>
                  <a:lnTo>
                    <a:pt x="3485" y="556"/>
                  </a:lnTo>
                  <a:lnTo>
                    <a:pt x="3545" y="590"/>
                  </a:lnTo>
                  <a:lnTo>
                    <a:pt x="3605" y="628"/>
                  </a:lnTo>
                  <a:lnTo>
                    <a:pt x="3663" y="666"/>
                  </a:lnTo>
                  <a:lnTo>
                    <a:pt x="3719" y="708"/>
                  </a:lnTo>
                  <a:lnTo>
                    <a:pt x="3775" y="750"/>
                  </a:lnTo>
                  <a:lnTo>
                    <a:pt x="3829" y="794"/>
                  </a:lnTo>
                  <a:lnTo>
                    <a:pt x="3883" y="840"/>
                  </a:lnTo>
                  <a:lnTo>
                    <a:pt x="3933" y="888"/>
                  </a:lnTo>
                  <a:lnTo>
                    <a:pt x="3983" y="936"/>
                  </a:lnTo>
                  <a:lnTo>
                    <a:pt x="4031" y="988"/>
                  </a:lnTo>
                  <a:lnTo>
                    <a:pt x="4077" y="1040"/>
                  </a:lnTo>
                  <a:lnTo>
                    <a:pt x="4121" y="1094"/>
                  </a:lnTo>
                  <a:lnTo>
                    <a:pt x="4165" y="1150"/>
                  </a:lnTo>
                  <a:lnTo>
                    <a:pt x="4165" y="1150"/>
                  </a:lnTo>
                  <a:close/>
                  <a:moveTo>
                    <a:pt x="1588" y="462"/>
                  </a:moveTo>
                  <a:lnTo>
                    <a:pt x="1588" y="462"/>
                  </a:lnTo>
                  <a:lnTo>
                    <a:pt x="1558" y="498"/>
                  </a:lnTo>
                  <a:lnTo>
                    <a:pt x="1528" y="538"/>
                  </a:lnTo>
                  <a:lnTo>
                    <a:pt x="1500" y="578"/>
                  </a:lnTo>
                  <a:lnTo>
                    <a:pt x="1472" y="618"/>
                  </a:lnTo>
                  <a:lnTo>
                    <a:pt x="1444" y="660"/>
                  </a:lnTo>
                  <a:lnTo>
                    <a:pt x="1418" y="704"/>
                  </a:lnTo>
                  <a:lnTo>
                    <a:pt x="1392" y="750"/>
                  </a:lnTo>
                  <a:lnTo>
                    <a:pt x="1366" y="796"/>
                  </a:lnTo>
                  <a:lnTo>
                    <a:pt x="1366" y="796"/>
                  </a:lnTo>
                  <a:lnTo>
                    <a:pt x="1324" y="798"/>
                  </a:lnTo>
                  <a:lnTo>
                    <a:pt x="1282" y="802"/>
                  </a:lnTo>
                  <a:lnTo>
                    <a:pt x="1240" y="812"/>
                  </a:lnTo>
                  <a:lnTo>
                    <a:pt x="1202" y="822"/>
                  </a:lnTo>
                  <a:lnTo>
                    <a:pt x="1164" y="838"/>
                  </a:lnTo>
                  <a:lnTo>
                    <a:pt x="1128" y="854"/>
                  </a:lnTo>
                  <a:lnTo>
                    <a:pt x="1092" y="874"/>
                  </a:lnTo>
                  <a:lnTo>
                    <a:pt x="1060" y="896"/>
                  </a:lnTo>
                  <a:lnTo>
                    <a:pt x="1028" y="920"/>
                  </a:lnTo>
                  <a:lnTo>
                    <a:pt x="998" y="948"/>
                  </a:lnTo>
                  <a:lnTo>
                    <a:pt x="970" y="976"/>
                  </a:lnTo>
                  <a:lnTo>
                    <a:pt x="946" y="1008"/>
                  </a:lnTo>
                  <a:lnTo>
                    <a:pt x="924" y="1040"/>
                  </a:lnTo>
                  <a:lnTo>
                    <a:pt x="902" y="1076"/>
                  </a:lnTo>
                  <a:lnTo>
                    <a:pt x="886" y="1112"/>
                  </a:lnTo>
                  <a:lnTo>
                    <a:pt x="870" y="1150"/>
                  </a:lnTo>
                  <a:lnTo>
                    <a:pt x="716" y="1150"/>
                  </a:lnTo>
                  <a:lnTo>
                    <a:pt x="716" y="1150"/>
                  </a:lnTo>
                  <a:lnTo>
                    <a:pt x="758" y="1094"/>
                  </a:lnTo>
                  <a:lnTo>
                    <a:pt x="804" y="1040"/>
                  </a:lnTo>
                  <a:lnTo>
                    <a:pt x="850" y="988"/>
                  </a:lnTo>
                  <a:lnTo>
                    <a:pt x="898" y="936"/>
                  </a:lnTo>
                  <a:lnTo>
                    <a:pt x="948" y="888"/>
                  </a:lnTo>
                  <a:lnTo>
                    <a:pt x="998" y="840"/>
                  </a:lnTo>
                  <a:lnTo>
                    <a:pt x="1052" y="794"/>
                  </a:lnTo>
                  <a:lnTo>
                    <a:pt x="1106" y="750"/>
                  </a:lnTo>
                  <a:lnTo>
                    <a:pt x="1162" y="706"/>
                  </a:lnTo>
                  <a:lnTo>
                    <a:pt x="1218" y="666"/>
                  </a:lnTo>
                  <a:lnTo>
                    <a:pt x="1276" y="628"/>
                  </a:lnTo>
                  <a:lnTo>
                    <a:pt x="1336" y="590"/>
                  </a:lnTo>
                  <a:lnTo>
                    <a:pt x="1398" y="554"/>
                  </a:lnTo>
                  <a:lnTo>
                    <a:pt x="1460" y="522"/>
                  </a:lnTo>
                  <a:lnTo>
                    <a:pt x="1522" y="490"/>
                  </a:lnTo>
                  <a:lnTo>
                    <a:pt x="1588" y="462"/>
                  </a:lnTo>
                  <a:lnTo>
                    <a:pt x="1588" y="4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US" sz="1000" dirty="0"/>
            </a:p>
          </p:txBody>
        </p:sp>
      </p:grpSp>
      <p:sp>
        <p:nvSpPr>
          <p:cNvPr id="93" name="Google Shape;2191;p207">
            <a:extLst>
              <a:ext uri="{FF2B5EF4-FFF2-40B4-BE49-F238E27FC236}">
                <a16:creationId xmlns:a16="http://schemas.microsoft.com/office/drawing/2014/main" id="{9F46D6E2-F17A-4986-A08A-95F1C3F65DB0}"/>
              </a:ext>
            </a:extLst>
          </p:cNvPr>
          <p:cNvSpPr/>
          <p:nvPr/>
        </p:nvSpPr>
        <p:spPr>
          <a:xfrm>
            <a:off x="8860035" y="155608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re is underinvestment in leadership, which is critical to the </a:t>
            </a:r>
            <a:r>
              <a:rPr lang="en-AU" sz="1100" b="1" kern="0" dirty="0" smtClean="0">
                <a:solidFill>
                  <a:srgbClr val="FFFFFF"/>
                </a:solidFill>
                <a:cs typeface="Arial"/>
                <a:sym typeface="Arial"/>
              </a:rPr>
              <a:t>Commission’s </a:t>
            </a:r>
            <a:r>
              <a:rPr lang="en-AU" sz="1100" b="1" kern="0" dirty="0">
                <a:solidFill>
                  <a:srgbClr val="FFFFFF"/>
                </a:solidFill>
                <a:cs typeface="Arial"/>
                <a:sym typeface="Arial"/>
              </a:rPr>
              <a:t>success</a:t>
            </a:r>
            <a:endParaRPr lang="en-US" sz="1100" b="1" kern="0" dirty="0">
              <a:solidFill>
                <a:srgbClr val="FFFFFF"/>
              </a:solidFill>
              <a:cs typeface="Arial"/>
            </a:endParaRPr>
          </a:p>
        </p:txBody>
      </p:sp>
      <p:sp>
        <p:nvSpPr>
          <p:cNvPr id="94" name="TextBox 93">
            <a:extLst>
              <a:ext uri="{FF2B5EF4-FFF2-40B4-BE49-F238E27FC236}">
                <a16:creationId xmlns:a16="http://schemas.microsoft.com/office/drawing/2014/main" id="{B4D01BC0-C55E-4E5B-98A1-A5B25A3BF658}"/>
              </a:ext>
            </a:extLst>
          </p:cNvPr>
          <p:cNvSpPr txBox="1"/>
          <p:nvPr/>
        </p:nvSpPr>
        <p:spPr>
          <a:xfrm>
            <a:off x="8860326" y="2193491"/>
            <a:ext cx="2700000" cy="4162859"/>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olidFill>
                  <a:schemeClr val="tx1"/>
                </a:solidFill>
                <a:ea typeface="+mn-ea"/>
                <a:cs typeface="Arial" panose="020B0604020202020204" pitchFamily="34" charset="0"/>
                <a:sym typeface="Arial"/>
              </a:rPr>
              <a:t>With a challenging operating environment, significant strategic priorities and dynamic operational delivery requirements, the Commission</a:t>
            </a:r>
            <a:r>
              <a:rPr lang="en-AU" dirty="0">
                <a:solidFill>
                  <a:schemeClr val="tx1"/>
                </a:solidFill>
                <a:ea typeface="+mn-ea"/>
                <a:cs typeface="Arial" panose="020B0604020202020204" pitchFamily="34" charset="0"/>
              </a:rPr>
              <a:t> will need the right leadership capabilities now and into the future, </a:t>
            </a:r>
            <a:r>
              <a:rPr lang="en-AU" dirty="0">
                <a:solidFill>
                  <a:schemeClr val="tx1"/>
                </a:solidFill>
                <a:ea typeface="+mn-ea"/>
                <a:cs typeface="Arial" panose="020B0604020202020204" pitchFamily="34" charset="0"/>
                <a:sym typeface="Arial"/>
              </a:rPr>
              <a:t>underpinned by core leadership </a:t>
            </a:r>
            <a:r>
              <a:rPr lang="en-AU" dirty="0" smtClean="0">
                <a:solidFill>
                  <a:schemeClr val="tx1"/>
                </a:solidFill>
                <a:ea typeface="+mn-ea"/>
                <a:cs typeface="Arial" panose="020B0604020202020204" pitchFamily="34" charset="0"/>
                <a:sym typeface="Arial"/>
              </a:rPr>
              <a:t>capabilities. Unified </a:t>
            </a:r>
            <a:r>
              <a:rPr lang="en-AU" dirty="0">
                <a:solidFill>
                  <a:schemeClr val="tx1"/>
                </a:solidFill>
                <a:ea typeface="+mn-ea"/>
                <a:cs typeface="Arial" panose="020B0604020202020204" pitchFamily="34" charset="0"/>
                <a:sym typeface="Arial"/>
              </a:rPr>
              <a:t>leadership across the Commission such as in performance management approaches, career conversations, capability development and </a:t>
            </a:r>
            <a:r>
              <a:rPr lang="en-AU" dirty="0" smtClean="0">
                <a:solidFill>
                  <a:schemeClr val="tx1"/>
                </a:solidFill>
                <a:ea typeface="+mn-ea"/>
                <a:cs typeface="Arial" panose="020B0604020202020204" pitchFamily="34" charset="0"/>
                <a:sym typeface="Arial"/>
              </a:rPr>
              <a:t>planning would be advantageous. </a:t>
            </a:r>
            <a:r>
              <a:rPr lang="en-AU" dirty="0">
                <a:solidFill>
                  <a:schemeClr val="tx1"/>
                </a:solidFill>
                <a:ea typeface="+mn-ea"/>
                <a:cs typeface="Arial" panose="020B0604020202020204" pitchFamily="34" charset="0"/>
              </a:rPr>
              <a:t>Across the Commission there are also perceived succession risks, with limited bench-strength.</a:t>
            </a:r>
            <a:r>
              <a:rPr lang="en-AU" dirty="0">
                <a:solidFill>
                  <a:schemeClr val="tx1"/>
                </a:solidFill>
                <a:ea typeface="+mn-ea"/>
                <a:cs typeface="Arial" panose="020B0604020202020204" pitchFamily="34" charset="0"/>
                <a:sym typeface="Arial"/>
              </a:rPr>
              <a:t> </a:t>
            </a:r>
          </a:p>
          <a:p>
            <a:pPr>
              <a:spcBef>
                <a:spcPts val="600"/>
              </a:spcBef>
            </a:pPr>
            <a:r>
              <a:rPr lang="en-AU" dirty="0">
                <a:solidFill>
                  <a:schemeClr val="tx1"/>
                </a:solidFill>
                <a:ea typeface="+mn-ea"/>
                <a:cs typeface="Arial" panose="020B0604020202020204" pitchFamily="34" charset="0"/>
                <a:sym typeface="Arial"/>
              </a:rPr>
              <a:t>Currently, the Commission does not have a structured approach to identifying existing and potential succession risks and developing and implementing succession risk management interventions to mitigate risks. Leveraging existing APS frameworks and tools, the Commission can establish a structured and consistent approach to identifying and mitigating succession risks that contribute to mitigating strategic and operational delivery risks, demonstrate investment in growth and development, improve workforce mobility and in turn retention and engagement.</a:t>
            </a:r>
            <a:endParaRPr lang="en-AU" dirty="0">
              <a:solidFill>
                <a:schemeClr val="tx1"/>
              </a:solidFill>
              <a:ea typeface="+mn-ea"/>
              <a:cs typeface="Arial" panose="020B0604020202020204" pitchFamily="34" charset="0"/>
            </a:endParaRPr>
          </a:p>
          <a:p>
            <a:endParaRPr lang="en-AU" dirty="0">
              <a:solidFill>
                <a:schemeClr val="tx1"/>
              </a:solidFill>
              <a:ea typeface="+mn-ea"/>
              <a:cs typeface="Arial" panose="020B0604020202020204" pitchFamily="34" charset="0"/>
            </a:endParaRPr>
          </a:p>
          <a:p>
            <a:endParaRPr lang="en-AU" dirty="0">
              <a:solidFill>
                <a:schemeClr val="tx1"/>
              </a:solidFill>
            </a:endParaRPr>
          </a:p>
        </p:txBody>
      </p:sp>
      <p:sp>
        <p:nvSpPr>
          <p:cNvPr id="95" name="Freeform 13">
            <a:extLst>
              <a:ext uri="{FF2B5EF4-FFF2-40B4-BE49-F238E27FC236}">
                <a16:creationId xmlns:a16="http://schemas.microsoft.com/office/drawing/2014/main" id="{1FC46CE1-D2AA-4A4F-8599-728B6E395789}"/>
              </a:ext>
            </a:extLst>
          </p:cNvPr>
          <p:cNvSpPr>
            <a:spLocks noChangeAspect="1" noEditPoints="1"/>
          </p:cNvSpPr>
          <p:nvPr/>
        </p:nvSpPr>
        <p:spPr bwMode="auto">
          <a:xfrm>
            <a:off x="8939473" y="1612890"/>
            <a:ext cx="468416" cy="468344"/>
          </a:xfrm>
          <a:custGeom>
            <a:avLst/>
            <a:gdLst>
              <a:gd name="T0" fmla="*/ 0 w 6669"/>
              <a:gd name="T1" fmla="*/ 6668 h 6668"/>
              <a:gd name="T2" fmla="*/ 6669 w 6669"/>
              <a:gd name="T3" fmla="*/ 0 h 6668"/>
              <a:gd name="T4" fmla="*/ 6385 w 6669"/>
              <a:gd name="T5" fmla="*/ 2273 h 6668"/>
              <a:gd name="T6" fmla="*/ 5987 w 6669"/>
              <a:gd name="T7" fmla="*/ 1861 h 6668"/>
              <a:gd name="T8" fmla="*/ 4877 w 6669"/>
              <a:gd name="T9" fmla="*/ 2273 h 6668"/>
              <a:gd name="T10" fmla="*/ 4199 w 6669"/>
              <a:gd name="T11" fmla="*/ 1825 h 6668"/>
              <a:gd name="T12" fmla="*/ 4611 w 6669"/>
              <a:gd name="T13" fmla="*/ 718 h 6668"/>
              <a:gd name="T14" fmla="*/ 4199 w 6669"/>
              <a:gd name="T15" fmla="*/ 284 h 6668"/>
              <a:gd name="T16" fmla="*/ 6385 w 6669"/>
              <a:gd name="T17" fmla="*/ 2273 h 6668"/>
              <a:gd name="T18" fmla="*/ 5703 w 6669"/>
              <a:gd name="T19" fmla="*/ 2685 h 6668"/>
              <a:gd name="T20" fmla="*/ 5161 w 6669"/>
              <a:gd name="T21" fmla="*/ 2145 h 6668"/>
              <a:gd name="T22" fmla="*/ 5289 w 6669"/>
              <a:gd name="T23" fmla="*/ 5950 h 6668"/>
              <a:gd name="T24" fmla="*/ 2824 w 6669"/>
              <a:gd name="T25" fmla="*/ 6384 h 6668"/>
              <a:gd name="T26" fmla="*/ 3236 w 6669"/>
              <a:gd name="T27" fmla="*/ 5950 h 6668"/>
              <a:gd name="T28" fmla="*/ 4877 w 6669"/>
              <a:gd name="T29" fmla="*/ 5538 h 6668"/>
              <a:gd name="T30" fmla="*/ 5289 w 6669"/>
              <a:gd name="T31" fmla="*/ 5950 h 6668"/>
              <a:gd name="T32" fmla="*/ 5161 w 6669"/>
              <a:gd name="T33" fmla="*/ 5126 h 6668"/>
              <a:gd name="T34" fmla="*/ 5703 w 6669"/>
              <a:gd name="T35" fmla="*/ 5666 h 6668"/>
              <a:gd name="T36" fmla="*/ 2952 w 6669"/>
              <a:gd name="T37" fmla="*/ 5126 h 6668"/>
              <a:gd name="T38" fmla="*/ 2412 w 6669"/>
              <a:gd name="T39" fmla="*/ 5666 h 6668"/>
              <a:gd name="T40" fmla="*/ 2952 w 6669"/>
              <a:gd name="T41" fmla="*/ 5126 h 6668"/>
              <a:gd name="T42" fmla="*/ 3236 w 6669"/>
              <a:gd name="T43" fmla="*/ 4843 h 6668"/>
              <a:gd name="T44" fmla="*/ 2824 w 6669"/>
              <a:gd name="T45" fmla="*/ 3701 h 6668"/>
              <a:gd name="T46" fmla="*/ 3503 w 6669"/>
              <a:gd name="T47" fmla="*/ 4113 h 6668"/>
              <a:gd name="T48" fmla="*/ 3915 w 6669"/>
              <a:gd name="T49" fmla="*/ 5254 h 6668"/>
              <a:gd name="T50" fmla="*/ 3787 w 6669"/>
              <a:gd name="T51" fmla="*/ 3829 h 6668"/>
              <a:gd name="T52" fmla="*/ 4327 w 6669"/>
              <a:gd name="T53" fmla="*/ 3289 h 6668"/>
              <a:gd name="T54" fmla="*/ 3787 w 6669"/>
              <a:gd name="T55" fmla="*/ 3829 h 6668"/>
              <a:gd name="T56" fmla="*/ 3503 w 6669"/>
              <a:gd name="T57" fmla="*/ 3417 h 6668"/>
              <a:gd name="T58" fmla="*/ 1860 w 6669"/>
              <a:gd name="T59" fmla="*/ 3005 h 6668"/>
              <a:gd name="T60" fmla="*/ 1448 w 6669"/>
              <a:gd name="T61" fmla="*/ 1825 h 6668"/>
              <a:gd name="T62" fmla="*/ 1860 w 6669"/>
              <a:gd name="T63" fmla="*/ 718 h 6668"/>
              <a:gd name="T64" fmla="*/ 1448 w 6669"/>
              <a:gd name="T65" fmla="*/ 284 h 6668"/>
              <a:gd name="T66" fmla="*/ 3915 w 6669"/>
              <a:gd name="T67" fmla="*/ 718 h 6668"/>
              <a:gd name="T68" fmla="*/ 3503 w 6669"/>
              <a:gd name="T69" fmla="*/ 1825 h 6668"/>
              <a:gd name="T70" fmla="*/ 3915 w 6669"/>
              <a:gd name="T71" fmla="*/ 3005 h 6668"/>
              <a:gd name="T72" fmla="*/ 1576 w 6669"/>
              <a:gd name="T73" fmla="*/ 3289 h 6668"/>
              <a:gd name="T74" fmla="*/ 1036 w 6669"/>
              <a:gd name="T75" fmla="*/ 3829 h 6668"/>
              <a:gd name="T76" fmla="*/ 1576 w 6669"/>
              <a:gd name="T77" fmla="*/ 3289 h 6668"/>
              <a:gd name="T78" fmla="*/ 1576 w 6669"/>
              <a:gd name="T79" fmla="*/ 1542 h 6668"/>
              <a:gd name="T80" fmla="*/ 1036 w 6669"/>
              <a:gd name="T81" fmla="*/ 1002 h 6668"/>
              <a:gd name="T82" fmla="*/ 3787 w 6669"/>
              <a:gd name="T83" fmla="*/ 1542 h 6668"/>
              <a:gd name="T84" fmla="*/ 4327 w 6669"/>
              <a:gd name="T85" fmla="*/ 1002 h 6668"/>
              <a:gd name="T86" fmla="*/ 3787 w 6669"/>
              <a:gd name="T87" fmla="*/ 1542 h 6668"/>
              <a:gd name="T88" fmla="*/ 1164 w 6669"/>
              <a:gd name="T89" fmla="*/ 284 h 6668"/>
              <a:gd name="T90" fmla="*/ 752 w 6669"/>
              <a:gd name="T91" fmla="*/ 718 h 6668"/>
              <a:gd name="T92" fmla="*/ 1164 w 6669"/>
              <a:gd name="T93" fmla="*/ 1825 h 6668"/>
              <a:gd name="T94" fmla="*/ 752 w 6669"/>
              <a:gd name="T95" fmla="*/ 3005 h 6668"/>
              <a:gd name="T96" fmla="*/ 1860 w 6669"/>
              <a:gd name="T97" fmla="*/ 4113 h 6668"/>
              <a:gd name="T98" fmla="*/ 2540 w 6669"/>
              <a:gd name="T99" fmla="*/ 3701 h 6668"/>
              <a:gd name="T100" fmla="*/ 2128 w 6669"/>
              <a:gd name="T101" fmla="*/ 4843 h 6668"/>
              <a:gd name="T102" fmla="*/ 2540 w 6669"/>
              <a:gd name="T103" fmla="*/ 5950 h 6668"/>
              <a:gd name="T104" fmla="*/ 286 w 6669"/>
              <a:gd name="T105" fmla="*/ 6384 h 6668"/>
              <a:gd name="T106" fmla="*/ 5575 w 6669"/>
              <a:gd name="T107" fmla="*/ 6384 h 6668"/>
              <a:gd name="T108" fmla="*/ 5987 w 6669"/>
              <a:gd name="T109" fmla="*/ 5950 h 6668"/>
              <a:gd name="T110" fmla="*/ 4877 w 6669"/>
              <a:gd name="T111" fmla="*/ 4843 h 6668"/>
              <a:gd name="T112" fmla="*/ 4199 w 6669"/>
              <a:gd name="T113" fmla="*/ 5254 h 6668"/>
              <a:gd name="T114" fmla="*/ 4611 w 6669"/>
              <a:gd name="T115" fmla="*/ 4113 h 6668"/>
              <a:gd name="T116" fmla="*/ 4199 w 6669"/>
              <a:gd name="T117" fmla="*/ 3005 h 6668"/>
              <a:gd name="T118" fmla="*/ 4877 w 6669"/>
              <a:gd name="T119" fmla="*/ 2557 h 6668"/>
              <a:gd name="T120" fmla="*/ 5987 w 6669"/>
              <a:gd name="T121" fmla="*/ 2969 h 6668"/>
              <a:gd name="T122" fmla="*/ 6385 w 6669"/>
              <a:gd name="T123" fmla="*/ 2557 h 6668"/>
              <a:gd name="T124" fmla="*/ 5575 w 6669"/>
              <a:gd name="T125" fmla="*/ 6384 h 6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69" h="6668">
                <a:moveTo>
                  <a:pt x="0" y="0"/>
                </a:moveTo>
                <a:lnTo>
                  <a:pt x="0" y="6668"/>
                </a:lnTo>
                <a:lnTo>
                  <a:pt x="6669" y="6668"/>
                </a:lnTo>
                <a:lnTo>
                  <a:pt x="6669" y="0"/>
                </a:lnTo>
                <a:lnTo>
                  <a:pt x="0" y="0"/>
                </a:lnTo>
                <a:close/>
                <a:moveTo>
                  <a:pt x="6385" y="2273"/>
                </a:moveTo>
                <a:lnTo>
                  <a:pt x="5987" y="2273"/>
                </a:lnTo>
                <a:lnTo>
                  <a:pt x="5987" y="1861"/>
                </a:lnTo>
                <a:lnTo>
                  <a:pt x="4877" y="1861"/>
                </a:lnTo>
                <a:lnTo>
                  <a:pt x="4877" y="2273"/>
                </a:lnTo>
                <a:lnTo>
                  <a:pt x="4199" y="2273"/>
                </a:lnTo>
                <a:lnTo>
                  <a:pt x="4199" y="1825"/>
                </a:lnTo>
                <a:lnTo>
                  <a:pt x="4611" y="1825"/>
                </a:lnTo>
                <a:lnTo>
                  <a:pt x="4611" y="718"/>
                </a:lnTo>
                <a:lnTo>
                  <a:pt x="4199" y="718"/>
                </a:lnTo>
                <a:lnTo>
                  <a:pt x="4199" y="284"/>
                </a:lnTo>
                <a:lnTo>
                  <a:pt x="6385" y="284"/>
                </a:lnTo>
                <a:lnTo>
                  <a:pt x="6385" y="2273"/>
                </a:lnTo>
                <a:close/>
                <a:moveTo>
                  <a:pt x="5703" y="2145"/>
                </a:moveTo>
                <a:lnTo>
                  <a:pt x="5703" y="2685"/>
                </a:lnTo>
                <a:lnTo>
                  <a:pt x="5161" y="2685"/>
                </a:lnTo>
                <a:lnTo>
                  <a:pt x="5161" y="2145"/>
                </a:lnTo>
                <a:lnTo>
                  <a:pt x="5703" y="2145"/>
                </a:lnTo>
                <a:close/>
                <a:moveTo>
                  <a:pt x="5289" y="5950"/>
                </a:moveTo>
                <a:lnTo>
                  <a:pt x="5289" y="6384"/>
                </a:lnTo>
                <a:lnTo>
                  <a:pt x="2824" y="6384"/>
                </a:lnTo>
                <a:lnTo>
                  <a:pt x="2824" y="5950"/>
                </a:lnTo>
                <a:lnTo>
                  <a:pt x="3236" y="5950"/>
                </a:lnTo>
                <a:lnTo>
                  <a:pt x="3236" y="5538"/>
                </a:lnTo>
                <a:lnTo>
                  <a:pt x="4877" y="5538"/>
                </a:lnTo>
                <a:lnTo>
                  <a:pt x="4877" y="5950"/>
                </a:lnTo>
                <a:lnTo>
                  <a:pt x="5289" y="5950"/>
                </a:lnTo>
                <a:close/>
                <a:moveTo>
                  <a:pt x="5161" y="5666"/>
                </a:moveTo>
                <a:lnTo>
                  <a:pt x="5161" y="5126"/>
                </a:lnTo>
                <a:lnTo>
                  <a:pt x="5703" y="5126"/>
                </a:lnTo>
                <a:lnTo>
                  <a:pt x="5703" y="5666"/>
                </a:lnTo>
                <a:lnTo>
                  <a:pt x="5161" y="5666"/>
                </a:lnTo>
                <a:close/>
                <a:moveTo>
                  <a:pt x="2952" y="5126"/>
                </a:moveTo>
                <a:lnTo>
                  <a:pt x="2952" y="5666"/>
                </a:lnTo>
                <a:lnTo>
                  <a:pt x="2412" y="5666"/>
                </a:lnTo>
                <a:lnTo>
                  <a:pt x="2412" y="5126"/>
                </a:lnTo>
                <a:lnTo>
                  <a:pt x="2952" y="5126"/>
                </a:lnTo>
                <a:close/>
                <a:moveTo>
                  <a:pt x="3236" y="5254"/>
                </a:moveTo>
                <a:lnTo>
                  <a:pt x="3236" y="4843"/>
                </a:lnTo>
                <a:lnTo>
                  <a:pt x="2824" y="4843"/>
                </a:lnTo>
                <a:lnTo>
                  <a:pt x="2824" y="3701"/>
                </a:lnTo>
                <a:lnTo>
                  <a:pt x="3503" y="3701"/>
                </a:lnTo>
                <a:lnTo>
                  <a:pt x="3503" y="4113"/>
                </a:lnTo>
                <a:lnTo>
                  <a:pt x="3915" y="4113"/>
                </a:lnTo>
                <a:lnTo>
                  <a:pt x="3915" y="5254"/>
                </a:lnTo>
                <a:lnTo>
                  <a:pt x="3236" y="5254"/>
                </a:lnTo>
                <a:close/>
                <a:moveTo>
                  <a:pt x="3787" y="3829"/>
                </a:moveTo>
                <a:lnTo>
                  <a:pt x="3787" y="3289"/>
                </a:lnTo>
                <a:lnTo>
                  <a:pt x="4327" y="3289"/>
                </a:lnTo>
                <a:lnTo>
                  <a:pt x="4327" y="3829"/>
                </a:lnTo>
                <a:lnTo>
                  <a:pt x="3787" y="3829"/>
                </a:lnTo>
                <a:close/>
                <a:moveTo>
                  <a:pt x="3503" y="3005"/>
                </a:moveTo>
                <a:lnTo>
                  <a:pt x="3503" y="3417"/>
                </a:lnTo>
                <a:lnTo>
                  <a:pt x="1860" y="3417"/>
                </a:lnTo>
                <a:lnTo>
                  <a:pt x="1860" y="3005"/>
                </a:lnTo>
                <a:lnTo>
                  <a:pt x="1448" y="3005"/>
                </a:lnTo>
                <a:lnTo>
                  <a:pt x="1448" y="1825"/>
                </a:lnTo>
                <a:lnTo>
                  <a:pt x="1860" y="1825"/>
                </a:lnTo>
                <a:lnTo>
                  <a:pt x="1860" y="718"/>
                </a:lnTo>
                <a:lnTo>
                  <a:pt x="1448" y="718"/>
                </a:lnTo>
                <a:lnTo>
                  <a:pt x="1448" y="284"/>
                </a:lnTo>
                <a:lnTo>
                  <a:pt x="3915" y="284"/>
                </a:lnTo>
                <a:lnTo>
                  <a:pt x="3915" y="718"/>
                </a:lnTo>
                <a:lnTo>
                  <a:pt x="3503" y="718"/>
                </a:lnTo>
                <a:lnTo>
                  <a:pt x="3503" y="1825"/>
                </a:lnTo>
                <a:lnTo>
                  <a:pt x="3915" y="1825"/>
                </a:lnTo>
                <a:lnTo>
                  <a:pt x="3915" y="3005"/>
                </a:lnTo>
                <a:lnTo>
                  <a:pt x="3503" y="3005"/>
                </a:lnTo>
                <a:close/>
                <a:moveTo>
                  <a:pt x="1576" y="3289"/>
                </a:moveTo>
                <a:lnTo>
                  <a:pt x="1576" y="3829"/>
                </a:lnTo>
                <a:lnTo>
                  <a:pt x="1036" y="3829"/>
                </a:lnTo>
                <a:lnTo>
                  <a:pt x="1036" y="3289"/>
                </a:lnTo>
                <a:lnTo>
                  <a:pt x="1576" y="3289"/>
                </a:lnTo>
                <a:close/>
                <a:moveTo>
                  <a:pt x="1576" y="1002"/>
                </a:moveTo>
                <a:lnTo>
                  <a:pt x="1576" y="1542"/>
                </a:lnTo>
                <a:lnTo>
                  <a:pt x="1036" y="1542"/>
                </a:lnTo>
                <a:lnTo>
                  <a:pt x="1036" y="1002"/>
                </a:lnTo>
                <a:lnTo>
                  <a:pt x="1576" y="1002"/>
                </a:lnTo>
                <a:close/>
                <a:moveTo>
                  <a:pt x="3787" y="1542"/>
                </a:moveTo>
                <a:lnTo>
                  <a:pt x="3787" y="1002"/>
                </a:lnTo>
                <a:lnTo>
                  <a:pt x="4327" y="1002"/>
                </a:lnTo>
                <a:lnTo>
                  <a:pt x="4327" y="1542"/>
                </a:lnTo>
                <a:lnTo>
                  <a:pt x="3787" y="1542"/>
                </a:lnTo>
                <a:close/>
                <a:moveTo>
                  <a:pt x="286" y="284"/>
                </a:moveTo>
                <a:lnTo>
                  <a:pt x="1164" y="284"/>
                </a:lnTo>
                <a:lnTo>
                  <a:pt x="1164" y="718"/>
                </a:lnTo>
                <a:lnTo>
                  <a:pt x="752" y="718"/>
                </a:lnTo>
                <a:lnTo>
                  <a:pt x="752" y="1825"/>
                </a:lnTo>
                <a:lnTo>
                  <a:pt x="1164" y="1825"/>
                </a:lnTo>
                <a:lnTo>
                  <a:pt x="1164" y="3005"/>
                </a:lnTo>
                <a:lnTo>
                  <a:pt x="752" y="3005"/>
                </a:lnTo>
                <a:lnTo>
                  <a:pt x="752" y="4113"/>
                </a:lnTo>
                <a:lnTo>
                  <a:pt x="1860" y="4113"/>
                </a:lnTo>
                <a:lnTo>
                  <a:pt x="1860" y="3701"/>
                </a:lnTo>
                <a:lnTo>
                  <a:pt x="2540" y="3701"/>
                </a:lnTo>
                <a:lnTo>
                  <a:pt x="2540" y="4843"/>
                </a:lnTo>
                <a:lnTo>
                  <a:pt x="2128" y="4843"/>
                </a:lnTo>
                <a:lnTo>
                  <a:pt x="2128" y="5950"/>
                </a:lnTo>
                <a:lnTo>
                  <a:pt x="2540" y="5950"/>
                </a:lnTo>
                <a:lnTo>
                  <a:pt x="2540" y="6384"/>
                </a:lnTo>
                <a:lnTo>
                  <a:pt x="286" y="6384"/>
                </a:lnTo>
                <a:lnTo>
                  <a:pt x="286" y="284"/>
                </a:lnTo>
                <a:close/>
                <a:moveTo>
                  <a:pt x="5575" y="6384"/>
                </a:moveTo>
                <a:lnTo>
                  <a:pt x="5575" y="5950"/>
                </a:lnTo>
                <a:lnTo>
                  <a:pt x="5987" y="5950"/>
                </a:lnTo>
                <a:lnTo>
                  <a:pt x="5987" y="4843"/>
                </a:lnTo>
                <a:lnTo>
                  <a:pt x="4877" y="4843"/>
                </a:lnTo>
                <a:lnTo>
                  <a:pt x="4877" y="5254"/>
                </a:lnTo>
                <a:lnTo>
                  <a:pt x="4199" y="5254"/>
                </a:lnTo>
                <a:lnTo>
                  <a:pt x="4199" y="4113"/>
                </a:lnTo>
                <a:lnTo>
                  <a:pt x="4611" y="4113"/>
                </a:lnTo>
                <a:lnTo>
                  <a:pt x="4611" y="3005"/>
                </a:lnTo>
                <a:lnTo>
                  <a:pt x="4199" y="3005"/>
                </a:lnTo>
                <a:lnTo>
                  <a:pt x="4199" y="2557"/>
                </a:lnTo>
                <a:lnTo>
                  <a:pt x="4877" y="2557"/>
                </a:lnTo>
                <a:lnTo>
                  <a:pt x="4877" y="2969"/>
                </a:lnTo>
                <a:lnTo>
                  <a:pt x="5987" y="2969"/>
                </a:lnTo>
                <a:lnTo>
                  <a:pt x="5987" y="2557"/>
                </a:lnTo>
                <a:lnTo>
                  <a:pt x="6385" y="2557"/>
                </a:lnTo>
                <a:lnTo>
                  <a:pt x="6385" y="6384"/>
                </a:lnTo>
                <a:lnTo>
                  <a:pt x="5575" y="6384"/>
                </a:lnTo>
                <a:close/>
              </a:path>
            </a:pathLst>
          </a:custGeom>
          <a:solidFill>
            <a:schemeClr val="bg1"/>
          </a:solidFill>
          <a:ln>
            <a:noFill/>
          </a:ln>
        </p:spPr>
        <p:txBody>
          <a:bodyPr vert="horz" wrap="square" lIns="58643" tIns="29322" rIns="58643" bIns="29322" numCol="1" anchor="t" anchorCtr="0" compatLnSpc="1">
            <a:prstTxWarp prst="textNoShape">
              <a:avLst/>
            </a:prstTxWarp>
          </a:bodyPr>
          <a:lstStyle/>
          <a:p>
            <a:endParaRPr lang="en-US" sz="1000" dirty="0"/>
          </a:p>
        </p:txBody>
      </p:sp>
      <p:sp>
        <p:nvSpPr>
          <p:cNvPr id="4" name="Slide Number Placeholder 3">
            <a:extLst>
              <a:ext uri="{FF2B5EF4-FFF2-40B4-BE49-F238E27FC236}">
                <a16:creationId xmlns:a16="http://schemas.microsoft.com/office/drawing/2014/main" id="{CADE08F5-3290-5CC2-8583-BB8B8FBA5D81}"/>
              </a:ext>
            </a:extLst>
          </p:cNvPr>
          <p:cNvSpPr>
            <a:spLocks noGrp="1"/>
          </p:cNvSpPr>
          <p:nvPr>
            <p:ph type="sldNum" sz="quarter" idx="12"/>
          </p:nvPr>
        </p:nvSpPr>
        <p:spPr/>
        <p:txBody>
          <a:bodyPr/>
          <a:lstStyle/>
          <a:p>
            <a:fld id="{C0F55C17-AF72-40D4-ADBD-B5505DEBF9BA}" type="slidenum">
              <a:rPr lang="en-AU" smtClean="0"/>
              <a:t>23</a:t>
            </a:fld>
            <a:endParaRPr lang="en-US" dirty="0"/>
          </a:p>
        </p:txBody>
      </p:sp>
      <p:sp>
        <p:nvSpPr>
          <p:cNvPr id="2" name="Footer Placeholder 1">
            <a:extLst>
              <a:ext uri="{FF2B5EF4-FFF2-40B4-BE49-F238E27FC236}">
                <a16:creationId xmlns:a16="http://schemas.microsoft.com/office/drawing/2014/main" id="{A70D22DF-4A59-3F97-2AFE-9889767E2836}"/>
              </a:ext>
            </a:extLst>
          </p:cNvPr>
          <p:cNvSpPr>
            <a:spLocks noGrp="1"/>
          </p:cNvSpPr>
          <p:nvPr>
            <p:ph type="ftr" sz="quarter" idx="11"/>
          </p:nvPr>
        </p:nvSpPr>
        <p:spPr>
          <a:xfrm>
            <a:off x="1103683" y="6379186"/>
            <a:ext cx="6783813" cy="180000"/>
          </a:xfrm>
        </p:spPr>
        <p:txBody>
          <a:bodyPr/>
          <a:lstStyle/>
          <a:p>
            <a:pPr algn="ctr"/>
            <a:r>
              <a:rPr lang="en-AU" smtClean="0"/>
              <a:t>NDIS Commission Workforce Plan 2023-2028</a:t>
            </a:r>
            <a:endParaRPr lang="en-US" dirty="0"/>
          </a:p>
        </p:txBody>
      </p:sp>
      <p:sp>
        <p:nvSpPr>
          <p:cNvPr id="44" name="Speech Bubble: Rectangle 43">
            <a:extLst>
              <a:ext uri="{FF2B5EF4-FFF2-40B4-BE49-F238E27FC236}">
                <a16:creationId xmlns:a16="http://schemas.microsoft.com/office/drawing/2014/main" id="{75720531-362F-41A7-B587-66CB5DF18576}"/>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45" name="Group 44">
            <a:extLst>
              <a:ext uri="{FF2B5EF4-FFF2-40B4-BE49-F238E27FC236}">
                <a16:creationId xmlns:a16="http://schemas.microsoft.com/office/drawing/2014/main" id="{77C16F7C-E13F-442D-B177-7CD1E2418960}"/>
              </a:ext>
            </a:extLst>
          </p:cNvPr>
          <p:cNvGrpSpPr/>
          <p:nvPr/>
        </p:nvGrpSpPr>
        <p:grpSpPr>
          <a:xfrm>
            <a:off x="10609741" y="1048190"/>
            <a:ext cx="396000" cy="376186"/>
            <a:chOff x="627146" y="1619763"/>
            <a:chExt cx="396000" cy="396000"/>
          </a:xfrm>
        </p:grpSpPr>
        <p:sp>
          <p:nvSpPr>
            <p:cNvPr id="46" name="Rectangle 45">
              <a:extLst>
                <a:ext uri="{FF2B5EF4-FFF2-40B4-BE49-F238E27FC236}">
                  <a16:creationId xmlns:a16="http://schemas.microsoft.com/office/drawing/2014/main" id="{DE6751EE-665E-429B-A6DB-124D08D85984}"/>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8" name="Freeform 118">
              <a:extLst>
                <a:ext uri="{FF2B5EF4-FFF2-40B4-BE49-F238E27FC236}">
                  <a16:creationId xmlns:a16="http://schemas.microsoft.com/office/drawing/2014/main" id="{6CABB9D2-7D1D-4773-9130-FB90C56CFC29}"/>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9" name="Freeform 119">
              <a:extLst>
                <a:ext uri="{FF2B5EF4-FFF2-40B4-BE49-F238E27FC236}">
                  <a16:creationId xmlns:a16="http://schemas.microsoft.com/office/drawing/2014/main" id="{01FEADE6-B542-4969-8B93-CAA1ED409DE2}"/>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0" name="Freeform 120">
              <a:extLst>
                <a:ext uri="{FF2B5EF4-FFF2-40B4-BE49-F238E27FC236}">
                  <a16:creationId xmlns:a16="http://schemas.microsoft.com/office/drawing/2014/main" id="{26EBC152-87F9-437B-B396-903EF1C9DAA0}"/>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1" name="Freeform 121">
              <a:extLst>
                <a:ext uri="{FF2B5EF4-FFF2-40B4-BE49-F238E27FC236}">
                  <a16:creationId xmlns:a16="http://schemas.microsoft.com/office/drawing/2014/main" id="{6801992F-BBC3-434E-BD5E-CA0B32906939}"/>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2" name="Freeform 122">
              <a:extLst>
                <a:ext uri="{FF2B5EF4-FFF2-40B4-BE49-F238E27FC236}">
                  <a16:creationId xmlns:a16="http://schemas.microsoft.com/office/drawing/2014/main" id="{A2AA5676-992C-49C5-A12C-19A29A0CEFDA}"/>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3" name="Freeform 124">
              <a:extLst>
                <a:ext uri="{FF2B5EF4-FFF2-40B4-BE49-F238E27FC236}">
                  <a16:creationId xmlns:a16="http://schemas.microsoft.com/office/drawing/2014/main" id="{274BA682-2637-4BA3-B755-15C15BBBC625}"/>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4" name="Freeform 128">
              <a:extLst>
                <a:ext uri="{FF2B5EF4-FFF2-40B4-BE49-F238E27FC236}">
                  <a16:creationId xmlns:a16="http://schemas.microsoft.com/office/drawing/2014/main" id="{B503ACFF-5FB7-4BD8-95AA-5616442E45D9}"/>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7" name="Freeform 129">
              <a:extLst>
                <a:ext uri="{FF2B5EF4-FFF2-40B4-BE49-F238E27FC236}">
                  <a16:creationId xmlns:a16="http://schemas.microsoft.com/office/drawing/2014/main" id="{6E5F6E39-FEA0-4E3E-8957-68268E6E0169}"/>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8" name="Freeform 130">
              <a:extLst>
                <a:ext uri="{FF2B5EF4-FFF2-40B4-BE49-F238E27FC236}">
                  <a16:creationId xmlns:a16="http://schemas.microsoft.com/office/drawing/2014/main" id="{6F816652-B041-4F7D-A691-D268C1BC496F}"/>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9" name="Freeform 131">
              <a:extLst>
                <a:ext uri="{FF2B5EF4-FFF2-40B4-BE49-F238E27FC236}">
                  <a16:creationId xmlns:a16="http://schemas.microsoft.com/office/drawing/2014/main" id="{CA2023F4-0496-4459-A889-A5B360BB7B1B}"/>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0" name="Freeform 133">
              <a:extLst>
                <a:ext uri="{FF2B5EF4-FFF2-40B4-BE49-F238E27FC236}">
                  <a16:creationId xmlns:a16="http://schemas.microsoft.com/office/drawing/2014/main" id="{5FA8CFF9-6F72-4D63-807C-A8ADB2CF934A}"/>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1" name="Freeform 134">
              <a:extLst>
                <a:ext uri="{FF2B5EF4-FFF2-40B4-BE49-F238E27FC236}">
                  <a16:creationId xmlns:a16="http://schemas.microsoft.com/office/drawing/2014/main" id="{6B097C5A-6164-432A-AF46-CF8CD1FD8F05}"/>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2" name="Freeform 135">
              <a:extLst>
                <a:ext uri="{FF2B5EF4-FFF2-40B4-BE49-F238E27FC236}">
                  <a16:creationId xmlns:a16="http://schemas.microsoft.com/office/drawing/2014/main" id="{E036EACD-4CE1-44A9-8FC6-1ED205B333CC}"/>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63" name="Google Shape;162;p4">
            <a:extLst>
              <a:ext uri="{FF2B5EF4-FFF2-40B4-BE49-F238E27FC236}">
                <a16:creationId xmlns:a16="http://schemas.microsoft.com/office/drawing/2014/main" id="{973F7737-05E6-4132-8AC7-ED8D8394CAEE}"/>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85" name="Freeform 37">
            <a:extLst>
              <a:ext uri="{FF2B5EF4-FFF2-40B4-BE49-F238E27FC236}">
                <a16:creationId xmlns:a16="http://schemas.microsoft.com/office/drawing/2014/main" id="{4FD13948-34BD-4BB9-89F9-FF2919464653}"/>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3" name="TextBox 2">
            <a:extLst>
              <a:ext uri="{FF2B5EF4-FFF2-40B4-BE49-F238E27FC236}">
                <a16:creationId xmlns:a16="http://schemas.microsoft.com/office/drawing/2014/main" id="{65765C13-4F43-486A-9BEA-C7BEDC20956F}"/>
              </a:ext>
            </a:extLst>
          </p:cNvPr>
          <p:cNvSpPr txBox="1"/>
          <p:nvPr/>
        </p:nvSpPr>
        <p:spPr>
          <a:xfrm>
            <a:off x="10638480" y="1448362"/>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6466785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Google Shape;2191;p207">
            <a:extLst>
              <a:ext uri="{FF2B5EF4-FFF2-40B4-BE49-F238E27FC236}">
                <a16:creationId xmlns:a16="http://schemas.microsoft.com/office/drawing/2014/main" id="{A5F72098-CA69-4615-9F93-0F2E1A2D207B}"/>
              </a:ext>
            </a:extLst>
          </p:cNvPr>
          <p:cNvSpPr/>
          <p:nvPr/>
        </p:nvSpPr>
        <p:spPr>
          <a:xfrm>
            <a:off x="9012629" y="160634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ommission must continue to attract a diverse, skilled and experienced workforce</a:t>
            </a:r>
            <a:endParaRPr lang="en-US" sz="1100" b="1" kern="0" dirty="0">
              <a:solidFill>
                <a:srgbClr val="FFFFFF"/>
              </a:solidFill>
              <a:cs typeface="Arial"/>
            </a:endParaRPr>
          </a:p>
        </p:txBody>
      </p:sp>
      <p:sp>
        <p:nvSpPr>
          <p:cNvPr id="83" name="Google Shape;2191;p207">
            <a:extLst>
              <a:ext uri="{FF2B5EF4-FFF2-40B4-BE49-F238E27FC236}">
                <a16:creationId xmlns:a16="http://schemas.microsoft.com/office/drawing/2014/main" id="{46CF1463-5ED0-49D2-ACCA-854BDE3A315D}"/>
              </a:ext>
            </a:extLst>
          </p:cNvPr>
          <p:cNvSpPr/>
          <p:nvPr/>
        </p:nvSpPr>
        <p:spPr>
          <a:xfrm>
            <a:off x="3331965" y="1593104"/>
            <a:ext cx="2983381"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ommission cannot retain enough talent</a:t>
            </a:r>
            <a:endParaRPr lang="en-US" sz="1100" b="1" kern="0" dirty="0">
              <a:solidFill>
                <a:srgbClr val="FFFFFF"/>
              </a:solidFill>
              <a:cs typeface="Arial"/>
            </a:endParaRPr>
          </a:p>
        </p:txBody>
      </p:sp>
      <p:sp>
        <p:nvSpPr>
          <p:cNvPr id="76" name="Google Shape;2191;p207">
            <a:extLst>
              <a:ext uri="{FF2B5EF4-FFF2-40B4-BE49-F238E27FC236}">
                <a16:creationId xmlns:a16="http://schemas.microsoft.com/office/drawing/2014/main" id="{ECD76A7B-FA00-4D94-B4B6-08A64DBBE080}"/>
              </a:ext>
            </a:extLst>
          </p:cNvPr>
          <p:cNvSpPr/>
          <p:nvPr/>
        </p:nvSpPr>
        <p:spPr>
          <a:xfrm>
            <a:off x="503691" y="159310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Increased demand for services cannot be effectively managed/met</a:t>
            </a:r>
            <a:endParaRPr lang="en-US" sz="1100" b="1" kern="0" dirty="0">
              <a:solidFill>
                <a:srgbClr val="FFFFFF"/>
              </a:solidFill>
              <a:cs typeface="Arial"/>
            </a:endParaRPr>
          </a:p>
        </p:txBody>
      </p:sp>
      <p:sp>
        <p:nvSpPr>
          <p:cNvPr id="42" name="Freeform 29">
            <a:extLst>
              <a:ext uri="{FF2B5EF4-FFF2-40B4-BE49-F238E27FC236}">
                <a16:creationId xmlns:a16="http://schemas.microsoft.com/office/drawing/2014/main" id="{A205E3BD-0218-422D-BD80-0A83B76C4D25}"/>
              </a:ext>
            </a:extLst>
          </p:cNvPr>
          <p:cNvSpPr>
            <a:spLocks noChangeAspect="1" noEditPoints="1"/>
          </p:cNvSpPr>
          <p:nvPr/>
        </p:nvSpPr>
        <p:spPr bwMode="auto">
          <a:xfrm>
            <a:off x="600606" y="1662050"/>
            <a:ext cx="468763" cy="468763"/>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1"/>
                  <a:pt x="176" y="455"/>
                </a:cubicBezTo>
                <a:cubicBezTo>
                  <a:pt x="176" y="430"/>
                  <a:pt x="155" y="410"/>
                  <a:pt x="130" y="410"/>
                </a:cubicBezTo>
                <a:cubicBezTo>
                  <a:pt x="105" y="410"/>
                  <a:pt x="85" y="430"/>
                  <a:pt x="85" y="455"/>
                </a:cubicBezTo>
                <a:cubicBezTo>
                  <a:pt x="85" y="481"/>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0" dirty="0"/>
          </a:p>
        </p:txBody>
      </p:sp>
      <p:grpSp>
        <p:nvGrpSpPr>
          <p:cNvPr id="84" name="Group 83">
            <a:extLst>
              <a:ext uri="{FF2B5EF4-FFF2-40B4-BE49-F238E27FC236}">
                <a16:creationId xmlns:a16="http://schemas.microsoft.com/office/drawing/2014/main" id="{66F9590D-9D75-4AE4-8C85-227060CA9B50}"/>
              </a:ext>
            </a:extLst>
          </p:cNvPr>
          <p:cNvGrpSpPr/>
          <p:nvPr/>
        </p:nvGrpSpPr>
        <p:grpSpPr>
          <a:xfrm>
            <a:off x="3402385" y="1663767"/>
            <a:ext cx="459074" cy="459003"/>
            <a:chOff x="7536208" y="4106067"/>
            <a:chExt cx="292368" cy="292323"/>
          </a:xfrm>
        </p:grpSpPr>
        <p:sp>
          <p:nvSpPr>
            <p:cNvPr id="49" name="Freeform 188">
              <a:extLst>
                <a:ext uri="{FF2B5EF4-FFF2-40B4-BE49-F238E27FC236}">
                  <a16:creationId xmlns:a16="http://schemas.microsoft.com/office/drawing/2014/main" id="{A9C1098F-7B91-4890-80C6-7B1A01878AA6}"/>
                </a:ext>
              </a:extLst>
            </p:cNvPr>
            <p:cNvSpPr>
              <a:spLocks noEditPoints="1"/>
            </p:cNvSpPr>
            <p:nvPr/>
          </p:nvSpPr>
          <p:spPr bwMode="auto">
            <a:xfrm>
              <a:off x="7536208" y="4106067"/>
              <a:ext cx="292368" cy="292323"/>
            </a:xfrm>
            <a:custGeom>
              <a:avLst/>
              <a:gdLst>
                <a:gd name="T0" fmla="*/ 1044 w 6696"/>
                <a:gd name="T1" fmla="*/ 6695 h 6695"/>
                <a:gd name="T2" fmla="*/ 1254 w 6696"/>
                <a:gd name="T3" fmla="*/ 5147 h 6695"/>
                <a:gd name="T4" fmla="*/ 1320 w 6696"/>
                <a:gd name="T5" fmla="*/ 5017 h 6695"/>
                <a:gd name="T6" fmla="*/ 1406 w 6696"/>
                <a:gd name="T7" fmla="*/ 4901 h 6695"/>
                <a:gd name="T8" fmla="*/ 1510 w 6696"/>
                <a:gd name="T9" fmla="*/ 4801 h 6695"/>
                <a:gd name="T10" fmla="*/ 1630 w 6696"/>
                <a:gd name="T11" fmla="*/ 4721 h 6695"/>
                <a:gd name="T12" fmla="*/ 1767 w 6696"/>
                <a:gd name="T13" fmla="*/ 4661 h 6695"/>
                <a:gd name="T14" fmla="*/ 2777 w 6696"/>
                <a:gd name="T15" fmla="*/ 4319 h 6695"/>
                <a:gd name="T16" fmla="*/ 2801 w 6696"/>
                <a:gd name="T17" fmla="*/ 4329 h 6695"/>
                <a:gd name="T18" fmla="*/ 2903 w 6696"/>
                <a:gd name="T19" fmla="*/ 4433 h 6695"/>
                <a:gd name="T20" fmla="*/ 2979 w 6696"/>
                <a:gd name="T21" fmla="*/ 4495 h 6695"/>
                <a:gd name="T22" fmla="*/ 3063 w 6696"/>
                <a:gd name="T23" fmla="*/ 4543 h 6695"/>
                <a:gd name="T24" fmla="*/ 3153 w 6696"/>
                <a:gd name="T25" fmla="*/ 4579 h 6695"/>
                <a:gd name="T26" fmla="*/ 3249 w 6696"/>
                <a:gd name="T27" fmla="*/ 4601 h 6695"/>
                <a:gd name="T28" fmla="*/ 3347 w 6696"/>
                <a:gd name="T29" fmla="*/ 4607 h 6695"/>
                <a:gd name="T30" fmla="*/ 3413 w 6696"/>
                <a:gd name="T31" fmla="*/ 4605 h 6695"/>
                <a:gd name="T32" fmla="*/ 3509 w 6696"/>
                <a:gd name="T33" fmla="*/ 4587 h 6695"/>
                <a:gd name="T34" fmla="*/ 3601 w 6696"/>
                <a:gd name="T35" fmla="*/ 4557 h 6695"/>
                <a:gd name="T36" fmla="*/ 3687 w 6696"/>
                <a:gd name="T37" fmla="*/ 4513 h 6695"/>
                <a:gd name="T38" fmla="*/ 3767 w 6696"/>
                <a:gd name="T39" fmla="*/ 4455 h 6695"/>
                <a:gd name="T40" fmla="*/ 3893 w 6696"/>
                <a:gd name="T41" fmla="*/ 4329 h 6695"/>
                <a:gd name="T42" fmla="*/ 3909 w 6696"/>
                <a:gd name="T43" fmla="*/ 4321 h 6695"/>
                <a:gd name="T44" fmla="*/ 4929 w 6696"/>
                <a:gd name="T45" fmla="*/ 4661 h 6695"/>
                <a:gd name="T46" fmla="*/ 5019 w 6696"/>
                <a:gd name="T47" fmla="*/ 4699 h 6695"/>
                <a:gd name="T48" fmla="*/ 5146 w 6696"/>
                <a:gd name="T49" fmla="*/ 4773 h 6695"/>
                <a:gd name="T50" fmla="*/ 5256 w 6696"/>
                <a:gd name="T51" fmla="*/ 4865 h 6695"/>
                <a:gd name="T52" fmla="*/ 5350 w 6696"/>
                <a:gd name="T53" fmla="*/ 4977 h 6695"/>
                <a:gd name="T54" fmla="*/ 5422 w 6696"/>
                <a:gd name="T55" fmla="*/ 5103 h 6695"/>
                <a:gd name="T56" fmla="*/ 5650 w 6696"/>
                <a:gd name="T57" fmla="*/ 6695 h 6695"/>
                <a:gd name="T58" fmla="*/ 0 w 6696"/>
                <a:gd name="T59" fmla="*/ 0 h 6695"/>
                <a:gd name="T60" fmla="*/ 5740 w 6696"/>
                <a:gd name="T61" fmla="*/ 5145 h 6695"/>
                <a:gd name="T62" fmla="*/ 5712 w 6696"/>
                <a:gd name="T63" fmla="*/ 5057 h 6695"/>
                <a:gd name="T64" fmla="*/ 5626 w 6696"/>
                <a:gd name="T65" fmla="*/ 4879 h 6695"/>
                <a:gd name="T66" fmla="*/ 5510 w 6696"/>
                <a:gd name="T67" fmla="*/ 4719 h 6695"/>
                <a:gd name="T68" fmla="*/ 5368 w 6696"/>
                <a:gd name="T69" fmla="*/ 4583 h 6695"/>
                <a:gd name="T70" fmla="*/ 5204 w 6696"/>
                <a:gd name="T71" fmla="*/ 4471 h 6695"/>
                <a:gd name="T72" fmla="*/ 5021 w 6696"/>
                <a:gd name="T73" fmla="*/ 4391 h 6695"/>
                <a:gd name="T74" fmla="*/ 3997 w 6696"/>
                <a:gd name="T75" fmla="*/ 4045 h 6695"/>
                <a:gd name="T76" fmla="*/ 3931 w 6696"/>
                <a:gd name="T77" fmla="*/ 4035 h 6695"/>
                <a:gd name="T78" fmla="*/ 3865 w 6696"/>
                <a:gd name="T79" fmla="*/ 4039 h 6695"/>
                <a:gd name="T80" fmla="*/ 3801 w 6696"/>
                <a:gd name="T81" fmla="*/ 4057 h 6695"/>
                <a:gd name="T82" fmla="*/ 3741 w 6696"/>
                <a:gd name="T83" fmla="*/ 4087 h 6695"/>
                <a:gd name="T84" fmla="*/ 3689 w 6696"/>
                <a:gd name="T85" fmla="*/ 4131 h 6695"/>
                <a:gd name="T86" fmla="*/ 3583 w 6696"/>
                <a:gd name="T87" fmla="*/ 4237 h 6695"/>
                <a:gd name="T88" fmla="*/ 3491 w 6696"/>
                <a:gd name="T89" fmla="*/ 4293 h 6695"/>
                <a:gd name="T90" fmla="*/ 3385 w 6696"/>
                <a:gd name="T91" fmla="*/ 4321 h 6695"/>
                <a:gd name="T92" fmla="*/ 3311 w 6696"/>
                <a:gd name="T93" fmla="*/ 4321 h 6695"/>
                <a:gd name="T94" fmla="*/ 3205 w 6696"/>
                <a:gd name="T95" fmla="*/ 4293 h 6695"/>
                <a:gd name="T96" fmla="*/ 3111 w 6696"/>
                <a:gd name="T97" fmla="*/ 4237 h 6695"/>
                <a:gd name="T98" fmla="*/ 3005 w 6696"/>
                <a:gd name="T99" fmla="*/ 4131 h 6695"/>
                <a:gd name="T100" fmla="*/ 2953 w 6696"/>
                <a:gd name="T101" fmla="*/ 4087 h 6695"/>
                <a:gd name="T102" fmla="*/ 2895 w 6696"/>
                <a:gd name="T103" fmla="*/ 4057 h 6695"/>
                <a:gd name="T104" fmla="*/ 2831 w 6696"/>
                <a:gd name="T105" fmla="*/ 4039 h 6695"/>
                <a:gd name="T106" fmla="*/ 2763 w 6696"/>
                <a:gd name="T107" fmla="*/ 4035 h 6695"/>
                <a:gd name="T108" fmla="*/ 2697 w 6696"/>
                <a:gd name="T109" fmla="*/ 4045 h 6695"/>
                <a:gd name="T110" fmla="*/ 1675 w 6696"/>
                <a:gd name="T111" fmla="*/ 4391 h 6695"/>
                <a:gd name="T112" fmla="*/ 1490 w 6696"/>
                <a:gd name="T113" fmla="*/ 4471 h 6695"/>
                <a:gd name="T114" fmla="*/ 1328 w 6696"/>
                <a:gd name="T115" fmla="*/ 4583 h 6695"/>
                <a:gd name="T116" fmla="*/ 1186 w 6696"/>
                <a:gd name="T117" fmla="*/ 4719 h 6695"/>
                <a:gd name="T118" fmla="*/ 1070 w 6696"/>
                <a:gd name="T119" fmla="*/ 4879 h 6695"/>
                <a:gd name="T120" fmla="*/ 982 w 6696"/>
                <a:gd name="T121" fmla="*/ 5057 h 6695"/>
                <a:gd name="T122" fmla="*/ 284 w 6696"/>
                <a:gd name="T123" fmla="*/ 6411 h 6695"/>
                <a:gd name="T124" fmla="*/ 6410 w 6696"/>
                <a:gd name="T125" fmla="*/ 6411 h 6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96" h="6695">
                  <a:moveTo>
                    <a:pt x="0" y="0"/>
                  </a:moveTo>
                  <a:lnTo>
                    <a:pt x="0" y="6695"/>
                  </a:lnTo>
                  <a:lnTo>
                    <a:pt x="1044" y="6695"/>
                  </a:lnTo>
                  <a:lnTo>
                    <a:pt x="1236" y="5193"/>
                  </a:lnTo>
                  <a:lnTo>
                    <a:pt x="1236" y="5193"/>
                  </a:lnTo>
                  <a:lnTo>
                    <a:pt x="1254" y="5147"/>
                  </a:lnTo>
                  <a:lnTo>
                    <a:pt x="1272" y="5103"/>
                  </a:lnTo>
                  <a:lnTo>
                    <a:pt x="1294" y="5059"/>
                  </a:lnTo>
                  <a:lnTo>
                    <a:pt x="1320" y="5017"/>
                  </a:lnTo>
                  <a:lnTo>
                    <a:pt x="1346" y="4977"/>
                  </a:lnTo>
                  <a:lnTo>
                    <a:pt x="1374" y="4939"/>
                  </a:lnTo>
                  <a:lnTo>
                    <a:pt x="1406" y="4901"/>
                  </a:lnTo>
                  <a:lnTo>
                    <a:pt x="1438" y="4865"/>
                  </a:lnTo>
                  <a:lnTo>
                    <a:pt x="1474" y="4833"/>
                  </a:lnTo>
                  <a:lnTo>
                    <a:pt x="1510" y="4801"/>
                  </a:lnTo>
                  <a:lnTo>
                    <a:pt x="1548" y="4773"/>
                  </a:lnTo>
                  <a:lnTo>
                    <a:pt x="1588" y="4745"/>
                  </a:lnTo>
                  <a:lnTo>
                    <a:pt x="1630" y="4721"/>
                  </a:lnTo>
                  <a:lnTo>
                    <a:pt x="1675" y="4699"/>
                  </a:lnTo>
                  <a:lnTo>
                    <a:pt x="1719" y="4679"/>
                  </a:lnTo>
                  <a:lnTo>
                    <a:pt x="1767" y="4661"/>
                  </a:lnTo>
                  <a:lnTo>
                    <a:pt x="2767" y="4321"/>
                  </a:lnTo>
                  <a:lnTo>
                    <a:pt x="2767" y="4321"/>
                  </a:lnTo>
                  <a:lnTo>
                    <a:pt x="2777" y="4319"/>
                  </a:lnTo>
                  <a:lnTo>
                    <a:pt x="2785" y="4321"/>
                  </a:lnTo>
                  <a:lnTo>
                    <a:pt x="2793" y="4323"/>
                  </a:lnTo>
                  <a:lnTo>
                    <a:pt x="2801" y="4329"/>
                  </a:lnTo>
                  <a:lnTo>
                    <a:pt x="2879" y="4409"/>
                  </a:lnTo>
                  <a:lnTo>
                    <a:pt x="2879" y="4409"/>
                  </a:lnTo>
                  <a:lnTo>
                    <a:pt x="2903" y="4433"/>
                  </a:lnTo>
                  <a:lnTo>
                    <a:pt x="2927" y="4455"/>
                  </a:lnTo>
                  <a:lnTo>
                    <a:pt x="2953" y="4475"/>
                  </a:lnTo>
                  <a:lnTo>
                    <a:pt x="2979" y="4495"/>
                  </a:lnTo>
                  <a:lnTo>
                    <a:pt x="3007" y="4513"/>
                  </a:lnTo>
                  <a:lnTo>
                    <a:pt x="3035" y="4529"/>
                  </a:lnTo>
                  <a:lnTo>
                    <a:pt x="3063" y="4543"/>
                  </a:lnTo>
                  <a:lnTo>
                    <a:pt x="3093" y="4557"/>
                  </a:lnTo>
                  <a:lnTo>
                    <a:pt x="3123" y="4569"/>
                  </a:lnTo>
                  <a:lnTo>
                    <a:pt x="3153" y="4579"/>
                  </a:lnTo>
                  <a:lnTo>
                    <a:pt x="3185" y="4587"/>
                  </a:lnTo>
                  <a:lnTo>
                    <a:pt x="3217" y="4595"/>
                  </a:lnTo>
                  <a:lnTo>
                    <a:pt x="3249" y="4601"/>
                  </a:lnTo>
                  <a:lnTo>
                    <a:pt x="3281" y="4605"/>
                  </a:lnTo>
                  <a:lnTo>
                    <a:pt x="3315" y="4607"/>
                  </a:lnTo>
                  <a:lnTo>
                    <a:pt x="3347" y="4607"/>
                  </a:lnTo>
                  <a:lnTo>
                    <a:pt x="3347" y="4607"/>
                  </a:lnTo>
                  <a:lnTo>
                    <a:pt x="3381" y="4607"/>
                  </a:lnTo>
                  <a:lnTo>
                    <a:pt x="3413" y="4605"/>
                  </a:lnTo>
                  <a:lnTo>
                    <a:pt x="3447" y="4601"/>
                  </a:lnTo>
                  <a:lnTo>
                    <a:pt x="3479" y="4595"/>
                  </a:lnTo>
                  <a:lnTo>
                    <a:pt x="3509" y="4587"/>
                  </a:lnTo>
                  <a:lnTo>
                    <a:pt x="3541" y="4579"/>
                  </a:lnTo>
                  <a:lnTo>
                    <a:pt x="3571" y="4569"/>
                  </a:lnTo>
                  <a:lnTo>
                    <a:pt x="3601" y="4557"/>
                  </a:lnTo>
                  <a:lnTo>
                    <a:pt x="3631" y="4543"/>
                  </a:lnTo>
                  <a:lnTo>
                    <a:pt x="3659" y="4529"/>
                  </a:lnTo>
                  <a:lnTo>
                    <a:pt x="3687" y="4513"/>
                  </a:lnTo>
                  <a:lnTo>
                    <a:pt x="3715" y="4495"/>
                  </a:lnTo>
                  <a:lnTo>
                    <a:pt x="3741" y="4475"/>
                  </a:lnTo>
                  <a:lnTo>
                    <a:pt x="3767" y="4455"/>
                  </a:lnTo>
                  <a:lnTo>
                    <a:pt x="3791" y="4433"/>
                  </a:lnTo>
                  <a:lnTo>
                    <a:pt x="3815" y="4409"/>
                  </a:lnTo>
                  <a:lnTo>
                    <a:pt x="3893" y="4329"/>
                  </a:lnTo>
                  <a:lnTo>
                    <a:pt x="3893" y="4329"/>
                  </a:lnTo>
                  <a:lnTo>
                    <a:pt x="3901" y="4323"/>
                  </a:lnTo>
                  <a:lnTo>
                    <a:pt x="3909" y="4321"/>
                  </a:lnTo>
                  <a:lnTo>
                    <a:pt x="3919" y="4319"/>
                  </a:lnTo>
                  <a:lnTo>
                    <a:pt x="3927" y="4321"/>
                  </a:lnTo>
                  <a:lnTo>
                    <a:pt x="4929" y="4661"/>
                  </a:lnTo>
                  <a:lnTo>
                    <a:pt x="4929" y="4661"/>
                  </a:lnTo>
                  <a:lnTo>
                    <a:pt x="4975" y="4679"/>
                  </a:lnTo>
                  <a:lnTo>
                    <a:pt x="5019" y="4699"/>
                  </a:lnTo>
                  <a:lnTo>
                    <a:pt x="5064" y="4721"/>
                  </a:lnTo>
                  <a:lnTo>
                    <a:pt x="5106" y="4745"/>
                  </a:lnTo>
                  <a:lnTo>
                    <a:pt x="5146" y="4773"/>
                  </a:lnTo>
                  <a:lnTo>
                    <a:pt x="5184" y="4801"/>
                  </a:lnTo>
                  <a:lnTo>
                    <a:pt x="5222" y="4833"/>
                  </a:lnTo>
                  <a:lnTo>
                    <a:pt x="5256" y="4865"/>
                  </a:lnTo>
                  <a:lnTo>
                    <a:pt x="5290" y="4901"/>
                  </a:lnTo>
                  <a:lnTo>
                    <a:pt x="5320" y="4939"/>
                  </a:lnTo>
                  <a:lnTo>
                    <a:pt x="5350" y="4977"/>
                  </a:lnTo>
                  <a:lnTo>
                    <a:pt x="5376" y="5017"/>
                  </a:lnTo>
                  <a:lnTo>
                    <a:pt x="5400" y="5059"/>
                  </a:lnTo>
                  <a:lnTo>
                    <a:pt x="5422" y="5103"/>
                  </a:lnTo>
                  <a:lnTo>
                    <a:pt x="5442" y="5147"/>
                  </a:lnTo>
                  <a:lnTo>
                    <a:pt x="5458" y="5193"/>
                  </a:lnTo>
                  <a:lnTo>
                    <a:pt x="5650" y="6695"/>
                  </a:lnTo>
                  <a:lnTo>
                    <a:pt x="6696" y="6695"/>
                  </a:lnTo>
                  <a:lnTo>
                    <a:pt x="6696" y="0"/>
                  </a:lnTo>
                  <a:lnTo>
                    <a:pt x="0" y="0"/>
                  </a:lnTo>
                  <a:close/>
                  <a:moveTo>
                    <a:pt x="6410" y="6411"/>
                  </a:moveTo>
                  <a:lnTo>
                    <a:pt x="5902" y="6411"/>
                  </a:lnTo>
                  <a:lnTo>
                    <a:pt x="5740" y="5145"/>
                  </a:lnTo>
                  <a:lnTo>
                    <a:pt x="5734" y="5121"/>
                  </a:lnTo>
                  <a:lnTo>
                    <a:pt x="5734" y="5121"/>
                  </a:lnTo>
                  <a:lnTo>
                    <a:pt x="5712" y="5057"/>
                  </a:lnTo>
                  <a:lnTo>
                    <a:pt x="5686" y="4995"/>
                  </a:lnTo>
                  <a:lnTo>
                    <a:pt x="5658" y="4935"/>
                  </a:lnTo>
                  <a:lnTo>
                    <a:pt x="5626" y="4879"/>
                  </a:lnTo>
                  <a:lnTo>
                    <a:pt x="5590" y="4823"/>
                  </a:lnTo>
                  <a:lnTo>
                    <a:pt x="5552" y="4769"/>
                  </a:lnTo>
                  <a:lnTo>
                    <a:pt x="5510" y="4719"/>
                  </a:lnTo>
                  <a:lnTo>
                    <a:pt x="5464" y="4671"/>
                  </a:lnTo>
                  <a:lnTo>
                    <a:pt x="5418" y="4625"/>
                  </a:lnTo>
                  <a:lnTo>
                    <a:pt x="5368" y="4583"/>
                  </a:lnTo>
                  <a:lnTo>
                    <a:pt x="5316" y="4543"/>
                  </a:lnTo>
                  <a:lnTo>
                    <a:pt x="5260" y="4505"/>
                  </a:lnTo>
                  <a:lnTo>
                    <a:pt x="5204" y="4471"/>
                  </a:lnTo>
                  <a:lnTo>
                    <a:pt x="5146" y="4441"/>
                  </a:lnTo>
                  <a:lnTo>
                    <a:pt x="5084" y="4415"/>
                  </a:lnTo>
                  <a:lnTo>
                    <a:pt x="5021" y="4391"/>
                  </a:lnTo>
                  <a:lnTo>
                    <a:pt x="4019" y="4051"/>
                  </a:lnTo>
                  <a:lnTo>
                    <a:pt x="4019" y="4051"/>
                  </a:lnTo>
                  <a:lnTo>
                    <a:pt x="3997" y="4045"/>
                  </a:lnTo>
                  <a:lnTo>
                    <a:pt x="3975" y="4039"/>
                  </a:lnTo>
                  <a:lnTo>
                    <a:pt x="3953" y="4037"/>
                  </a:lnTo>
                  <a:lnTo>
                    <a:pt x="3931" y="4035"/>
                  </a:lnTo>
                  <a:lnTo>
                    <a:pt x="3909" y="4035"/>
                  </a:lnTo>
                  <a:lnTo>
                    <a:pt x="3887" y="4035"/>
                  </a:lnTo>
                  <a:lnTo>
                    <a:pt x="3865" y="4039"/>
                  </a:lnTo>
                  <a:lnTo>
                    <a:pt x="3843" y="4043"/>
                  </a:lnTo>
                  <a:lnTo>
                    <a:pt x="3821" y="4049"/>
                  </a:lnTo>
                  <a:lnTo>
                    <a:pt x="3801" y="4057"/>
                  </a:lnTo>
                  <a:lnTo>
                    <a:pt x="3781" y="4065"/>
                  </a:lnTo>
                  <a:lnTo>
                    <a:pt x="3761" y="4075"/>
                  </a:lnTo>
                  <a:lnTo>
                    <a:pt x="3741" y="4087"/>
                  </a:lnTo>
                  <a:lnTo>
                    <a:pt x="3723" y="4101"/>
                  </a:lnTo>
                  <a:lnTo>
                    <a:pt x="3705" y="4115"/>
                  </a:lnTo>
                  <a:lnTo>
                    <a:pt x="3689" y="4131"/>
                  </a:lnTo>
                  <a:lnTo>
                    <a:pt x="3611" y="4211"/>
                  </a:lnTo>
                  <a:lnTo>
                    <a:pt x="3611" y="4211"/>
                  </a:lnTo>
                  <a:lnTo>
                    <a:pt x="3583" y="4237"/>
                  </a:lnTo>
                  <a:lnTo>
                    <a:pt x="3555" y="4259"/>
                  </a:lnTo>
                  <a:lnTo>
                    <a:pt x="3523" y="4277"/>
                  </a:lnTo>
                  <a:lnTo>
                    <a:pt x="3491" y="4293"/>
                  </a:lnTo>
                  <a:lnTo>
                    <a:pt x="3457" y="4305"/>
                  </a:lnTo>
                  <a:lnTo>
                    <a:pt x="3421" y="4315"/>
                  </a:lnTo>
                  <a:lnTo>
                    <a:pt x="3385" y="4321"/>
                  </a:lnTo>
                  <a:lnTo>
                    <a:pt x="3347" y="4323"/>
                  </a:lnTo>
                  <a:lnTo>
                    <a:pt x="3347" y="4323"/>
                  </a:lnTo>
                  <a:lnTo>
                    <a:pt x="3311" y="4321"/>
                  </a:lnTo>
                  <a:lnTo>
                    <a:pt x="3273" y="4315"/>
                  </a:lnTo>
                  <a:lnTo>
                    <a:pt x="3239" y="4305"/>
                  </a:lnTo>
                  <a:lnTo>
                    <a:pt x="3205" y="4293"/>
                  </a:lnTo>
                  <a:lnTo>
                    <a:pt x="3171" y="4277"/>
                  </a:lnTo>
                  <a:lnTo>
                    <a:pt x="3141" y="4259"/>
                  </a:lnTo>
                  <a:lnTo>
                    <a:pt x="3111" y="4237"/>
                  </a:lnTo>
                  <a:lnTo>
                    <a:pt x="3083" y="4211"/>
                  </a:lnTo>
                  <a:lnTo>
                    <a:pt x="3005" y="4131"/>
                  </a:lnTo>
                  <a:lnTo>
                    <a:pt x="3005" y="4131"/>
                  </a:lnTo>
                  <a:lnTo>
                    <a:pt x="2989" y="4115"/>
                  </a:lnTo>
                  <a:lnTo>
                    <a:pt x="2971" y="4101"/>
                  </a:lnTo>
                  <a:lnTo>
                    <a:pt x="2953" y="4087"/>
                  </a:lnTo>
                  <a:lnTo>
                    <a:pt x="2935" y="4075"/>
                  </a:lnTo>
                  <a:lnTo>
                    <a:pt x="2915" y="4065"/>
                  </a:lnTo>
                  <a:lnTo>
                    <a:pt x="2895" y="4057"/>
                  </a:lnTo>
                  <a:lnTo>
                    <a:pt x="2873" y="4049"/>
                  </a:lnTo>
                  <a:lnTo>
                    <a:pt x="2853" y="4043"/>
                  </a:lnTo>
                  <a:lnTo>
                    <a:pt x="2831" y="4039"/>
                  </a:lnTo>
                  <a:lnTo>
                    <a:pt x="2809" y="4035"/>
                  </a:lnTo>
                  <a:lnTo>
                    <a:pt x="2787" y="4035"/>
                  </a:lnTo>
                  <a:lnTo>
                    <a:pt x="2763" y="4035"/>
                  </a:lnTo>
                  <a:lnTo>
                    <a:pt x="2741" y="4037"/>
                  </a:lnTo>
                  <a:lnTo>
                    <a:pt x="2719" y="4039"/>
                  </a:lnTo>
                  <a:lnTo>
                    <a:pt x="2697" y="4045"/>
                  </a:lnTo>
                  <a:lnTo>
                    <a:pt x="2675" y="4051"/>
                  </a:lnTo>
                  <a:lnTo>
                    <a:pt x="1675" y="4391"/>
                  </a:lnTo>
                  <a:lnTo>
                    <a:pt x="1675" y="4391"/>
                  </a:lnTo>
                  <a:lnTo>
                    <a:pt x="1610" y="4415"/>
                  </a:lnTo>
                  <a:lnTo>
                    <a:pt x="1550" y="4441"/>
                  </a:lnTo>
                  <a:lnTo>
                    <a:pt x="1490" y="4471"/>
                  </a:lnTo>
                  <a:lnTo>
                    <a:pt x="1434" y="4505"/>
                  </a:lnTo>
                  <a:lnTo>
                    <a:pt x="1380" y="4543"/>
                  </a:lnTo>
                  <a:lnTo>
                    <a:pt x="1328" y="4583"/>
                  </a:lnTo>
                  <a:lnTo>
                    <a:pt x="1278" y="4625"/>
                  </a:lnTo>
                  <a:lnTo>
                    <a:pt x="1230" y="4671"/>
                  </a:lnTo>
                  <a:lnTo>
                    <a:pt x="1186" y="4719"/>
                  </a:lnTo>
                  <a:lnTo>
                    <a:pt x="1144" y="4769"/>
                  </a:lnTo>
                  <a:lnTo>
                    <a:pt x="1106" y="4823"/>
                  </a:lnTo>
                  <a:lnTo>
                    <a:pt x="1070" y="4879"/>
                  </a:lnTo>
                  <a:lnTo>
                    <a:pt x="1038" y="4935"/>
                  </a:lnTo>
                  <a:lnTo>
                    <a:pt x="1008" y="4995"/>
                  </a:lnTo>
                  <a:lnTo>
                    <a:pt x="982" y="5057"/>
                  </a:lnTo>
                  <a:lnTo>
                    <a:pt x="960" y="5121"/>
                  </a:lnTo>
                  <a:lnTo>
                    <a:pt x="794" y="6411"/>
                  </a:lnTo>
                  <a:lnTo>
                    <a:pt x="284" y="6411"/>
                  </a:lnTo>
                  <a:lnTo>
                    <a:pt x="284" y="286"/>
                  </a:lnTo>
                  <a:lnTo>
                    <a:pt x="6410" y="286"/>
                  </a:lnTo>
                  <a:lnTo>
                    <a:pt x="6410" y="64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US" sz="1000" dirty="0"/>
            </a:p>
          </p:txBody>
        </p:sp>
        <p:sp>
          <p:nvSpPr>
            <p:cNvPr id="50" name="Freeform 189">
              <a:extLst>
                <a:ext uri="{FF2B5EF4-FFF2-40B4-BE49-F238E27FC236}">
                  <a16:creationId xmlns:a16="http://schemas.microsoft.com/office/drawing/2014/main" id="{B6C77051-821E-42CD-940C-9044AA70E823}"/>
                </a:ext>
              </a:extLst>
            </p:cNvPr>
            <p:cNvSpPr>
              <a:spLocks noEditPoints="1"/>
            </p:cNvSpPr>
            <p:nvPr/>
          </p:nvSpPr>
          <p:spPr bwMode="auto">
            <a:xfrm>
              <a:off x="7642877" y="4167894"/>
              <a:ext cx="79030" cy="108415"/>
            </a:xfrm>
            <a:custGeom>
              <a:avLst/>
              <a:gdLst>
                <a:gd name="T0" fmla="*/ 1050 w 1810"/>
                <a:gd name="T1" fmla="*/ 2467 h 2483"/>
                <a:gd name="T2" fmla="*/ 1248 w 1810"/>
                <a:gd name="T3" fmla="*/ 2383 h 2483"/>
                <a:gd name="T4" fmla="*/ 1414 w 1810"/>
                <a:gd name="T5" fmla="*/ 2245 h 2483"/>
                <a:gd name="T6" fmla="*/ 1578 w 1810"/>
                <a:gd name="T7" fmla="*/ 2055 h 2483"/>
                <a:gd name="T8" fmla="*/ 1714 w 1810"/>
                <a:gd name="T9" fmla="*/ 1758 h 2483"/>
                <a:gd name="T10" fmla="*/ 1790 w 1810"/>
                <a:gd name="T11" fmla="*/ 1370 h 2483"/>
                <a:gd name="T12" fmla="*/ 1810 w 1810"/>
                <a:gd name="T13" fmla="*/ 996 h 2483"/>
                <a:gd name="T14" fmla="*/ 1780 w 1810"/>
                <a:gd name="T15" fmla="*/ 748 h 2483"/>
                <a:gd name="T16" fmla="*/ 1700 w 1810"/>
                <a:gd name="T17" fmla="*/ 522 h 2483"/>
                <a:gd name="T18" fmla="*/ 1574 w 1810"/>
                <a:gd name="T19" fmla="*/ 328 h 2483"/>
                <a:gd name="T20" fmla="*/ 1410 w 1810"/>
                <a:gd name="T21" fmla="*/ 170 h 2483"/>
                <a:gd name="T22" fmla="*/ 1216 w 1810"/>
                <a:gd name="T23" fmla="*/ 62 h 2483"/>
                <a:gd name="T24" fmla="*/ 996 w 1810"/>
                <a:gd name="T25" fmla="*/ 6 h 2483"/>
                <a:gd name="T26" fmla="*/ 812 w 1810"/>
                <a:gd name="T27" fmla="*/ 6 h 2483"/>
                <a:gd name="T28" fmla="*/ 594 w 1810"/>
                <a:gd name="T29" fmla="*/ 62 h 2483"/>
                <a:gd name="T30" fmla="*/ 400 w 1810"/>
                <a:gd name="T31" fmla="*/ 170 h 2483"/>
                <a:gd name="T32" fmla="*/ 236 w 1810"/>
                <a:gd name="T33" fmla="*/ 328 h 2483"/>
                <a:gd name="T34" fmla="*/ 110 w 1810"/>
                <a:gd name="T35" fmla="*/ 522 h 2483"/>
                <a:gd name="T36" fmla="*/ 28 w 1810"/>
                <a:gd name="T37" fmla="*/ 748 h 2483"/>
                <a:gd name="T38" fmla="*/ 0 w 1810"/>
                <a:gd name="T39" fmla="*/ 996 h 2483"/>
                <a:gd name="T40" fmla="*/ 18 w 1810"/>
                <a:gd name="T41" fmla="*/ 1370 h 2483"/>
                <a:gd name="T42" fmla="*/ 96 w 1810"/>
                <a:gd name="T43" fmla="*/ 1758 h 2483"/>
                <a:gd name="T44" fmla="*/ 232 w 1810"/>
                <a:gd name="T45" fmla="*/ 2055 h 2483"/>
                <a:gd name="T46" fmla="*/ 396 w 1810"/>
                <a:gd name="T47" fmla="*/ 2245 h 2483"/>
                <a:gd name="T48" fmla="*/ 560 w 1810"/>
                <a:gd name="T49" fmla="*/ 2383 h 2483"/>
                <a:gd name="T50" fmla="*/ 760 w 1810"/>
                <a:gd name="T51" fmla="*/ 2467 h 2483"/>
                <a:gd name="T52" fmla="*/ 904 w 1810"/>
                <a:gd name="T53" fmla="*/ 286 h 2483"/>
                <a:gd name="T54" fmla="*/ 1030 w 1810"/>
                <a:gd name="T55" fmla="*/ 300 h 2483"/>
                <a:gd name="T56" fmla="*/ 1172 w 1810"/>
                <a:gd name="T57" fmla="*/ 356 h 2483"/>
                <a:gd name="T58" fmla="*/ 1298 w 1810"/>
                <a:gd name="T59" fmla="*/ 448 h 2483"/>
                <a:gd name="T60" fmla="*/ 1400 w 1810"/>
                <a:gd name="T61" fmla="*/ 572 h 2483"/>
                <a:gd name="T62" fmla="*/ 1474 w 1810"/>
                <a:gd name="T63" fmla="*/ 720 h 2483"/>
                <a:gd name="T64" fmla="*/ 1516 w 1810"/>
                <a:gd name="T65" fmla="*/ 888 h 2483"/>
                <a:gd name="T66" fmla="*/ 1522 w 1810"/>
                <a:gd name="T67" fmla="*/ 1080 h 2483"/>
                <a:gd name="T68" fmla="*/ 1490 w 1810"/>
                <a:gd name="T69" fmla="*/ 1454 h 2483"/>
                <a:gd name="T70" fmla="*/ 1412 w 1810"/>
                <a:gd name="T71" fmla="*/ 1750 h 2483"/>
                <a:gd name="T72" fmla="*/ 1294 w 1810"/>
                <a:gd name="T73" fmla="*/ 1955 h 2483"/>
                <a:gd name="T74" fmla="*/ 1132 w 1810"/>
                <a:gd name="T75" fmla="*/ 2115 h 2483"/>
                <a:gd name="T76" fmla="*/ 1020 w 1810"/>
                <a:gd name="T77" fmla="*/ 2179 h 2483"/>
                <a:gd name="T78" fmla="*/ 904 w 1810"/>
                <a:gd name="T79" fmla="*/ 2197 h 2483"/>
                <a:gd name="T80" fmla="*/ 810 w 1810"/>
                <a:gd name="T81" fmla="*/ 2187 h 2483"/>
                <a:gd name="T82" fmla="*/ 700 w 1810"/>
                <a:gd name="T83" fmla="*/ 2133 h 2483"/>
                <a:gd name="T84" fmla="*/ 516 w 1810"/>
                <a:gd name="T85" fmla="*/ 1955 h 2483"/>
                <a:gd name="T86" fmla="*/ 416 w 1810"/>
                <a:gd name="T87" fmla="*/ 1798 h 2483"/>
                <a:gd name="T88" fmla="*/ 330 w 1810"/>
                <a:gd name="T89" fmla="*/ 1520 h 2483"/>
                <a:gd name="T90" fmla="*/ 290 w 1810"/>
                <a:gd name="T91" fmla="*/ 1160 h 2483"/>
                <a:gd name="T92" fmla="*/ 288 w 1810"/>
                <a:gd name="T93" fmla="*/ 924 h 2483"/>
                <a:gd name="T94" fmla="*/ 322 w 1810"/>
                <a:gd name="T95" fmla="*/ 752 h 2483"/>
                <a:gd name="T96" fmla="*/ 392 w 1810"/>
                <a:gd name="T97" fmla="*/ 600 h 2483"/>
                <a:gd name="T98" fmla="*/ 488 w 1810"/>
                <a:gd name="T99" fmla="*/ 470 h 2483"/>
                <a:gd name="T100" fmla="*/ 610 w 1810"/>
                <a:gd name="T101" fmla="*/ 372 h 2483"/>
                <a:gd name="T102" fmla="*/ 750 w 1810"/>
                <a:gd name="T103" fmla="*/ 308 h 2483"/>
                <a:gd name="T104" fmla="*/ 904 w 1810"/>
                <a:gd name="T105" fmla="*/ 286 h 2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10" h="2483">
                  <a:moveTo>
                    <a:pt x="904" y="2483"/>
                  </a:moveTo>
                  <a:lnTo>
                    <a:pt x="904" y="2483"/>
                  </a:lnTo>
                  <a:lnTo>
                    <a:pt x="956" y="2481"/>
                  </a:lnTo>
                  <a:lnTo>
                    <a:pt x="1004" y="2477"/>
                  </a:lnTo>
                  <a:lnTo>
                    <a:pt x="1050" y="2467"/>
                  </a:lnTo>
                  <a:lnTo>
                    <a:pt x="1092" y="2457"/>
                  </a:lnTo>
                  <a:lnTo>
                    <a:pt x="1134" y="2443"/>
                  </a:lnTo>
                  <a:lnTo>
                    <a:pt x="1174" y="2425"/>
                  </a:lnTo>
                  <a:lnTo>
                    <a:pt x="1212" y="2405"/>
                  </a:lnTo>
                  <a:lnTo>
                    <a:pt x="1248" y="2383"/>
                  </a:lnTo>
                  <a:lnTo>
                    <a:pt x="1284" y="2359"/>
                  </a:lnTo>
                  <a:lnTo>
                    <a:pt x="1318" y="2333"/>
                  </a:lnTo>
                  <a:lnTo>
                    <a:pt x="1350" y="2305"/>
                  </a:lnTo>
                  <a:lnTo>
                    <a:pt x="1382" y="2277"/>
                  </a:lnTo>
                  <a:lnTo>
                    <a:pt x="1414" y="2245"/>
                  </a:lnTo>
                  <a:lnTo>
                    <a:pt x="1446" y="2213"/>
                  </a:lnTo>
                  <a:lnTo>
                    <a:pt x="1506" y="2145"/>
                  </a:lnTo>
                  <a:lnTo>
                    <a:pt x="1506" y="2145"/>
                  </a:lnTo>
                  <a:lnTo>
                    <a:pt x="1544" y="2101"/>
                  </a:lnTo>
                  <a:lnTo>
                    <a:pt x="1578" y="2055"/>
                  </a:lnTo>
                  <a:lnTo>
                    <a:pt x="1610" y="2003"/>
                  </a:lnTo>
                  <a:lnTo>
                    <a:pt x="1638" y="1947"/>
                  </a:lnTo>
                  <a:lnTo>
                    <a:pt x="1666" y="1888"/>
                  </a:lnTo>
                  <a:lnTo>
                    <a:pt x="1690" y="1824"/>
                  </a:lnTo>
                  <a:lnTo>
                    <a:pt x="1714" y="1758"/>
                  </a:lnTo>
                  <a:lnTo>
                    <a:pt x="1734" y="1688"/>
                  </a:lnTo>
                  <a:lnTo>
                    <a:pt x="1750" y="1614"/>
                  </a:lnTo>
                  <a:lnTo>
                    <a:pt x="1766" y="1536"/>
                  </a:lnTo>
                  <a:lnTo>
                    <a:pt x="1780" y="1456"/>
                  </a:lnTo>
                  <a:lnTo>
                    <a:pt x="1790" y="1370"/>
                  </a:lnTo>
                  <a:lnTo>
                    <a:pt x="1798" y="1282"/>
                  </a:lnTo>
                  <a:lnTo>
                    <a:pt x="1804" y="1190"/>
                  </a:lnTo>
                  <a:lnTo>
                    <a:pt x="1808" y="1096"/>
                  </a:lnTo>
                  <a:lnTo>
                    <a:pt x="1810" y="996"/>
                  </a:lnTo>
                  <a:lnTo>
                    <a:pt x="1810" y="996"/>
                  </a:lnTo>
                  <a:lnTo>
                    <a:pt x="1808" y="946"/>
                  </a:lnTo>
                  <a:lnTo>
                    <a:pt x="1804" y="894"/>
                  </a:lnTo>
                  <a:lnTo>
                    <a:pt x="1798" y="844"/>
                  </a:lnTo>
                  <a:lnTo>
                    <a:pt x="1790" y="796"/>
                  </a:lnTo>
                  <a:lnTo>
                    <a:pt x="1780" y="748"/>
                  </a:lnTo>
                  <a:lnTo>
                    <a:pt x="1768" y="700"/>
                  </a:lnTo>
                  <a:lnTo>
                    <a:pt x="1754" y="654"/>
                  </a:lnTo>
                  <a:lnTo>
                    <a:pt x="1738" y="610"/>
                  </a:lnTo>
                  <a:lnTo>
                    <a:pt x="1720" y="564"/>
                  </a:lnTo>
                  <a:lnTo>
                    <a:pt x="1700" y="522"/>
                  </a:lnTo>
                  <a:lnTo>
                    <a:pt x="1678" y="480"/>
                  </a:lnTo>
                  <a:lnTo>
                    <a:pt x="1654" y="440"/>
                  </a:lnTo>
                  <a:lnTo>
                    <a:pt x="1630" y="400"/>
                  </a:lnTo>
                  <a:lnTo>
                    <a:pt x="1602" y="364"/>
                  </a:lnTo>
                  <a:lnTo>
                    <a:pt x="1574" y="328"/>
                  </a:lnTo>
                  <a:lnTo>
                    <a:pt x="1544" y="292"/>
                  </a:lnTo>
                  <a:lnTo>
                    <a:pt x="1512" y="260"/>
                  </a:lnTo>
                  <a:lnTo>
                    <a:pt x="1480" y="228"/>
                  </a:lnTo>
                  <a:lnTo>
                    <a:pt x="1446" y="198"/>
                  </a:lnTo>
                  <a:lnTo>
                    <a:pt x="1410" y="170"/>
                  </a:lnTo>
                  <a:lnTo>
                    <a:pt x="1374" y="144"/>
                  </a:lnTo>
                  <a:lnTo>
                    <a:pt x="1336" y="120"/>
                  </a:lnTo>
                  <a:lnTo>
                    <a:pt x="1296" y="98"/>
                  </a:lnTo>
                  <a:lnTo>
                    <a:pt x="1256" y="78"/>
                  </a:lnTo>
                  <a:lnTo>
                    <a:pt x="1216" y="62"/>
                  </a:lnTo>
                  <a:lnTo>
                    <a:pt x="1174" y="46"/>
                  </a:lnTo>
                  <a:lnTo>
                    <a:pt x="1130" y="32"/>
                  </a:lnTo>
                  <a:lnTo>
                    <a:pt x="1086" y="20"/>
                  </a:lnTo>
                  <a:lnTo>
                    <a:pt x="1042" y="12"/>
                  </a:lnTo>
                  <a:lnTo>
                    <a:pt x="996" y="6"/>
                  </a:lnTo>
                  <a:lnTo>
                    <a:pt x="950" y="2"/>
                  </a:lnTo>
                  <a:lnTo>
                    <a:pt x="904" y="0"/>
                  </a:lnTo>
                  <a:lnTo>
                    <a:pt x="904" y="0"/>
                  </a:lnTo>
                  <a:lnTo>
                    <a:pt x="858" y="2"/>
                  </a:lnTo>
                  <a:lnTo>
                    <a:pt x="812" y="6"/>
                  </a:lnTo>
                  <a:lnTo>
                    <a:pt x="766" y="12"/>
                  </a:lnTo>
                  <a:lnTo>
                    <a:pt x="722" y="20"/>
                  </a:lnTo>
                  <a:lnTo>
                    <a:pt x="678" y="32"/>
                  </a:lnTo>
                  <a:lnTo>
                    <a:pt x="636" y="46"/>
                  </a:lnTo>
                  <a:lnTo>
                    <a:pt x="594" y="62"/>
                  </a:lnTo>
                  <a:lnTo>
                    <a:pt x="552" y="78"/>
                  </a:lnTo>
                  <a:lnTo>
                    <a:pt x="512" y="98"/>
                  </a:lnTo>
                  <a:lnTo>
                    <a:pt x="474" y="120"/>
                  </a:lnTo>
                  <a:lnTo>
                    <a:pt x="436" y="144"/>
                  </a:lnTo>
                  <a:lnTo>
                    <a:pt x="400" y="170"/>
                  </a:lnTo>
                  <a:lnTo>
                    <a:pt x="364" y="198"/>
                  </a:lnTo>
                  <a:lnTo>
                    <a:pt x="330" y="228"/>
                  </a:lnTo>
                  <a:lnTo>
                    <a:pt x="296" y="260"/>
                  </a:lnTo>
                  <a:lnTo>
                    <a:pt x="266" y="292"/>
                  </a:lnTo>
                  <a:lnTo>
                    <a:pt x="236" y="328"/>
                  </a:lnTo>
                  <a:lnTo>
                    <a:pt x="206" y="364"/>
                  </a:lnTo>
                  <a:lnTo>
                    <a:pt x="180" y="400"/>
                  </a:lnTo>
                  <a:lnTo>
                    <a:pt x="154" y="440"/>
                  </a:lnTo>
                  <a:lnTo>
                    <a:pt x="130" y="480"/>
                  </a:lnTo>
                  <a:lnTo>
                    <a:pt x="110" y="522"/>
                  </a:lnTo>
                  <a:lnTo>
                    <a:pt x="90" y="564"/>
                  </a:lnTo>
                  <a:lnTo>
                    <a:pt x="72" y="610"/>
                  </a:lnTo>
                  <a:lnTo>
                    <a:pt x="54" y="654"/>
                  </a:lnTo>
                  <a:lnTo>
                    <a:pt x="40" y="700"/>
                  </a:lnTo>
                  <a:lnTo>
                    <a:pt x="28" y="748"/>
                  </a:lnTo>
                  <a:lnTo>
                    <a:pt x="18" y="796"/>
                  </a:lnTo>
                  <a:lnTo>
                    <a:pt x="10" y="844"/>
                  </a:lnTo>
                  <a:lnTo>
                    <a:pt x="4" y="894"/>
                  </a:lnTo>
                  <a:lnTo>
                    <a:pt x="2" y="946"/>
                  </a:lnTo>
                  <a:lnTo>
                    <a:pt x="0" y="996"/>
                  </a:lnTo>
                  <a:lnTo>
                    <a:pt x="0" y="996"/>
                  </a:lnTo>
                  <a:lnTo>
                    <a:pt x="2" y="1096"/>
                  </a:lnTo>
                  <a:lnTo>
                    <a:pt x="4" y="1190"/>
                  </a:lnTo>
                  <a:lnTo>
                    <a:pt x="10" y="1282"/>
                  </a:lnTo>
                  <a:lnTo>
                    <a:pt x="18" y="1370"/>
                  </a:lnTo>
                  <a:lnTo>
                    <a:pt x="30" y="1456"/>
                  </a:lnTo>
                  <a:lnTo>
                    <a:pt x="42" y="1536"/>
                  </a:lnTo>
                  <a:lnTo>
                    <a:pt x="58" y="1614"/>
                  </a:lnTo>
                  <a:lnTo>
                    <a:pt x="76" y="1688"/>
                  </a:lnTo>
                  <a:lnTo>
                    <a:pt x="96" y="1758"/>
                  </a:lnTo>
                  <a:lnTo>
                    <a:pt x="118" y="1824"/>
                  </a:lnTo>
                  <a:lnTo>
                    <a:pt x="144" y="1888"/>
                  </a:lnTo>
                  <a:lnTo>
                    <a:pt x="170" y="1947"/>
                  </a:lnTo>
                  <a:lnTo>
                    <a:pt x="200" y="2003"/>
                  </a:lnTo>
                  <a:lnTo>
                    <a:pt x="232" y="2055"/>
                  </a:lnTo>
                  <a:lnTo>
                    <a:pt x="266" y="2101"/>
                  </a:lnTo>
                  <a:lnTo>
                    <a:pt x="302" y="2145"/>
                  </a:lnTo>
                  <a:lnTo>
                    <a:pt x="302" y="2145"/>
                  </a:lnTo>
                  <a:lnTo>
                    <a:pt x="364" y="2213"/>
                  </a:lnTo>
                  <a:lnTo>
                    <a:pt x="396" y="2245"/>
                  </a:lnTo>
                  <a:lnTo>
                    <a:pt x="426" y="2277"/>
                  </a:lnTo>
                  <a:lnTo>
                    <a:pt x="458" y="2305"/>
                  </a:lnTo>
                  <a:lnTo>
                    <a:pt x="492" y="2333"/>
                  </a:lnTo>
                  <a:lnTo>
                    <a:pt x="526" y="2359"/>
                  </a:lnTo>
                  <a:lnTo>
                    <a:pt x="560" y="2383"/>
                  </a:lnTo>
                  <a:lnTo>
                    <a:pt x="598" y="2405"/>
                  </a:lnTo>
                  <a:lnTo>
                    <a:pt x="636" y="2425"/>
                  </a:lnTo>
                  <a:lnTo>
                    <a:pt x="674" y="2443"/>
                  </a:lnTo>
                  <a:lnTo>
                    <a:pt x="716" y="2457"/>
                  </a:lnTo>
                  <a:lnTo>
                    <a:pt x="760" y="2467"/>
                  </a:lnTo>
                  <a:lnTo>
                    <a:pt x="806" y="2477"/>
                  </a:lnTo>
                  <a:lnTo>
                    <a:pt x="854" y="2481"/>
                  </a:lnTo>
                  <a:lnTo>
                    <a:pt x="904" y="2483"/>
                  </a:lnTo>
                  <a:lnTo>
                    <a:pt x="904" y="2483"/>
                  </a:lnTo>
                  <a:close/>
                  <a:moveTo>
                    <a:pt x="904" y="286"/>
                  </a:moveTo>
                  <a:lnTo>
                    <a:pt x="904" y="286"/>
                  </a:lnTo>
                  <a:lnTo>
                    <a:pt x="936" y="288"/>
                  </a:lnTo>
                  <a:lnTo>
                    <a:pt x="968" y="290"/>
                  </a:lnTo>
                  <a:lnTo>
                    <a:pt x="998" y="294"/>
                  </a:lnTo>
                  <a:lnTo>
                    <a:pt x="1030" y="300"/>
                  </a:lnTo>
                  <a:lnTo>
                    <a:pt x="1060" y="308"/>
                  </a:lnTo>
                  <a:lnTo>
                    <a:pt x="1088" y="318"/>
                  </a:lnTo>
                  <a:lnTo>
                    <a:pt x="1118" y="330"/>
                  </a:lnTo>
                  <a:lnTo>
                    <a:pt x="1146" y="342"/>
                  </a:lnTo>
                  <a:lnTo>
                    <a:pt x="1172" y="356"/>
                  </a:lnTo>
                  <a:lnTo>
                    <a:pt x="1200" y="372"/>
                  </a:lnTo>
                  <a:lnTo>
                    <a:pt x="1226" y="390"/>
                  </a:lnTo>
                  <a:lnTo>
                    <a:pt x="1250" y="408"/>
                  </a:lnTo>
                  <a:lnTo>
                    <a:pt x="1274" y="428"/>
                  </a:lnTo>
                  <a:lnTo>
                    <a:pt x="1298" y="448"/>
                  </a:lnTo>
                  <a:lnTo>
                    <a:pt x="1320" y="470"/>
                  </a:lnTo>
                  <a:lnTo>
                    <a:pt x="1342" y="494"/>
                  </a:lnTo>
                  <a:lnTo>
                    <a:pt x="1362" y="518"/>
                  </a:lnTo>
                  <a:lnTo>
                    <a:pt x="1382" y="544"/>
                  </a:lnTo>
                  <a:lnTo>
                    <a:pt x="1400" y="572"/>
                  </a:lnTo>
                  <a:lnTo>
                    <a:pt x="1418" y="600"/>
                  </a:lnTo>
                  <a:lnTo>
                    <a:pt x="1434" y="628"/>
                  </a:lnTo>
                  <a:lnTo>
                    <a:pt x="1448" y="658"/>
                  </a:lnTo>
                  <a:lnTo>
                    <a:pt x="1462" y="688"/>
                  </a:lnTo>
                  <a:lnTo>
                    <a:pt x="1474" y="720"/>
                  </a:lnTo>
                  <a:lnTo>
                    <a:pt x="1486" y="752"/>
                  </a:lnTo>
                  <a:lnTo>
                    <a:pt x="1496" y="786"/>
                  </a:lnTo>
                  <a:lnTo>
                    <a:pt x="1504" y="818"/>
                  </a:lnTo>
                  <a:lnTo>
                    <a:pt x="1512" y="854"/>
                  </a:lnTo>
                  <a:lnTo>
                    <a:pt x="1516" y="888"/>
                  </a:lnTo>
                  <a:lnTo>
                    <a:pt x="1520" y="924"/>
                  </a:lnTo>
                  <a:lnTo>
                    <a:pt x="1522" y="960"/>
                  </a:lnTo>
                  <a:lnTo>
                    <a:pt x="1524" y="996"/>
                  </a:lnTo>
                  <a:lnTo>
                    <a:pt x="1524" y="996"/>
                  </a:lnTo>
                  <a:lnTo>
                    <a:pt x="1522" y="1080"/>
                  </a:lnTo>
                  <a:lnTo>
                    <a:pt x="1520" y="1160"/>
                  </a:lnTo>
                  <a:lnTo>
                    <a:pt x="1516" y="1238"/>
                  </a:lnTo>
                  <a:lnTo>
                    <a:pt x="1508" y="1314"/>
                  </a:lnTo>
                  <a:lnTo>
                    <a:pt x="1500" y="1386"/>
                  </a:lnTo>
                  <a:lnTo>
                    <a:pt x="1490" y="1454"/>
                  </a:lnTo>
                  <a:lnTo>
                    <a:pt x="1478" y="1520"/>
                  </a:lnTo>
                  <a:lnTo>
                    <a:pt x="1464" y="1582"/>
                  </a:lnTo>
                  <a:lnTo>
                    <a:pt x="1448" y="1642"/>
                  </a:lnTo>
                  <a:lnTo>
                    <a:pt x="1432" y="1698"/>
                  </a:lnTo>
                  <a:lnTo>
                    <a:pt x="1412" y="1750"/>
                  </a:lnTo>
                  <a:lnTo>
                    <a:pt x="1392" y="1798"/>
                  </a:lnTo>
                  <a:lnTo>
                    <a:pt x="1370" y="1844"/>
                  </a:lnTo>
                  <a:lnTo>
                    <a:pt x="1346" y="1884"/>
                  </a:lnTo>
                  <a:lnTo>
                    <a:pt x="1320" y="1922"/>
                  </a:lnTo>
                  <a:lnTo>
                    <a:pt x="1294" y="1955"/>
                  </a:lnTo>
                  <a:lnTo>
                    <a:pt x="1294" y="1955"/>
                  </a:lnTo>
                  <a:lnTo>
                    <a:pt x="1234" y="2021"/>
                  </a:lnTo>
                  <a:lnTo>
                    <a:pt x="1180" y="2073"/>
                  </a:lnTo>
                  <a:lnTo>
                    <a:pt x="1156" y="2097"/>
                  </a:lnTo>
                  <a:lnTo>
                    <a:pt x="1132" y="2115"/>
                  </a:lnTo>
                  <a:lnTo>
                    <a:pt x="1108" y="2133"/>
                  </a:lnTo>
                  <a:lnTo>
                    <a:pt x="1086" y="2147"/>
                  </a:lnTo>
                  <a:lnTo>
                    <a:pt x="1064" y="2161"/>
                  </a:lnTo>
                  <a:lnTo>
                    <a:pt x="1042" y="2171"/>
                  </a:lnTo>
                  <a:lnTo>
                    <a:pt x="1020" y="2179"/>
                  </a:lnTo>
                  <a:lnTo>
                    <a:pt x="998" y="2187"/>
                  </a:lnTo>
                  <a:lnTo>
                    <a:pt x="976" y="2191"/>
                  </a:lnTo>
                  <a:lnTo>
                    <a:pt x="954" y="2195"/>
                  </a:lnTo>
                  <a:lnTo>
                    <a:pt x="930" y="2197"/>
                  </a:lnTo>
                  <a:lnTo>
                    <a:pt x="904" y="2197"/>
                  </a:lnTo>
                  <a:lnTo>
                    <a:pt x="904" y="2197"/>
                  </a:lnTo>
                  <a:lnTo>
                    <a:pt x="880" y="2197"/>
                  </a:lnTo>
                  <a:lnTo>
                    <a:pt x="856" y="2195"/>
                  </a:lnTo>
                  <a:lnTo>
                    <a:pt x="832" y="2191"/>
                  </a:lnTo>
                  <a:lnTo>
                    <a:pt x="810" y="2187"/>
                  </a:lnTo>
                  <a:lnTo>
                    <a:pt x="788" y="2179"/>
                  </a:lnTo>
                  <a:lnTo>
                    <a:pt x="766" y="2171"/>
                  </a:lnTo>
                  <a:lnTo>
                    <a:pt x="744" y="2161"/>
                  </a:lnTo>
                  <a:lnTo>
                    <a:pt x="722" y="2147"/>
                  </a:lnTo>
                  <a:lnTo>
                    <a:pt x="700" y="2133"/>
                  </a:lnTo>
                  <a:lnTo>
                    <a:pt x="676" y="2115"/>
                  </a:lnTo>
                  <a:lnTo>
                    <a:pt x="654" y="2097"/>
                  </a:lnTo>
                  <a:lnTo>
                    <a:pt x="628" y="2073"/>
                  </a:lnTo>
                  <a:lnTo>
                    <a:pt x="574" y="2021"/>
                  </a:lnTo>
                  <a:lnTo>
                    <a:pt x="516" y="1955"/>
                  </a:lnTo>
                  <a:lnTo>
                    <a:pt x="516" y="1955"/>
                  </a:lnTo>
                  <a:lnTo>
                    <a:pt x="488" y="1922"/>
                  </a:lnTo>
                  <a:lnTo>
                    <a:pt x="462" y="1884"/>
                  </a:lnTo>
                  <a:lnTo>
                    <a:pt x="438" y="1844"/>
                  </a:lnTo>
                  <a:lnTo>
                    <a:pt x="416" y="1798"/>
                  </a:lnTo>
                  <a:lnTo>
                    <a:pt x="396" y="1750"/>
                  </a:lnTo>
                  <a:lnTo>
                    <a:pt x="378" y="1698"/>
                  </a:lnTo>
                  <a:lnTo>
                    <a:pt x="360" y="1642"/>
                  </a:lnTo>
                  <a:lnTo>
                    <a:pt x="344" y="1582"/>
                  </a:lnTo>
                  <a:lnTo>
                    <a:pt x="330" y="1520"/>
                  </a:lnTo>
                  <a:lnTo>
                    <a:pt x="318" y="1454"/>
                  </a:lnTo>
                  <a:lnTo>
                    <a:pt x="308" y="1386"/>
                  </a:lnTo>
                  <a:lnTo>
                    <a:pt x="300" y="1314"/>
                  </a:lnTo>
                  <a:lnTo>
                    <a:pt x="294" y="1238"/>
                  </a:lnTo>
                  <a:lnTo>
                    <a:pt x="290" y="1160"/>
                  </a:lnTo>
                  <a:lnTo>
                    <a:pt x="286" y="1080"/>
                  </a:lnTo>
                  <a:lnTo>
                    <a:pt x="286" y="996"/>
                  </a:lnTo>
                  <a:lnTo>
                    <a:pt x="286" y="996"/>
                  </a:lnTo>
                  <a:lnTo>
                    <a:pt x="286" y="960"/>
                  </a:lnTo>
                  <a:lnTo>
                    <a:pt x="288" y="924"/>
                  </a:lnTo>
                  <a:lnTo>
                    <a:pt x="292" y="888"/>
                  </a:lnTo>
                  <a:lnTo>
                    <a:pt x="298" y="854"/>
                  </a:lnTo>
                  <a:lnTo>
                    <a:pt x="304" y="818"/>
                  </a:lnTo>
                  <a:lnTo>
                    <a:pt x="314" y="786"/>
                  </a:lnTo>
                  <a:lnTo>
                    <a:pt x="322" y="752"/>
                  </a:lnTo>
                  <a:lnTo>
                    <a:pt x="334" y="720"/>
                  </a:lnTo>
                  <a:lnTo>
                    <a:pt x="346" y="688"/>
                  </a:lnTo>
                  <a:lnTo>
                    <a:pt x="360" y="658"/>
                  </a:lnTo>
                  <a:lnTo>
                    <a:pt x="376" y="628"/>
                  </a:lnTo>
                  <a:lnTo>
                    <a:pt x="392" y="600"/>
                  </a:lnTo>
                  <a:lnTo>
                    <a:pt x="408" y="572"/>
                  </a:lnTo>
                  <a:lnTo>
                    <a:pt x="426" y="544"/>
                  </a:lnTo>
                  <a:lnTo>
                    <a:pt x="446" y="518"/>
                  </a:lnTo>
                  <a:lnTo>
                    <a:pt x="466" y="494"/>
                  </a:lnTo>
                  <a:lnTo>
                    <a:pt x="488" y="470"/>
                  </a:lnTo>
                  <a:lnTo>
                    <a:pt x="510" y="448"/>
                  </a:lnTo>
                  <a:lnTo>
                    <a:pt x="534" y="428"/>
                  </a:lnTo>
                  <a:lnTo>
                    <a:pt x="558" y="408"/>
                  </a:lnTo>
                  <a:lnTo>
                    <a:pt x="584" y="390"/>
                  </a:lnTo>
                  <a:lnTo>
                    <a:pt x="610" y="372"/>
                  </a:lnTo>
                  <a:lnTo>
                    <a:pt x="636" y="356"/>
                  </a:lnTo>
                  <a:lnTo>
                    <a:pt x="664" y="342"/>
                  </a:lnTo>
                  <a:lnTo>
                    <a:pt x="692" y="330"/>
                  </a:lnTo>
                  <a:lnTo>
                    <a:pt x="720" y="318"/>
                  </a:lnTo>
                  <a:lnTo>
                    <a:pt x="750" y="308"/>
                  </a:lnTo>
                  <a:lnTo>
                    <a:pt x="780" y="300"/>
                  </a:lnTo>
                  <a:lnTo>
                    <a:pt x="810" y="294"/>
                  </a:lnTo>
                  <a:lnTo>
                    <a:pt x="842" y="290"/>
                  </a:lnTo>
                  <a:lnTo>
                    <a:pt x="872" y="288"/>
                  </a:lnTo>
                  <a:lnTo>
                    <a:pt x="904" y="286"/>
                  </a:lnTo>
                  <a:lnTo>
                    <a:pt x="904"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US" sz="1000" dirty="0"/>
            </a:p>
          </p:txBody>
        </p:sp>
      </p:grpSp>
      <p:sp>
        <p:nvSpPr>
          <p:cNvPr id="58" name="TextBox 57">
            <a:extLst>
              <a:ext uri="{FF2B5EF4-FFF2-40B4-BE49-F238E27FC236}">
                <a16:creationId xmlns:a16="http://schemas.microsoft.com/office/drawing/2014/main" id="{D1CEB080-939A-4FED-8E38-BFB063275C89}"/>
              </a:ext>
            </a:extLst>
          </p:cNvPr>
          <p:cNvSpPr txBox="1"/>
          <p:nvPr/>
        </p:nvSpPr>
        <p:spPr>
          <a:xfrm>
            <a:off x="496259" y="2162906"/>
            <a:ext cx="2700000" cy="4315728"/>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ym typeface="Arial"/>
              </a:rPr>
              <a:t>The Commission</a:t>
            </a:r>
            <a:r>
              <a:rPr lang="en-AU" dirty="0"/>
              <a:t> has increasing and competing strategic and operational demand across all levels and functions. Increases in volumes of work are driving the need for new and innovative approaches to manage surge across registrations, complaints, compliance, reportable incidents, restrictive practices and investigations. Aspects of demand are not always visible, making it challenging to prioritise in a consistent and transparent manner.</a:t>
            </a:r>
            <a:r>
              <a:rPr lang="en-AU" dirty="0">
                <a:sym typeface="Arial"/>
              </a:rPr>
              <a:t> </a:t>
            </a:r>
            <a:r>
              <a:rPr lang="en-AU" dirty="0">
                <a:solidFill>
                  <a:schemeClr val="tx1"/>
                </a:solidFill>
                <a:ea typeface="+mn-ea"/>
                <a:cs typeface="Arial" panose="020B0604020202020204" pitchFamily="34" charset="0"/>
                <a:sym typeface="Arial"/>
              </a:rPr>
              <a:t>Throughout consultation, leaders also raised capacity constraints in finding room to think and act strategically while also tactically managing the day to day and leading a team. </a:t>
            </a:r>
            <a:endParaRPr lang="en-AU" dirty="0">
              <a:sym typeface="Arial"/>
            </a:endParaRPr>
          </a:p>
          <a:p>
            <a:pPr>
              <a:spcBef>
                <a:spcPts val="600"/>
              </a:spcBef>
            </a:pPr>
            <a:r>
              <a:rPr lang="en-AU" dirty="0">
                <a:solidFill>
                  <a:schemeClr val="bg2">
                    <a:lumMod val="10000"/>
                  </a:schemeClr>
                </a:solidFill>
                <a:ea typeface="+mn-ea"/>
                <a:cs typeface="Arial" panose="020B0604020202020204" pitchFamily="34" charset="0"/>
              </a:rPr>
              <a:t>Through consultation, senior leaders expressed the view that demand is expected </a:t>
            </a:r>
            <a:r>
              <a:rPr lang="en-AU" dirty="0">
                <a:solidFill>
                  <a:schemeClr val="bg2">
                    <a:lumMod val="10000"/>
                  </a:schemeClr>
                </a:solidFill>
              </a:rPr>
              <a:t>to continue to grow over the next three years as the </a:t>
            </a:r>
            <a:r>
              <a:rPr lang="en-US" dirty="0">
                <a:solidFill>
                  <a:schemeClr val="bg2">
                    <a:lumMod val="10000"/>
                  </a:schemeClr>
                </a:solidFill>
              </a:rPr>
              <a:t>number of participants requiring support </a:t>
            </a:r>
            <a:r>
              <a:rPr lang="en-US" dirty="0" smtClean="0">
                <a:solidFill>
                  <a:schemeClr val="bg2">
                    <a:lumMod val="10000"/>
                  </a:schemeClr>
                </a:solidFill>
              </a:rPr>
              <a:t>is forecast to </a:t>
            </a:r>
            <a:r>
              <a:rPr lang="en-US" dirty="0">
                <a:solidFill>
                  <a:schemeClr val="bg2">
                    <a:lumMod val="10000"/>
                  </a:schemeClr>
                </a:solidFill>
              </a:rPr>
              <a:t>increase.</a:t>
            </a:r>
            <a:r>
              <a:rPr lang="en-AU" dirty="0">
                <a:solidFill>
                  <a:schemeClr val="bg2">
                    <a:lumMod val="10000"/>
                  </a:schemeClr>
                </a:solidFill>
              </a:rPr>
              <a:t> </a:t>
            </a:r>
            <a:r>
              <a:rPr lang="en-US" dirty="0">
                <a:solidFill>
                  <a:schemeClr val="bg2">
                    <a:lumMod val="10000"/>
                  </a:schemeClr>
                </a:solidFill>
                <a:sym typeface="Arial"/>
              </a:rPr>
              <a:t>The Commission will need to consider how to both prioritise and address demand </a:t>
            </a:r>
            <a:r>
              <a:rPr lang="en-US" dirty="0" smtClean="0">
                <a:solidFill>
                  <a:schemeClr val="bg2">
                    <a:lumMod val="10000"/>
                  </a:schemeClr>
                </a:solidFill>
                <a:sym typeface="Arial"/>
              </a:rPr>
              <a:t>, enabled by </a:t>
            </a:r>
            <a:r>
              <a:rPr lang="en-US" dirty="0">
                <a:solidFill>
                  <a:schemeClr val="bg2">
                    <a:lumMod val="10000"/>
                  </a:schemeClr>
                </a:solidFill>
                <a:sym typeface="Arial"/>
              </a:rPr>
              <a:t>technology, to </a:t>
            </a:r>
            <a:r>
              <a:rPr lang="en-US" dirty="0" smtClean="0">
                <a:solidFill>
                  <a:schemeClr val="bg2">
                    <a:lumMod val="10000"/>
                  </a:schemeClr>
                </a:solidFill>
                <a:sym typeface="Arial"/>
              </a:rPr>
              <a:t>harness </a:t>
            </a:r>
            <a:r>
              <a:rPr lang="en-US" dirty="0">
                <a:solidFill>
                  <a:schemeClr val="bg2">
                    <a:lumMod val="10000"/>
                  </a:schemeClr>
                </a:solidFill>
                <a:sym typeface="Arial"/>
              </a:rPr>
              <a:t>capacity across its workforce, including through surge periods. In turn, this will enable a more agile workforce that can mobilise to prioritise and manage disruptions and reprioritise work </a:t>
            </a:r>
            <a:r>
              <a:rPr lang="en-AU" dirty="0">
                <a:solidFill>
                  <a:schemeClr val="bg2">
                    <a:lumMod val="10000"/>
                  </a:schemeClr>
                </a:solidFill>
                <a:sym typeface="Arial"/>
              </a:rPr>
              <a:t>in a way that is efficient and keeps the health and safety of the workforce at the forefront.</a:t>
            </a:r>
            <a:endParaRPr lang="en-AU" dirty="0">
              <a:solidFill>
                <a:schemeClr val="bg2">
                  <a:lumMod val="10000"/>
                </a:schemeClr>
              </a:solidFill>
            </a:endParaRPr>
          </a:p>
        </p:txBody>
      </p:sp>
      <p:sp>
        <p:nvSpPr>
          <p:cNvPr id="62" name="TextBox 61">
            <a:extLst>
              <a:ext uri="{FF2B5EF4-FFF2-40B4-BE49-F238E27FC236}">
                <a16:creationId xmlns:a16="http://schemas.microsoft.com/office/drawing/2014/main" id="{3001D618-49B0-43C3-9BA1-1D1388069B46}"/>
              </a:ext>
            </a:extLst>
          </p:cNvPr>
          <p:cNvSpPr txBox="1"/>
          <p:nvPr/>
        </p:nvSpPr>
        <p:spPr>
          <a:xfrm>
            <a:off x="3341218" y="2191353"/>
            <a:ext cx="2983381" cy="4280864"/>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t>How employees experience work, ways of working and culture is key in talent retention and performance. </a:t>
            </a:r>
            <a:r>
              <a:rPr lang="en-AU" dirty="0">
                <a:sym typeface="Arial"/>
              </a:rPr>
              <a:t>The experiences of Commission employees may be mixed and may result in challenges from collaboration, engagement, retention and/or performance and productivity perspectives. For example; </a:t>
            </a:r>
            <a:r>
              <a:rPr lang="en-AU" dirty="0" smtClean="0">
                <a:sym typeface="Arial"/>
              </a:rPr>
              <a:t>staff report </a:t>
            </a:r>
            <a:r>
              <a:rPr lang="en-AU" dirty="0">
                <a:sym typeface="Arial"/>
              </a:rPr>
              <a:t>mixed experiences in </a:t>
            </a:r>
            <a:r>
              <a:rPr lang="en-AU" dirty="0" smtClean="0">
                <a:sym typeface="Arial"/>
              </a:rPr>
              <a:t>on boarding, </a:t>
            </a:r>
            <a:r>
              <a:rPr lang="en-AU" dirty="0">
                <a:sym typeface="Arial"/>
              </a:rPr>
              <a:t>access to capability development opportunities, access to career progression opportunities, performance conversations, flexibility and workload constraints. Equally, we know many people are attracted to, and stay at the Commission, because they </a:t>
            </a:r>
            <a:r>
              <a:rPr lang="en-AU" dirty="0" smtClean="0">
                <a:sym typeface="Arial"/>
              </a:rPr>
              <a:t>are </a:t>
            </a:r>
            <a:r>
              <a:rPr lang="en-AU" dirty="0">
                <a:sym typeface="Arial"/>
              </a:rPr>
              <a:t>involved in purpose-driven work, they care about the outcomes for the community and they want to be part of the bigger picture.</a:t>
            </a:r>
          </a:p>
          <a:p>
            <a:pPr>
              <a:spcBef>
                <a:spcPts val="600"/>
              </a:spcBef>
            </a:pPr>
            <a:r>
              <a:rPr lang="en-AU" dirty="0">
                <a:sym typeface="Arial"/>
              </a:rPr>
              <a:t>The Commission will need to be deliberate in how it designs and communicates its employee experience and importantly, how it delivers on its promised experience (i.e. how it embeds it consistently and equitably), in order to attract and retain talent and motivate performance. </a:t>
            </a:r>
            <a:r>
              <a:rPr lang="en-AU" dirty="0" smtClean="0">
                <a:sym typeface="Arial"/>
              </a:rPr>
              <a:t>The Commission should consider </a:t>
            </a:r>
            <a:r>
              <a:rPr lang="en-AU" dirty="0" smtClean="0"/>
              <a:t>embedding </a:t>
            </a:r>
            <a:r>
              <a:rPr lang="en-AU" dirty="0"/>
              <a:t>a one-Commission employee experience with people at the heart, where the workforce experiences are consistent across the employee lifecycle, feeling connected and having the role clarity and organisational acumen, competencies and skills needed to </a:t>
            </a:r>
            <a:r>
              <a:rPr lang="en-AU" dirty="0" smtClean="0"/>
              <a:t>deliver. </a:t>
            </a:r>
            <a:endParaRPr lang="en-AU" dirty="0"/>
          </a:p>
        </p:txBody>
      </p:sp>
      <p:sp>
        <p:nvSpPr>
          <p:cNvPr id="63" name="TextBox 62">
            <a:extLst>
              <a:ext uri="{FF2B5EF4-FFF2-40B4-BE49-F238E27FC236}">
                <a16:creationId xmlns:a16="http://schemas.microsoft.com/office/drawing/2014/main" id="{30F92F18-C4C8-4C54-8545-86CEF5929691}"/>
              </a:ext>
            </a:extLst>
          </p:cNvPr>
          <p:cNvSpPr txBox="1"/>
          <p:nvPr/>
        </p:nvSpPr>
        <p:spPr>
          <a:xfrm>
            <a:off x="9015375" y="2197770"/>
            <a:ext cx="2700000" cy="4280864"/>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ym typeface="Arial"/>
              </a:rPr>
              <a:t>Diversity will be key in bringing different perspectives and ideas together, supporting a compelling employee value proposition and ensuring that the Commission is reflecting the communities that it serves and the partners it works with. The Commission has leaned heavily on the successful attraction and retention of </a:t>
            </a:r>
            <a:r>
              <a:rPr lang="en-US" dirty="0">
                <a:sym typeface="Arial"/>
              </a:rPr>
              <a:t>talent </a:t>
            </a:r>
            <a:r>
              <a:rPr lang="en-US" dirty="0"/>
              <a:t>from across social services, particularly those working in the disability sector including social workers, case workers, clinicians and investigators out of law enforcement. </a:t>
            </a:r>
          </a:p>
          <a:p>
            <a:pPr>
              <a:spcBef>
                <a:spcPts val="600"/>
              </a:spcBef>
            </a:pPr>
            <a:r>
              <a:rPr lang="en-AU" dirty="0">
                <a:sym typeface="Arial"/>
              </a:rPr>
              <a:t>There are opportunities to tap into different segments and sectors of the labour market to increase workforce </a:t>
            </a:r>
            <a:r>
              <a:rPr lang="en-AU" dirty="0" smtClean="0">
                <a:sym typeface="Arial"/>
              </a:rPr>
              <a:t>participation, improved </a:t>
            </a:r>
            <a:r>
              <a:rPr lang="en-AU" dirty="0">
                <a:sym typeface="Arial"/>
              </a:rPr>
              <a:t>diversity, inclusion and a sense of true </a:t>
            </a:r>
            <a:r>
              <a:rPr lang="en-AU" dirty="0" smtClean="0">
                <a:sym typeface="Arial"/>
              </a:rPr>
              <a:t>belonging. The Commission should focus on creating inclusive </a:t>
            </a:r>
            <a:r>
              <a:rPr lang="en-AU" dirty="0">
                <a:sym typeface="Arial"/>
              </a:rPr>
              <a:t>environments for all staff and </a:t>
            </a:r>
            <a:r>
              <a:rPr lang="en-US" dirty="0" smtClean="0"/>
              <a:t>recognise </a:t>
            </a:r>
            <a:r>
              <a:rPr lang="en-US" dirty="0"/>
              <a:t>the </a:t>
            </a:r>
            <a:r>
              <a:rPr lang="en-US" dirty="0" smtClean="0"/>
              <a:t>value of </a:t>
            </a:r>
            <a:r>
              <a:rPr lang="en-US" dirty="0"/>
              <a:t>diverse perspectives</a:t>
            </a:r>
            <a:r>
              <a:rPr lang="en-US" dirty="0" smtClean="0"/>
              <a:t>, varied expertise, and </a:t>
            </a:r>
            <a:r>
              <a:rPr lang="en-US" dirty="0"/>
              <a:t>lived </a:t>
            </a:r>
            <a:r>
              <a:rPr lang="en-US" dirty="0" smtClean="0"/>
              <a:t>experience, in </a:t>
            </a:r>
            <a:r>
              <a:rPr lang="en-US" dirty="0"/>
              <a:t>organisational culture.</a:t>
            </a:r>
            <a:r>
              <a:rPr lang="en-AU" dirty="0">
                <a:sym typeface="Arial"/>
              </a:rPr>
              <a:t> </a:t>
            </a:r>
          </a:p>
          <a:p>
            <a:pPr>
              <a:spcBef>
                <a:spcPts val="600"/>
              </a:spcBef>
            </a:pPr>
            <a:r>
              <a:rPr lang="en-AU" dirty="0">
                <a:sym typeface="Arial"/>
              </a:rPr>
              <a:t>Continuing to foster diversity and inclusion will be key to meeting future demand, as well as improving diversity and inclusion outcomes.</a:t>
            </a:r>
          </a:p>
          <a:p>
            <a:pPr>
              <a:spcBef>
                <a:spcPts val="600"/>
              </a:spcBef>
            </a:pPr>
            <a:r>
              <a:rPr lang="en-US" dirty="0"/>
              <a:t> </a:t>
            </a:r>
          </a:p>
          <a:p>
            <a:endParaRPr lang="en-AU" dirty="0"/>
          </a:p>
          <a:p>
            <a:endParaRPr lang="en-AU" dirty="0"/>
          </a:p>
          <a:p>
            <a:endParaRPr lang="en-AU" dirty="0"/>
          </a:p>
        </p:txBody>
      </p:sp>
      <p:grpSp>
        <p:nvGrpSpPr>
          <p:cNvPr id="6" name="Group 5">
            <a:extLst>
              <a:ext uri="{FF2B5EF4-FFF2-40B4-BE49-F238E27FC236}">
                <a16:creationId xmlns:a16="http://schemas.microsoft.com/office/drawing/2014/main" id="{18CB1431-CF98-482A-A254-7AC2410A98E5}"/>
              </a:ext>
            </a:extLst>
          </p:cNvPr>
          <p:cNvGrpSpPr/>
          <p:nvPr/>
        </p:nvGrpSpPr>
        <p:grpSpPr>
          <a:xfrm>
            <a:off x="6420250" y="1606288"/>
            <a:ext cx="2414625" cy="4880789"/>
            <a:chOff x="6449008" y="1606288"/>
            <a:chExt cx="2700001" cy="4880789"/>
          </a:xfrm>
        </p:grpSpPr>
        <p:sp>
          <p:nvSpPr>
            <p:cNvPr id="41" name="Google Shape;2191;p207">
              <a:extLst>
                <a:ext uri="{FF2B5EF4-FFF2-40B4-BE49-F238E27FC236}">
                  <a16:creationId xmlns:a16="http://schemas.microsoft.com/office/drawing/2014/main" id="{C789DB3B-628C-47EA-A4F5-AD005D564513}"/>
                </a:ext>
              </a:extLst>
            </p:cNvPr>
            <p:cNvSpPr/>
            <p:nvPr/>
          </p:nvSpPr>
          <p:spPr>
            <a:xfrm>
              <a:off x="6449009" y="1606288"/>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wellbeing of the </a:t>
              </a:r>
              <a:r>
                <a:rPr lang="en-AU" sz="1100" b="1" kern="0" dirty="0" smtClean="0">
                  <a:solidFill>
                    <a:srgbClr val="FFFFFF"/>
                  </a:solidFill>
                  <a:cs typeface="Arial"/>
                  <a:sym typeface="Arial"/>
                </a:rPr>
                <a:t>Commission’s </a:t>
              </a:r>
              <a:r>
                <a:rPr lang="en-AU" sz="1100" b="1" kern="0" dirty="0">
                  <a:solidFill>
                    <a:srgbClr val="FFFFFF"/>
                  </a:solidFill>
                  <a:cs typeface="Arial"/>
                  <a:sym typeface="Arial"/>
                </a:rPr>
                <a:t>people </a:t>
              </a:r>
              <a:endParaRPr lang="en-US" sz="1100" b="1" kern="0" dirty="0">
                <a:solidFill>
                  <a:srgbClr val="FFFFFF"/>
                </a:solidFill>
                <a:cs typeface="Arial"/>
              </a:endParaRPr>
            </a:p>
          </p:txBody>
        </p:sp>
        <p:sp>
          <p:nvSpPr>
            <p:cNvPr id="44" name="TextBox 43">
              <a:extLst>
                <a:ext uri="{FF2B5EF4-FFF2-40B4-BE49-F238E27FC236}">
                  <a16:creationId xmlns:a16="http://schemas.microsoft.com/office/drawing/2014/main" id="{A348F9B1-C4F6-4DF5-8480-38CF218A7382}"/>
                </a:ext>
              </a:extLst>
            </p:cNvPr>
            <p:cNvSpPr txBox="1"/>
            <p:nvPr/>
          </p:nvSpPr>
          <p:spPr>
            <a:xfrm>
              <a:off x="6449008" y="2206213"/>
              <a:ext cx="2699999" cy="4280864"/>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ym typeface="Arial"/>
                </a:rPr>
                <a:t>The Commission </a:t>
              </a:r>
              <a:r>
                <a:rPr lang="en-AU" dirty="0"/>
                <a:t>is committed to the health, safety and wellbeing of its people. Throughout consultations, some raised </a:t>
              </a:r>
              <a:r>
                <a:rPr lang="en-AU" dirty="0">
                  <a:sym typeface="Arial"/>
                </a:rPr>
                <a:t>the potential risks around wellbeing associated with the nature of the work the Commission does, the passionate, purpose-driven workforce, coupled with the impacts of the COVID-19 pandemic. </a:t>
              </a:r>
            </a:p>
            <a:p>
              <a:pPr>
                <a:spcBef>
                  <a:spcPts val="600"/>
                </a:spcBef>
              </a:pPr>
              <a:r>
                <a:rPr lang="en-AU" dirty="0">
                  <a:sym typeface="Arial"/>
                </a:rPr>
                <a:t>Further, there is a sense that requirements are added on without stopping or pausing other requirements (e.g., projects, programs of work, strategic </a:t>
              </a:r>
              <a:r>
                <a:rPr lang="en-AU" dirty="0" smtClean="0">
                  <a:sym typeface="Arial"/>
                </a:rPr>
                <a:t>initiatives, </a:t>
              </a:r>
              <a:r>
                <a:rPr lang="en-AU" dirty="0">
                  <a:sym typeface="Arial"/>
                </a:rPr>
                <a:t>business as usual).  </a:t>
              </a:r>
            </a:p>
            <a:p>
              <a:pPr>
                <a:spcBef>
                  <a:spcPts val="600"/>
                </a:spcBef>
              </a:pPr>
              <a:r>
                <a:rPr lang="en-AU" dirty="0">
                  <a:sym typeface="Arial"/>
                </a:rPr>
                <a:t>To continue to foster an environment and culture where the health, safety and wellbeing of the workforce is our priority, the Commission will continue to identify and address health, safety and wellbeing risks and consider and address the potential change impacts as it evolves to its desired future state. </a:t>
              </a:r>
            </a:p>
            <a:p>
              <a:pPr>
                <a:spcBef>
                  <a:spcPts val="600"/>
                </a:spcBef>
              </a:pPr>
              <a:endParaRPr lang="en-AU" dirty="0">
                <a:sym typeface="Arial"/>
              </a:endParaRPr>
            </a:p>
            <a:p>
              <a:endParaRPr lang="en-US" sz="800" kern="0" dirty="0">
                <a:solidFill>
                  <a:srgbClr val="000000"/>
                </a:solidFill>
                <a:ea typeface="Helvetica Neue"/>
                <a:cs typeface="Helvetica Neue"/>
                <a:sym typeface="Helvetica Neue"/>
              </a:endParaRPr>
            </a:p>
            <a:p>
              <a:endParaRPr lang="en-AU" dirty="0"/>
            </a:p>
            <a:p>
              <a:endParaRPr lang="en-AU" dirty="0"/>
            </a:p>
          </p:txBody>
        </p:sp>
      </p:grpSp>
      <p:sp>
        <p:nvSpPr>
          <p:cNvPr id="52" name="Freeform 14">
            <a:extLst>
              <a:ext uri="{FF2B5EF4-FFF2-40B4-BE49-F238E27FC236}">
                <a16:creationId xmlns:a16="http://schemas.microsoft.com/office/drawing/2014/main" id="{ACC433B6-EE74-4AB2-A861-EBC0FF5EF86C}"/>
              </a:ext>
            </a:extLst>
          </p:cNvPr>
          <p:cNvSpPr>
            <a:spLocks noChangeAspect="1" noEditPoints="1"/>
          </p:cNvSpPr>
          <p:nvPr/>
        </p:nvSpPr>
        <p:spPr bwMode="auto">
          <a:xfrm>
            <a:off x="9089711" y="1662050"/>
            <a:ext cx="448416" cy="448006"/>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dirty="0"/>
          </a:p>
        </p:txBody>
      </p:sp>
      <p:sp>
        <p:nvSpPr>
          <p:cNvPr id="4" name="Slide Number Placeholder 3">
            <a:extLst>
              <a:ext uri="{FF2B5EF4-FFF2-40B4-BE49-F238E27FC236}">
                <a16:creationId xmlns:a16="http://schemas.microsoft.com/office/drawing/2014/main" id="{F872AE4E-1C14-4C5E-67BA-B7A6DEB9F614}"/>
              </a:ext>
            </a:extLst>
          </p:cNvPr>
          <p:cNvSpPr>
            <a:spLocks noGrp="1"/>
          </p:cNvSpPr>
          <p:nvPr>
            <p:ph type="sldNum" sz="quarter" idx="12"/>
          </p:nvPr>
        </p:nvSpPr>
        <p:spPr/>
        <p:txBody>
          <a:bodyPr/>
          <a:lstStyle/>
          <a:p>
            <a:fld id="{C0F55C17-AF72-40D4-ADBD-B5505DEBF9BA}" type="slidenum">
              <a:rPr lang="en-AU" smtClean="0"/>
              <a:t>24</a:t>
            </a:fld>
            <a:endParaRPr lang="en-US" dirty="0"/>
          </a:p>
        </p:txBody>
      </p:sp>
      <p:sp>
        <p:nvSpPr>
          <p:cNvPr id="23" name="Title 4">
            <a:extLst>
              <a:ext uri="{FF2B5EF4-FFF2-40B4-BE49-F238E27FC236}">
                <a16:creationId xmlns:a16="http://schemas.microsoft.com/office/drawing/2014/main" id="{6F633016-7ADA-41BF-9D72-EE47C3072CCA}"/>
              </a:ext>
            </a:extLst>
          </p:cNvPr>
          <p:cNvSpPr txBox="1">
            <a:spLocks/>
          </p:cNvSpPr>
          <p:nvPr/>
        </p:nvSpPr>
        <p:spPr>
          <a:xfrm>
            <a:off x="503691" y="322216"/>
            <a:ext cx="8586019" cy="992778"/>
          </a:xfrm>
          <a:prstGeom prst="rect">
            <a:avLst/>
          </a:prstGeom>
        </p:spPr>
        <p:txBody>
          <a:bodyPr vert="horz" lIns="0" tIns="0" rIns="0" bIns="0" rtlCol="0" anchor="ctr">
            <a:normAutofit fontScale="97500"/>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300" dirty="0">
                <a:solidFill>
                  <a:schemeClr val="tx2"/>
                </a:solidFill>
              </a:rPr>
              <a:t>Opportunities for investment were identified through consultation and inform the Workforce </a:t>
            </a:r>
            <a:r>
              <a:rPr lang="en-US" sz="2300" dirty="0" smtClean="0">
                <a:solidFill>
                  <a:schemeClr val="tx2"/>
                </a:solidFill>
              </a:rPr>
              <a:t>Plan </a:t>
            </a:r>
            <a:r>
              <a:rPr lang="en-US" sz="1600" dirty="0">
                <a:solidFill>
                  <a:schemeClr val="tx2"/>
                </a:solidFill>
              </a:rPr>
              <a:t>(2/2) </a:t>
            </a:r>
            <a:endParaRPr lang="en-AU" sz="1600" dirty="0">
              <a:solidFill>
                <a:schemeClr val="tx2"/>
              </a:solidFill>
            </a:endParaRPr>
          </a:p>
        </p:txBody>
      </p:sp>
      <p:sp>
        <p:nvSpPr>
          <p:cNvPr id="27" name="Google Shape;162;p4">
            <a:extLst>
              <a:ext uri="{FF2B5EF4-FFF2-40B4-BE49-F238E27FC236}">
                <a16:creationId xmlns:a16="http://schemas.microsoft.com/office/drawing/2014/main" id="{B56EB909-81FE-4DF2-AFD9-900B0385A5D1}"/>
              </a:ext>
            </a:extLst>
          </p:cNvPr>
          <p:cNvSpPr/>
          <p:nvPr/>
        </p:nvSpPr>
        <p:spPr>
          <a:xfrm>
            <a:off x="6503504" y="1691025"/>
            <a:ext cx="501727" cy="448006"/>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2" name="Footer Placeholder 1">
            <a:extLst>
              <a:ext uri="{FF2B5EF4-FFF2-40B4-BE49-F238E27FC236}">
                <a16:creationId xmlns:a16="http://schemas.microsoft.com/office/drawing/2014/main" id="{87F62BF9-0097-1E55-F6D4-B44418330B9C}"/>
              </a:ext>
            </a:extLst>
          </p:cNvPr>
          <p:cNvSpPr>
            <a:spLocks noGrp="1"/>
          </p:cNvSpPr>
          <p:nvPr>
            <p:ph type="ftr" sz="quarter" idx="11"/>
          </p:nvPr>
        </p:nvSpPr>
        <p:spPr>
          <a:xfrm>
            <a:off x="1172187" y="6546850"/>
            <a:ext cx="6783813" cy="180000"/>
          </a:xfrm>
        </p:spPr>
        <p:txBody>
          <a:bodyPr/>
          <a:lstStyle/>
          <a:p>
            <a:pPr algn="ctr"/>
            <a:r>
              <a:rPr lang="en-AU" smtClean="0"/>
              <a:t>NDIS Commission Workforce Plan 2023-2028</a:t>
            </a:r>
            <a:endParaRPr lang="en-US" dirty="0"/>
          </a:p>
        </p:txBody>
      </p:sp>
      <p:sp>
        <p:nvSpPr>
          <p:cNvPr id="68" name="Speech Bubble: Rectangle 67">
            <a:extLst>
              <a:ext uri="{FF2B5EF4-FFF2-40B4-BE49-F238E27FC236}">
                <a16:creationId xmlns:a16="http://schemas.microsoft.com/office/drawing/2014/main" id="{7B0A8661-1A97-4DFA-A976-0A22E1E78E43}"/>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69" name="Group 68">
            <a:extLst>
              <a:ext uri="{FF2B5EF4-FFF2-40B4-BE49-F238E27FC236}">
                <a16:creationId xmlns:a16="http://schemas.microsoft.com/office/drawing/2014/main" id="{78B345CB-FB84-4074-BA52-8C1525D96F41}"/>
              </a:ext>
            </a:extLst>
          </p:cNvPr>
          <p:cNvGrpSpPr/>
          <p:nvPr/>
        </p:nvGrpSpPr>
        <p:grpSpPr>
          <a:xfrm>
            <a:off x="10609741" y="1048190"/>
            <a:ext cx="396000" cy="376186"/>
            <a:chOff x="627146" y="1619763"/>
            <a:chExt cx="396000" cy="396000"/>
          </a:xfrm>
        </p:grpSpPr>
        <p:sp>
          <p:nvSpPr>
            <p:cNvPr id="70" name="Rectangle 69">
              <a:extLst>
                <a:ext uri="{FF2B5EF4-FFF2-40B4-BE49-F238E27FC236}">
                  <a16:creationId xmlns:a16="http://schemas.microsoft.com/office/drawing/2014/main" id="{E7EF32A6-FD79-4A8F-9B53-A87163C4F7B9}"/>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1" name="Freeform 118">
              <a:extLst>
                <a:ext uri="{FF2B5EF4-FFF2-40B4-BE49-F238E27FC236}">
                  <a16:creationId xmlns:a16="http://schemas.microsoft.com/office/drawing/2014/main" id="{4AE85D9D-ED41-4E65-AE6A-5FE40784708C}"/>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2" name="Freeform 119">
              <a:extLst>
                <a:ext uri="{FF2B5EF4-FFF2-40B4-BE49-F238E27FC236}">
                  <a16:creationId xmlns:a16="http://schemas.microsoft.com/office/drawing/2014/main" id="{504F2D90-CD6B-446B-979A-E1EB850D0833}"/>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3" name="Freeform 120">
              <a:extLst>
                <a:ext uri="{FF2B5EF4-FFF2-40B4-BE49-F238E27FC236}">
                  <a16:creationId xmlns:a16="http://schemas.microsoft.com/office/drawing/2014/main" id="{292AF51A-4169-496A-83E3-EE8C16F12771}"/>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4" name="Freeform 121">
              <a:extLst>
                <a:ext uri="{FF2B5EF4-FFF2-40B4-BE49-F238E27FC236}">
                  <a16:creationId xmlns:a16="http://schemas.microsoft.com/office/drawing/2014/main" id="{07E769A1-4EB6-43F9-A949-FC081DAEFAEF}"/>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5" name="Freeform 122">
              <a:extLst>
                <a:ext uri="{FF2B5EF4-FFF2-40B4-BE49-F238E27FC236}">
                  <a16:creationId xmlns:a16="http://schemas.microsoft.com/office/drawing/2014/main" id="{0E064E76-60A0-4264-8A74-016FC3B5F18D}"/>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7" name="Freeform 124">
              <a:extLst>
                <a:ext uri="{FF2B5EF4-FFF2-40B4-BE49-F238E27FC236}">
                  <a16:creationId xmlns:a16="http://schemas.microsoft.com/office/drawing/2014/main" id="{490A357D-A2C6-412E-87E5-F9CB18C72490}"/>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8" name="Freeform 128">
              <a:extLst>
                <a:ext uri="{FF2B5EF4-FFF2-40B4-BE49-F238E27FC236}">
                  <a16:creationId xmlns:a16="http://schemas.microsoft.com/office/drawing/2014/main" id="{047CB247-EC4D-4481-9E05-43491BF9BAAF}"/>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9" name="Freeform 129">
              <a:extLst>
                <a:ext uri="{FF2B5EF4-FFF2-40B4-BE49-F238E27FC236}">
                  <a16:creationId xmlns:a16="http://schemas.microsoft.com/office/drawing/2014/main" id="{58FA9F82-91C3-4F5E-AB4A-F5E71B8B53B7}"/>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0" name="Freeform 130">
              <a:extLst>
                <a:ext uri="{FF2B5EF4-FFF2-40B4-BE49-F238E27FC236}">
                  <a16:creationId xmlns:a16="http://schemas.microsoft.com/office/drawing/2014/main" id="{6FD7DA08-BC86-4FC6-ABD3-68C7CED96E39}"/>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1" name="Freeform 131">
              <a:extLst>
                <a:ext uri="{FF2B5EF4-FFF2-40B4-BE49-F238E27FC236}">
                  <a16:creationId xmlns:a16="http://schemas.microsoft.com/office/drawing/2014/main" id="{BCF73282-3C90-447A-99B5-1D0EB4561FE0}"/>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2" name="Freeform 133">
              <a:extLst>
                <a:ext uri="{FF2B5EF4-FFF2-40B4-BE49-F238E27FC236}">
                  <a16:creationId xmlns:a16="http://schemas.microsoft.com/office/drawing/2014/main" id="{8B14CFA2-C8CC-4248-BC6F-C8E24A97CC3E}"/>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6" name="Freeform 134">
              <a:extLst>
                <a:ext uri="{FF2B5EF4-FFF2-40B4-BE49-F238E27FC236}">
                  <a16:creationId xmlns:a16="http://schemas.microsoft.com/office/drawing/2014/main" id="{483A054B-5FB3-448A-94FC-870EB57298E8}"/>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7" name="Freeform 135">
              <a:extLst>
                <a:ext uri="{FF2B5EF4-FFF2-40B4-BE49-F238E27FC236}">
                  <a16:creationId xmlns:a16="http://schemas.microsoft.com/office/drawing/2014/main" id="{F0EB7E19-415B-4478-B716-5FB50F8682DD}"/>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88" name="Google Shape;162;p4">
            <a:extLst>
              <a:ext uri="{FF2B5EF4-FFF2-40B4-BE49-F238E27FC236}">
                <a16:creationId xmlns:a16="http://schemas.microsoft.com/office/drawing/2014/main" id="{EDC74BE1-2CCE-41E6-A4B9-71940766C0E7}"/>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89" name="Freeform 37">
            <a:extLst>
              <a:ext uri="{FF2B5EF4-FFF2-40B4-BE49-F238E27FC236}">
                <a16:creationId xmlns:a16="http://schemas.microsoft.com/office/drawing/2014/main" id="{43228E38-2D2E-4159-B95B-99244AA92124}"/>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90" name="TextBox 89">
            <a:extLst>
              <a:ext uri="{FF2B5EF4-FFF2-40B4-BE49-F238E27FC236}">
                <a16:creationId xmlns:a16="http://schemas.microsoft.com/office/drawing/2014/main" id="{171D440F-911A-4A1D-9D40-2BA0DEC396FB}"/>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8975829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C66C0-E928-4EE0-A30F-5C5E1DEF52C0}"/>
              </a:ext>
            </a:extLst>
          </p:cNvPr>
          <p:cNvSpPr>
            <a:spLocks noGrp="1"/>
          </p:cNvSpPr>
          <p:nvPr>
            <p:ph type="title"/>
          </p:nvPr>
        </p:nvSpPr>
        <p:spPr>
          <a:xfrm>
            <a:off x="500150" y="321702"/>
            <a:ext cx="8228214" cy="1376364"/>
          </a:xfrm>
        </p:spPr>
        <p:txBody>
          <a:bodyPr/>
          <a:lstStyle/>
          <a:p>
            <a:r>
              <a:rPr lang="en-US" sz="3200" dirty="0">
                <a:solidFill>
                  <a:schemeClr val="tx2"/>
                </a:solidFill>
              </a:rPr>
              <a:t>Identified quick wins</a:t>
            </a:r>
            <a:endParaRPr lang="en-AU" dirty="0"/>
          </a:p>
        </p:txBody>
      </p:sp>
      <p:sp>
        <p:nvSpPr>
          <p:cNvPr id="37" name="Google Shape;3374;p232">
            <a:extLst>
              <a:ext uri="{FF2B5EF4-FFF2-40B4-BE49-F238E27FC236}">
                <a16:creationId xmlns:a16="http://schemas.microsoft.com/office/drawing/2014/main" id="{1FEBCA95-D7E9-49AE-8494-B23C9D388454}"/>
              </a:ext>
            </a:extLst>
          </p:cNvPr>
          <p:cNvSpPr txBox="1"/>
          <p:nvPr/>
        </p:nvSpPr>
        <p:spPr>
          <a:xfrm>
            <a:off x="431252" y="1422855"/>
            <a:ext cx="11260598" cy="400069"/>
          </a:xfrm>
          <a:prstGeom prst="rect">
            <a:avLst/>
          </a:prstGeom>
          <a:noFill/>
          <a:ln>
            <a:noFill/>
          </a:ln>
        </p:spPr>
        <p:txBody>
          <a:bodyPr spcFirstLastPara="1" wrap="square" lIns="91425" tIns="45700" rIns="91425" bIns="45700" anchor="t" anchorCtr="0">
            <a:spAutoFit/>
          </a:bodyPr>
          <a:lstStyle/>
          <a:p>
            <a:pPr>
              <a:buClr>
                <a:srgbClr val="000000"/>
              </a:buClr>
              <a:defRPr/>
            </a:pPr>
            <a:r>
              <a:rPr kumimoji="0" lang="en-US" sz="1000" b="0" i="0" u="none" strike="noStrike" kern="0" cap="none" spc="0" normalizeH="0" baseline="0" noProof="0" dirty="0">
                <a:ln>
                  <a:noFill/>
                </a:ln>
                <a:solidFill>
                  <a:srgbClr val="000000"/>
                </a:solidFill>
                <a:effectLst/>
                <a:uLnTx/>
                <a:uFillTx/>
                <a:latin typeface="+mj-lt"/>
                <a:ea typeface="Arial"/>
                <a:cs typeface="Arial"/>
                <a:sym typeface="Arial"/>
              </a:rPr>
              <a:t>The following opportunities have been identified as quick wins to support early, iterative progress toward opportunities contained in this </a:t>
            </a:r>
            <a:r>
              <a:rPr kumimoji="0" lang="en-US" sz="1000" b="0" i="0" u="none" strike="noStrike" kern="0" cap="none" spc="0" normalizeH="0" baseline="0" noProof="0" dirty="0" smtClean="0">
                <a:ln>
                  <a:noFill/>
                </a:ln>
                <a:solidFill>
                  <a:srgbClr val="000000"/>
                </a:solidFill>
                <a:effectLst/>
                <a:uLnTx/>
                <a:uFillTx/>
                <a:latin typeface="+mj-lt"/>
                <a:ea typeface="Arial"/>
                <a:cs typeface="Arial"/>
                <a:sym typeface="Arial"/>
              </a:rPr>
              <a:t>Plan. </a:t>
            </a:r>
            <a:r>
              <a:rPr kumimoji="0" lang="en-US" sz="1000" b="0" i="0" u="none" strike="noStrike" kern="0" cap="none" spc="0" normalizeH="0" baseline="0" noProof="0" dirty="0">
                <a:ln>
                  <a:noFill/>
                </a:ln>
                <a:solidFill>
                  <a:srgbClr val="000000"/>
                </a:solidFill>
                <a:effectLst/>
                <a:uLnTx/>
                <a:uFillTx/>
                <a:latin typeface="+mj-lt"/>
                <a:ea typeface="Arial"/>
                <a:cs typeface="Arial"/>
                <a:sym typeface="Arial"/>
              </a:rPr>
              <a:t>Each opportunity is intended to represent </a:t>
            </a:r>
            <a:r>
              <a:rPr lang="en-US" sz="1000" kern="0" dirty="0">
                <a:solidFill>
                  <a:srgbClr val="000000"/>
                </a:solidFill>
                <a:latin typeface="+mj-lt"/>
                <a:ea typeface="Arial"/>
                <a:cs typeface="Arial"/>
                <a:sym typeface="Arial"/>
              </a:rPr>
              <a:t>minimal effort and require minimal investment. </a:t>
            </a:r>
            <a:r>
              <a:rPr lang="en-US" sz="1000" kern="0" dirty="0">
                <a:solidFill>
                  <a:prstClr val="black"/>
                </a:solidFill>
                <a:latin typeface="Calibri" panose="020F0502020204030204"/>
                <a:cs typeface="Arial"/>
              </a:rPr>
              <a:t>Acknowledging work on some opportunities has commenced, preceding this </a:t>
            </a:r>
            <a:r>
              <a:rPr lang="en-US" sz="1000" kern="0" dirty="0" smtClean="0">
                <a:solidFill>
                  <a:prstClr val="black"/>
                </a:solidFill>
                <a:latin typeface="Calibri" panose="020F0502020204030204"/>
                <a:cs typeface="Arial"/>
              </a:rPr>
              <a:t>Plan.</a:t>
            </a:r>
            <a:endParaRPr lang="en-US" sz="1000" kern="0" dirty="0">
              <a:solidFill>
                <a:prstClr val="black"/>
              </a:solidFill>
              <a:latin typeface="Calibri" panose="020F0502020204030204"/>
              <a:cs typeface="Arial"/>
            </a:endParaRPr>
          </a:p>
        </p:txBody>
      </p:sp>
      <p:sp>
        <p:nvSpPr>
          <p:cNvPr id="5" name="Slide Number Placeholder 4">
            <a:extLst>
              <a:ext uri="{FF2B5EF4-FFF2-40B4-BE49-F238E27FC236}">
                <a16:creationId xmlns:a16="http://schemas.microsoft.com/office/drawing/2014/main" id="{9408D8A8-1684-D4A9-1DF9-DB7480B9ABB5}"/>
              </a:ext>
            </a:extLst>
          </p:cNvPr>
          <p:cNvSpPr>
            <a:spLocks noGrp="1"/>
          </p:cNvSpPr>
          <p:nvPr>
            <p:ph type="sldNum" sz="quarter" idx="12"/>
          </p:nvPr>
        </p:nvSpPr>
        <p:spPr/>
        <p:txBody>
          <a:bodyPr/>
          <a:lstStyle/>
          <a:p>
            <a:fld id="{C0F55C17-AF72-40D4-ADBD-B5505DEBF9BA}" type="slidenum">
              <a:rPr lang="en-AU" smtClean="0"/>
              <a:t>25</a:t>
            </a:fld>
            <a:endParaRPr lang="en-US" dirty="0"/>
          </a:p>
        </p:txBody>
      </p:sp>
      <p:sp>
        <p:nvSpPr>
          <p:cNvPr id="3" name="Footer Placeholder 2">
            <a:extLst>
              <a:ext uri="{FF2B5EF4-FFF2-40B4-BE49-F238E27FC236}">
                <a16:creationId xmlns:a16="http://schemas.microsoft.com/office/drawing/2014/main" id="{95182D70-6E82-63B7-68A3-8BC41870DAB1}"/>
              </a:ext>
            </a:extLst>
          </p:cNvPr>
          <p:cNvSpPr>
            <a:spLocks noGrp="1"/>
          </p:cNvSpPr>
          <p:nvPr>
            <p:ph type="ftr" sz="quarter" idx="11"/>
          </p:nvPr>
        </p:nvSpPr>
        <p:spPr>
          <a:xfrm>
            <a:off x="1172187" y="6454320"/>
            <a:ext cx="6783813" cy="180000"/>
          </a:xfrm>
        </p:spPr>
        <p:txBody>
          <a:bodyPr/>
          <a:lstStyle/>
          <a:p>
            <a:pPr algn="ctr"/>
            <a:r>
              <a:rPr lang="en-AU" smtClean="0"/>
              <a:t>NDIS Commission Workforce Plan 2023-2028</a:t>
            </a:r>
            <a:endParaRPr lang="en-US" dirty="0"/>
          </a:p>
        </p:txBody>
      </p:sp>
      <p:sp>
        <p:nvSpPr>
          <p:cNvPr id="27" name="TextBox 26">
            <a:extLst>
              <a:ext uri="{FF2B5EF4-FFF2-40B4-BE49-F238E27FC236}">
                <a16:creationId xmlns:a16="http://schemas.microsoft.com/office/drawing/2014/main" id="{D5329FCD-A874-4478-814E-6AA1993FE8FA}"/>
              </a:ext>
            </a:extLst>
          </p:cNvPr>
          <p:cNvSpPr txBox="1"/>
          <p:nvPr/>
        </p:nvSpPr>
        <p:spPr>
          <a:xfrm>
            <a:off x="500150" y="1919650"/>
            <a:ext cx="5735187" cy="4862870"/>
          </a:xfrm>
          <a:prstGeom prst="rect">
            <a:avLst/>
          </a:prstGeom>
          <a:noFill/>
        </p:spPr>
        <p:txBody>
          <a:bodyPr wrap="square" lIns="91440" tIns="45720" rIns="91440" bIns="45720" rtlCol="0" anchor="t">
            <a:spAutoFit/>
          </a:bodyPr>
          <a:lstStyle/>
          <a:p>
            <a:pPr>
              <a:spcBef>
                <a:spcPts val="600"/>
              </a:spcBef>
              <a:buClr>
                <a:srgbClr val="000000"/>
              </a:buClr>
              <a:defRPr/>
            </a:pPr>
            <a:r>
              <a:rPr lang="en-AU" sz="1000" b="1" dirty="0">
                <a:solidFill>
                  <a:schemeClr val="tx2"/>
                </a:solidFill>
                <a:latin typeface="Calibri" panose="020F0502020204030204"/>
              </a:rPr>
              <a:t>Harness existing best practice and iterate (New!) </a:t>
            </a:r>
          </a:p>
          <a:p>
            <a:pPr marL="171450" indent="-171450">
              <a:spcBef>
                <a:spcPts val="600"/>
              </a:spcBef>
              <a:buClr>
                <a:srgbClr val="000000"/>
              </a:buClr>
              <a:buFont typeface="Arial" panose="020B0604020202020204" pitchFamily="34" charset="0"/>
              <a:buChar char="•"/>
              <a:defRPr/>
            </a:pPr>
            <a:r>
              <a:rPr lang="en-AU" sz="1000" b="1" dirty="0"/>
              <a:t>A ‘working well’ initiative to share and learn from the experiences of teams having success across the Commission in staff attraction, engagement, retention </a:t>
            </a:r>
            <a:r>
              <a:rPr lang="en-AU" sz="1000" dirty="0"/>
              <a:t>– what are they getting right, how are they doing it, what are their teams saying and how can that experience be replicated to incrementally enhance outcomes across the Commission. This could be done through focus groups as well as dedicating a portion of the SLT Forum agenda to interactive ‘speed sharing’ round tables where SLT members can join 1-5 groups discussing different areas of interest and taking some tips and tricks away that they may choose to implement in their own teams .</a:t>
            </a:r>
            <a:endParaRPr lang="en-AU" sz="1000" b="1" dirty="0">
              <a:solidFill>
                <a:schemeClr val="accent4"/>
              </a:solidFill>
              <a:latin typeface="Calibri" panose="020F0502020204030204"/>
            </a:endParaRPr>
          </a:p>
          <a:p>
            <a:pPr>
              <a:spcBef>
                <a:spcPts val="600"/>
              </a:spcBef>
              <a:buClr>
                <a:srgbClr val="000000"/>
              </a:buClr>
              <a:defRPr/>
            </a:pPr>
            <a:r>
              <a:rPr lang="en-AU" sz="1000" b="1" dirty="0">
                <a:solidFill>
                  <a:schemeClr val="accent6"/>
                </a:solidFill>
                <a:latin typeface="Calibri" panose="020F0502020204030204"/>
              </a:rPr>
              <a:t>Continue building diverse talent pipelines (Existing) </a:t>
            </a:r>
            <a:endParaRPr lang="en-AU" sz="1000" dirty="0">
              <a:solidFill>
                <a:schemeClr val="accent6"/>
              </a:solidFill>
            </a:endParaRPr>
          </a:p>
          <a:p>
            <a:pPr marL="171450" indent="-171450">
              <a:spcBef>
                <a:spcPts val="600"/>
              </a:spcBef>
              <a:buClr>
                <a:srgbClr val="000000"/>
              </a:buClr>
              <a:buFont typeface="Arial" panose="020B0604020202020204" pitchFamily="34" charset="0"/>
              <a:buChar char="•"/>
              <a:defRPr/>
            </a:pPr>
            <a:r>
              <a:rPr lang="en-AU" sz="1000" b="1" dirty="0"/>
              <a:t>Attract more university students nearing the end of their degrees </a:t>
            </a:r>
            <a:r>
              <a:rPr lang="en-AU" sz="1000" dirty="0"/>
              <a:t>to help with capacity and build capability and early career pathways through placements (behavioural support), vacation opportunities and internships (compliance, reportable incidents). Pilot a small number of placements by exploring existing professional networks of the Commission’s Senior Leaders, expanding the network beyond the existing arrangement with ANU to other tertiary institutions such as Western Sydney University, Macquarie University. The Commission could identify institutions that are both geographically co-located near offices and/or offering area of study in high demand by the Commission. Areas of study, could include; public relations, allied health, education, social services, consumer engagement and ICT.</a:t>
            </a:r>
          </a:p>
          <a:p>
            <a:pPr marL="171450" indent="-171450">
              <a:spcBef>
                <a:spcPts val="600"/>
              </a:spcBef>
              <a:buClr>
                <a:srgbClr val="000000"/>
              </a:buClr>
              <a:buFont typeface="Arial" panose="020B0604020202020204" pitchFamily="34" charset="0"/>
              <a:buChar char="•"/>
              <a:defRPr/>
            </a:pPr>
            <a:r>
              <a:rPr lang="en-US" sz="1000" b="1" dirty="0"/>
              <a:t>Increase diversity of the candidate pool by introducing increased flexibility and remote work optionality. </a:t>
            </a:r>
            <a:r>
              <a:rPr lang="en-US" sz="1000" dirty="0"/>
              <a:t>This could include</a:t>
            </a:r>
            <a:r>
              <a:rPr lang="en-US" sz="1000" b="1" dirty="0"/>
              <a:t> communicating and advertising roles </a:t>
            </a:r>
            <a:r>
              <a:rPr lang="en-US" sz="1000" dirty="0"/>
              <a:t>with</a:t>
            </a:r>
            <a:r>
              <a:rPr lang="en-US" sz="1000" b="1" dirty="0"/>
              <a:t> flexible work arrangements and </a:t>
            </a:r>
            <a:r>
              <a:rPr lang="en-US" sz="1000" dirty="0"/>
              <a:t>including</a:t>
            </a:r>
            <a:r>
              <a:rPr lang="en-US" sz="1000" b="1" dirty="0"/>
              <a:t> </a:t>
            </a:r>
            <a:r>
              <a:rPr lang="en-US" sz="1000" dirty="0"/>
              <a:t>multiple locations; to support attracting talent from a range of geographical locations. </a:t>
            </a:r>
            <a:endParaRPr lang="en-US" sz="1000" dirty="0">
              <a:cs typeface="Calibri"/>
            </a:endParaRPr>
          </a:p>
          <a:p>
            <a:pPr marL="171450" indent="-171450">
              <a:spcBef>
                <a:spcPts val="600"/>
              </a:spcBef>
              <a:buClr>
                <a:srgbClr val="000000"/>
              </a:buClr>
              <a:buFont typeface="Arial" panose="020B0604020202020204" pitchFamily="34" charset="0"/>
              <a:buChar char="•"/>
              <a:defRPr/>
            </a:pPr>
            <a:r>
              <a:rPr lang="en-US" sz="1000" b="1" dirty="0"/>
              <a:t>Trial LinkedIn Recruiter </a:t>
            </a:r>
            <a:r>
              <a:rPr lang="en-US" sz="1000" dirty="0"/>
              <a:t>to access a wider talent pool and build a candidate pipeline </a:t>
            </a:r>
            <a:endParaRPr lang="en-AU" sz="1000" dirty="0"/>
          </a:p>
          <a:p>
            <a:pPr>
              <a:spcBef>
                <a:spcPts val="600"/>
              </a:spcBef>
              <a:buClr>
                <a:srgbClr val="000000"/>
              </a:buClr>
              <a:defRPr/>
            </a:pPr>
            <a:r>
              <a:rPr lang="en-AU" sz="1000" b="1" dirty="0">
                <a:solidFill>
                  <a:schemeClr val="accent4"/>
                </a:solidFill>
              </a:rPr>
              <a:t>Employee exiting insights and data (New!)</a:t>
            </a:r>
            <a:endParaRPr lang="en-AU" sz="1000" b="1" dirty="0">
              <a:solidFill>
                <a:schemeClr val="accent4"/>
              </a:solidFill>
              <a:cs typeface="Calibri"/>
            </a:endParaRPr>
          </a:p>
          <a:p>
            <a:pPr marL="171450" indent="-171450">
              <a:spcBef>
                <a:spcPts val="600"/>
              </a:spcBef>
              <a:buClr>
                <a:srgbClr val="000000"/>
              </a:buClr>
              <a:buFont typeface="Arial" panose="020B0604020202020204" pitchFamily="34" charset="0"/>
              <a:buChar char="•"/>
              <a:defRPr/>
            </a:pPr>
            <a:r>
              <a:rPr lang="en-AU" sz="1000" b="1" dirty="0"/>
              <a:t>Develop and implement an exit survey including offer of exit interview </a:t>
            </a:r>
            <a:r>
              <a:rPr lang="en-AU" sz="1000" dirty="0"/>
              <a:t>as a first step to enhancing availability of workforce sentiment surrounding staff retention and turnover. The short survey (8-10 questions), would be sent and managed centrally by the People team when notified of resignation.</a:t>
            </a:r>
            <a:endParaRPr lang="en-US" sz="1000" b="1" dirty="0"/>
          </a:p>
          <a:p>
            <a:pPr>
              <a:spcBef>
                <a:spcPts val="600"/>
              </a:spcBef>
              <a:buClr>
                <a:srgbClr val="000000"/>
              </a:buClr>
              <a:defRPr/>
            </a:pPr>
            <a:endParaRPr lang="en-AU" sz="1000" dirty="0"/>
          </a:p>
        </p:txBody>
      </p:sp>
      <p:sp>
        <p:nvSpPr>
          <p:cNvPr id="28" name="TextBox 27">
            <a:extLst>
              <a:ext uri="{FF2B5EF4-FFF2-40B4-BE49-F238E27FC236}">
                <a16:creationId xmlns:a16="http://schemas.microsoft.com/office/drawing/2014/main" id="{C369EDEC-0929-4662-BFD3-5D969179934B}"/>
              </a:ext>
            </a:extLst>
          </p:cNvPr>
          <p:cNvSpPr txBox="1"/>
          <p:nvPr/>
        </p:nvSpPr>
        <p:spPr>
          <a:xfrm>
            <a:off x="6542774" y="1859783"/>
            <a:ext cx="5268876" cy="4862870"/>
          </a:xfrm>
          <a:prstGeom prst="rect">
            <a:avLst/>
          </a:prstGeom>
          <a:noFill/>
        </p:spPr>
        <p:txBody>
          <a:bodyPr wrap="square" lIns="91440" tIns="45720" rIns="91440" bIns="45720" rtlCol="0" anchor="t">
            <a:spAutoFit/>
          </a:bodyPr>
          <a:lstStyle/>
          <a:p>
            <a:pPr>
              <a:spcBef>
                <a:spcPts val="600"/>
              </a:spcBef>
              <a:buClr>
                <a:srgbClr val="000000"/>
              </a:buClr>
              <a:defRPr/>
            </a:pPr>
            <a:r>
              <a:rPr lang="en-AU" sz="1000" b="1" dirty="0">
                <a:solidFill>
                  <a:schemeClr val="tx2"/>
                </a:solidFill>
                <a:latin typeface="Calibri" panose="020F0502020204030204"/>
              </a:rPr>
              <a:t>One Commission new starter induction program (Existing)</a:t>
            </a:r>
            <a:endParaRPr lang="en-AU" sz="1000" b="1" dirty="0">
              <a:solidFill>
                <a:schemeClr val="tx2"/>
              </a:solidFill>
            </a:endParaRPr>
          </a:p>
          <a:p>
            <a:pPr marL="171450" indent="-171450">
              <a:spcBef>
                <a:spcPts val="600"/>
              </a:spcBef>
              <a:buClr>
                <a:srgbClr val="000000"/>
              </a:buClr>
              <a:buFont typeface="Arial" panose="020B0604020202020204" pitchFamily="34" charset="0"/>
              <a:buChar char="•"/>
              <a:defRPr/>
            </a:pPr>
            <a:r>
              <a:rPr lang="en-AU" sz="1000" b="1" dirty="0"/>
              <a:t>Kick off a light version of the induction program </a:t>
            </a:r>
            <a:r>
              <a:rPr lang="en-AU" sz="1000" dirty="0"/>
              <a:t>for all new starters commencing at the Commission to support building consistency of a one commission mindset, organisational purpose, roles and responsibilities of functions, support new connections as well as setting expectations and introducing core professional capabilities around risk, regulation and disability awareness. Pilot condensing the recommended timings for the </a:t>
            </a:r>
            <a:r>
              <a:rPr lang="en-AU" sz="1000" dirty="0" smtClean="0"/>
              <a:t>modules</a:t>
            </a:r>
            <a:r>
              <a:rPr lang="en-AU" sz="1000" b="1" dirty="0" smtClean="0"/>
              <a:t> </a:t>
            </a:r>
            <a:r>
              <a:rPr lang="en-AU" sz="1000" dirty="0"/>
              <a:t>and running the program once monthly for half a day. This induction program can be expanded overtime forming part of an </a:t>
            </a:r>
            <a:r>
              <a:rPr lang="en-AU" sz="1000" dirty="0" smtClean="0"/>
              <a:t>on boarding </a:t>
            </a:r>
            <a:r>
              <a:rPr lang="en-AU" sz="1000" dirty="0"/>
              <a:t>program, by the incorporating additional content, including interactive activities and involving guest speakers presenting different elements of each modules</a:t>
            </a:r>
            <a:endParaRPr lang="en-AU" sz="1000" dirty="0">
              <a:cs typeface="Calibri"/>
            </a:endParaRPr>
          </a:p>
          <a:p>
            <a:pPr>
              <a:spcBef>
                <a:spcPts val="600"/>
              </a:spcBef>
              <a:buClr>
                <a:srgbClr val="000000"/>
              </a:buClr>
              <a:defRPr/>
            </a:pPr>
            <a:r>
              <a:rPr lang="en-AU" sz="1000" b="1" dirty="0">
                <a:solidFill>
                  <a:schemeClr val="bg2">
                    <a:lumMod val="25000"/>
                  </a:schemeClr>
                </a:solidFill>
              </a:rPr>
              <a:t>Employee recognition </a:t>
            </a:r>
            <a:endParaRPr lang="en-AU" sz="1000" b="1" dirty="0">
              <a:solidFill>
                <a:schemeClr val="bg2">
                  <a:lumMod val="25000"/>
                </a:schemeClr>
              </a:solidFill>
              <a:highlight>
                <a:srgbClr val="FFFF00"/>
              </a:highlight>
              <a:cs typeface="Calibri"/>
            </a:endParaRPr>
          </a:p>
          <a:p>
            <a:pPr marL="171450" indent="-171450">
              <a:spcBef>
                <a:spcPts val="600"/>
              </a:spcBef>
              <a:buClr>
                <a:srgbClr val="000000"/>
              </a:buClr>
              <a:buFont typeface="Arial" panose="020B0604020202020204" pitchFamily="34" charset="0"/>
              <a:buChar char="•"/>
              <a:defRPr/>
            </a:pPr>
            <a:r>
              <a:rPr lang="en-AU" sz="1000" dirty="0"/>
              <a:t>Leverage the existing employee reward and recognition program to establish a regular cadence of </a:t>
            </a:r>
            <a:r>
              <a:rPr lang="en-AU" sz="1000" b="1" dirty="0"/>
              <a:t>celebrating and recognising team members</a:t>
            </a:r>
            <a:r>
              <a:rPr lang="en-AU" sz="1000" dirty="0"/>
              <a:t>. This can be done in line with the </a:t>
            </a:r>
            <a:r>
              <a:rPr lang="en-AU" sz="1000" dirty="0" smtClean="0"/>
              <a:t>Commission’s </a:t>
            </a:r>
            <a:r>
              <a:rPr lang="en-AU" sz="1000" dirty="0"/>
              <a:t>five cultural principles; </a:t>
            </a:r>
            <a:r>
              <a:rPr kumimoji="0" lang="en-AU" sz="1000" b="0" i="0" u="none" strike="noStrike" kern="1200" cap="none" spc="-25" normalizeH="0" baseline="0" noProof="0" dirty="0">
                <a:ln>
                  <a:noFill/>
                </a:ln>
                <a:effectLst/>
                <a:uLnTx/>
                <a:uFillTx/>
                <a:ea typeface="+mn-ea"/>
                <a:cs typeface="Arial"/>
              </a:rPr>
              <a:t>Impartial; Committed to service; Accountable; Respectful and Ethical.</a:t>
            </a:r>
            <a:r>
              <a:rPr lang="en-AU" sz="1000" dirty="0"/>
              <a:t> As a first step this can be introduce at team meetings, with leaders giving ‘shout outs’ and recognising the contribution of employees. Opportunities can be opened up to the meeting and anyone else wanting to recognise other team members. </a:t>
            </a:r>
            <a:endParaRPr lang="en-AU" sz="1000" dirty="0">
              <a:cs typeface="Calibri"/>
            </a:endParaRPr>
          </a:p>
          <a:p>
            <a:pPr>
              <a:spcBef>
                <a:spcPts val="600"/>
              </a:spcBef>
              <a:buClr>
                <a:srgbClr val="000000"/>
              </a:buClr>
              <a:defRPr/>
            </a:pPr>
            <a:r>
              <a:rPr lang="en-AU" sz="1000" b="1" dirty="0">
                <a:solidFill>
                  <a:schemeClr val="bg2">
                    <a:lumMod val="25000"/>
                  </a:schemeClr>
                </a:solidFill>
              </a:rPr>
              <a:t>Understanding of roles and responsibilities around the Commission (New!)</a:t>
            </a:r>
            <a:endParaRPr lang="en-AU" sz="1000" b="1" dirty="0">
              <a:solidFill>
                <a:schemeClr val="bg2">
                  <a:lumMod val="25000"/>
                </a:schemeClr>
              </a:solidFill>
              <a:cs typeface="Calibri"/>
            </a:endParaRPr>
          </a:p>
          <a:p>
            <a:pPr marL="171450" indent="-171450">
              <a:spcBef>
                <a:spcPts val="600"/>
              </a:spcBef>
              <a:buClr>
                <a:srgbClr val="000000"/>
              </a:buClr>
              <a:buFont typeface="Arial" panose="020B0604020202020204" pitchFamily="34" charset="0"/>
              <a:buChar char="•"/>
              <a:defRPr/>
            </a:pPr>
            <a:r>
              <a:rPr lang="en-AU" sz="1000" dirty="0">
                <a:latin typeface="Calibri" panose="020F0502020204030204"/>
                <a:cs typeface="Calibri Light"/>
              </a:rPr>
              <a:t>Create a shared understanding </a:t>
            </a:r>
            <a:r>
              <a:rPr lang="en-AU" sz="1000" b="0" dirty="0">
                <a:latin typeface="Calibri" panose="020F0502020204030204"/>
                <a:cs typeface="Calibri Light"/>
              </a:rPr>
              <a:t>of how everyone contributes to our purpose and ambition by </a:t>
            </a:r>
            <a:r>
              <a:rPr lang="en-US" sz="1000" b="1" dirty="0"/>
              <a:t>having each business area develop and publish a slide pack </a:t>
            </a:r>
            <a:r>
              <a:rPr lang="en-US" sz="1000" dirty="0"/>
              <a:t>or short video on who they are and what they do and how their area operates. This can be used as an onboarding resource while a more formalised program is developed.</a:t>
            </a:r>
            <a:endParaRPr lang="en-US" sz="1000" dirty="0">
              <a:cs typeface="Calibri"/>
            </a:endParaRPr>
          </a:p>
          <a:p>
            <a:pPr>
              <a:spcBef>
                <a:spcPts val="600"/>
              </a:spcBef>
              <a:buClr>
                <a:srgbClr val="000000"/>
              </a:buClr>
              <a:defRPr/>
            </a:pPr>
            <a:r>
              <a:rPr lang="en-US" sz="1000" b="1" dirty="0">
                <a:solidFill>
                  <a:schemeClr val="accent3"/>
                </a:solidFill>
              </a:rPr>
              <a:t>Learning and development (New!)</a:t>
            </a:r>
            <a:endParaRPr lang="en-US" sz="1000" b="1" dirty="0">
              <a:solidFill>
                <a:schemeClr val="accent3"/>
              </a:solidFill>
              <a:cs typeface="Calibri"/>
            </a:endParaRPr>
          </a:p>
          <a:p>
            <a:pPr marL="171450" indent="-171450">
              <a:spcBef>
                <a:spcPts val="600"/>
              </a:spcBef>
              <a:buClr>
                <a:srgbClr val="000000"/>
              </a:buClr>
              <a:buFont typeface="Arial" panose="020B0604020202020204" pitchFamily="34" charset="0"/>
              <a:buChar char="•"/>
              <a:defRPr/>
            </a:pPr>
            <a:r>
              <a:rPr lang="en-US" sz="1000" dirty="0"/>
              <a:t>Implement </a:t>
            </a:r>
            <a:r>
              <a:rPr lang="en-US" sz="1000" b="1" dirty="0"/>
              <a:t>protected learning time,</a:t>
            </a:r>
            <a:r>
              <a:rPr lang="en-US" sz="1000" dirty="0"/>
              <a:t> for all employees across the commission</a:t>
            </a:r>
            <a:r>
              <a:rPr lang="en-US" sz="1000" b="1" dirty="0"/>
              <a:t> where calendars are blocked out for x number of hours </a:t>
            </a:r>
            <a:r>
              <a:rPr lang="en-US" sz="1000" dirty="0"/>
              <a:t>periodically, for focus time on learning and development.</a:t>
            </a:r>
            <a:endParaRPr lang="en-US" sz="1000" dirty="0">
              <a:cs typeface="Calibri"/>
            </a:endParaRPr>
          </a:p>
          <a:p>
            <a:pPr>
              <a:spcBef>
                <a:spcPts val="600"/>
              </a:spcBef>
              <a:buClr>
                <a:srgbClr val="000000"/>
              </a:buClr>
              <a:defRPr/>
            </a:pPr>
            <a:endParaRPr lang="en-US" sz="1000" dirty="0"/>
          </a:p>
        </p:txBody>
      </p:sp>
    </p:spTree>
    <p:extLst>
      <p:ext uri="{BB962C8B-B14F-4D97-AF65-F5344CB8AC3E}">
        <p14:creationId xmlns:p14="http://schemas.microsoft.com/office/powerpoint/2010/main" val="41138293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Google Shape;6531;p147">
            <a:extLst>
              <a:ext uri="{FF2B5EF4-FFF2-40B4-BE49-F238E27FC236}">
                <a16:creationId xmlns:a16="http://schemas.microsoft.com/office/drawing/2014/main" id="{7A7609B2-6CE0-405F-8CA6-C3776FABB53F}"/>
              </a:ext>
            </a:extLst>
          </p:cNvPr>
          <p:cNvSpPr/>
          <p:nvPr/>
        </p:nvSpPr>
        <p:spPr>
          <a:xfrm>
            <a:off x="1347915" y="2851790"/>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1</a:t>
            </a:r>
            <a:endParaRPr lang="en-GB" sz="1000" dirty="0">
              <a:solidFill>
                <a:schemeClr val="bg1"/>
              </a:solidFill>
            </a:endParaRPr>
          </a:p>
        </p:txBody>
      </p:sp>
      <p:sp>
        <p:nvSpPr>
          <p:cNvPr id="61" name="Google Shape;6532;p147">
            <a:extLst>
              <a:ext uri="{FF2B5EF4-FFF2-40B4-BE49-F238E27FC236}">
                <a16:creationId xmlns:a16="http://schemas.microsoft.com/office/drawing/2014/main" id="{6A1666B1-24C9-4512-AB53-F7342EFC3995}"/>
              </a:ext>
            </a:extLst>
          </p:cNvPr>
          <p:cNvSpPr/>
          <p:nvPr/>
        </p:nvSpPr>
        <p:spPr>
          <a:xfrm>
            <a:off x="1292257" y="2393431"/>
            <a:ext cx="771414" cy="855482"/>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rtl="0">
              <a:spcBef>
                <a:spcPts val="0"/>
              </a:spcBef>
              <a:spcAft>
                <a:spcPts val="0"/>
              </a:spcAft>
              <a:buNone/>
            </a:pPr>
            <a:r>
              <a:rPr lang="en-GB" sz="900" dirty="0">
                <a:solidFill>
                  <a:schemeClr val="dk1"/>
                </a:solidFill>
                <a:ea typeface="Arial"/>
                <a:cs typeface="Arial"/>
                <a:sym typeface="Arial"/>
              </a:rPr>
              <a:t>New starter induction and </a:t>
            </a:r>
            <a:r>
              <a:rPr lang="en-GB" sz="900" dirty="0" smtClean="0">
                <a:solidFill>
                  <a:schemeClr val="dk1"/>
                </a:solidFill>
                <a:ea typeface="Arial"/>
                <a:cs typeface="Arial"/>
                <a:sym typeface="Arial"/>
              </a:rPr>
              <a:t>on boarding</a:t>
            </a:r>
            <a:endParaRPr lang="en-GB" sz="900" dirty="0">
              <a:solidFill>
                <a:schemeClr val="dk1"/>
              </a:solidFill>
              <a:ea typeface="Arial"/>
              <a:cs typeface="Arial"/>
              <a:sym typeface="Arial"/>
            </a:endParaRPr>
          </a:p>
        </p:txBody>
      </p:sp>
      <p:cxnSp>
        <p:nvCxnSpPr>
          <p:cNvPr id="78" name="Google Shape;6549;p147">
            <a:extLst>
              <a:ext uri="{FF2B5EF4-FFF2-40B4-BE49-F238E27FC236}">
                <a16:creationId xmlns:a16="http://schemas.microsoft.com/office/drawing/2014/main" id="{5D2E6BB8-4408-4C10-8038-FD293DCACEA4}"/>
              </a:ext>
            </a:extLst>
          </p:cNvPr>
          <p:cNvCxnSpPr>
            <a:cxnSpLocks/>
            <a:stCxn id="88" idx="6"/>
          </p:cNvCxnSpPr>
          <p:nvPr/>
        </p:nvCxnSpPr>
        <p:spPr>
          <a:xfrm flipV="1">
            <a:off x="647164" y="5085983"/>
            <a:ext cx="10238304" cy="34260"/>
          </a:xfrm>
          <a:prstGeom prst="straightConnector1">
            <a:avLst/>
          </a:prstGeom>
          <a:noFill/>
          <a:ln w="38100" cap="flat" cmpd="sng">
            <a:solidFill>
              <a:schemeClr val="dk2"/>
            </a:solidFill>
            <a:prstDash val="solid"/>
            <a:round/>
            <a:headEnd type="none" w="sm" len="sm"/>
            <a:tailEnd type="triangle" w="med" len="med"/>
          </a:ln>
        </p:spPr>
      </p:cxnSp>
      <p:sp>
        <p:nvSpPr>
          <p:cNvPr id="84" name="Google Shape;6553;p147">
            <a:extLst>
              <a:ext uri="{FF2B5EF4-FFF2-40B4-BE49-F238E27FC236}">
                <a16:creationId xmlns:a16="http://schemas.microsoft.com/office/drawing/2014/main" id="{24CF0073-FA82-48FD-90A2-E5A7B92FBA0D}"/>
              </a:ext>
            </a:extLst>
          </p:cNvPr>
          <p:cNvSpPr/>
          <p:nvPr/>
        </p:nvSpPr>
        <p:spPr>
          <a:xfrm>
            <a:off x="2112681" y="2393432"/>
            <a:ext cx="803674" cy="588564"/>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ea typeface="Arial"/>
                <a:cs typeface="Arial"/>
                <a:sym typeface="Arial"/>
              </a:rPr>
              <a:t>Core </a:t>
            </a:r>
            <a:r>
              <a:rPr lang="en-GB" sz="900" dirty="0">
                <a:solidFill>
                  <a:schemeClr val="dk1"/>
                </a:solidFill>
                <a:cs typeface="Arial"/>
                <a:sym typeface="Arial"/>
              </a:rPr>
              <a:t>capability program </a:t>
            </a:r>
          </a:p>
        </p:txBody>
      </p:sp>
      <p:sp>
        <p:nvSpPr>
          <p:cNvPr id="88" name="Google Shape;6551;p147">
            <a:extLst>
              <a:ext uri="{FF2B5EF4-FFF2-40B4-BE49-F238E27FC236}">
                <a16:creationId xmlns:a16="http://schemas.microsoft.com/office/drawing/2014/main" id="{2FCF803E-2E86-4A9C-93DC-A50288565707}"/>
              </a:ext>
            </a:extLst>
          </p:cNvPr>
          <p:cNvSpPr/>
          <p:nvPr/>
        </p:nvSpPr>
        <p:spPr>
          <a:xfrm>
            <a:off x="500150" y="5033610"/>
            <a:ext cx="147014" cy="173265"/>
          </a:xfrm>
          <a:prstGeom prst="ellipse">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700" dirty="0">
              <a:solidFill>
                <a:schemeClr val="lt1"/>
              </a:solidFill>
              <a:latin typeface="Arial"/>
              <a:ea typeface="Arial"/>
              <a:cs typeface="Arial"/>
              <a:sym typeface="Arial"/>
            </a:endParaRPr>
          </a:p>
        </p:txBody>
      </p:sp>
      <p:sp>
        <p:nvSpPr>
          <p:cNvPr id="89" name="Google Shape;6561;p147">
            <a:extLst>
              <a:ext uri="{FF2B5EF4-FFF2-40B4-BE49-F238E27FC236}">
                <a16:creationId xmlns:a16="http://schemas.microsoft.com/office/drawing/2014/main" id="{4715E82C-5533-4E23-B9C7-79FAC71A6239}"/>
              </a:ext>
            </a:extLst>
          </p:cNvPr>
          <p:cNvSpPr/>
          <p:nvPr/>
        </p:nvSpPr>
        <p:spPr>
          <a:xfrm>
            <a:off x="2975346" y="2393431"/>
            <a:ext cx="803674" cy="1387378"/>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AU" sz="900" dirty="0">
                <a:solidFill>
                  <a:schemeClr val="dk1"/>
                </a:solidFill>
                <a:ea typeface="Arial"/>
                <a:cs typeface="Arial"/>
                <a:sym typeface="Arial"/>
              </a:rPr>
              <a:t>Performance management framework and planning processes</a:t>
            </a:r>
          </a:p>
        </p:txBody>
      </p:sp>
      <p:sp>
        <p:nvSpPr>
          <p:cNvPr id="93" name="Google Shape;6564;p147">
            <a:extLst>
              <a:ext uri="{FF2B5EF4-FFF2-40B4-BE49-F238E27FC236}">
                <a16:creationId xmlns:a16="http://schemas.microsoft.com/office/drawing/2014/main" id="{441D4FB2-0EC1-4EB6-80E4-CC3A6F141DD7}"/>
              </a:ext>
            </a:extLst>
          </p:cNvPr>
          <p:cNvSpPr/>
          <p:nvPr/>
        </p:nvSpPr>
        <p:spPr>
          <a:xfrm>
            <a:off x="3839912" y="2401050"/>
            <a:ext cx="771415" cy="1416882"/>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Early EVP and Workforce data and insights  initiatives </a:t>
            </a:r>
            <a:endParaRPr lang="en-US" sz="900" dirty="0">
              <a:solidFill>
                <a:schemeClr val="dk1"/>
              </a:solidFill>
              <a:cs typeface="Arial"/>
              <a:sym typeface="Arial"/>
            </a:endParaRPr>
          </a:p>
        </p:txBody>
      </p:sp>
      <p:sp>
        <p:nvSpPr>
          <p:cNvPr id="95" name="Google Shape;6566;p147">
            <a:extLst>
              <a:ext uri="{FF2B5EF4-FFF2-40B4-BE49-F238E27FC236}">
                <a16:creationId xmlns:a16="http://schemas.microsoft.com/office/drawing/2014/main" id="{7FAE99C1-4348-4EFA-9DFA-360AEB58CE0C}"/>
              </a:ext>
            </a:extLst>
          </p:cNvPr>
          <p:cNvSpPr/>
          <p:nvPr/>
        </p:nvSpPr>
        <p:spPr>
          <a:xfrm>
            <a:off x="2924730" y="4989624"/>
            <a:ext cx="147014" cy="173265"/>
          </a:xfrm>
          <a:prstGeom prst="ellipse">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700" dirty="0">
              <a:solidFill>
                <a:schemeClr val="lt1"/>
              </a:solidFill>
              <a:latin typeface="Arial"/>
              <a:ea typeface="Arial"/>
              <a:cs typeface="Arial"/>
              <a:sym typeface="Arial"/>
            </a:endParaRPr>
          </a:p>
        </p:txBody>
      </p:sp>
      <p:sp>
        <p:nvSpPr>
          <p:cNvPr id="116" name="Google Shape;6587;p147">
            <a:extLst>
              <a:ext uri="{FF2B5EF4-FFF2-40B4-BE49-F238E27FC236}">
                <a16:creationId xmlns:a16="http://schemas.microsoft.com/office/drawing/2014/main" id="{AB82704B-60C6-4E6C-B0A1-9D1BC30747B7}"/>
              </a:ext>
            </a:extLst>
          </p:cNvPr>
          <p:cNvSpPr/>
          <p:nvPr/>
        </p:nvSpPr>
        <p:spPr>
          <a:xfrm>
            <a:off x="9308366" y="3406176"/>
            <a:ext cx="744645" cy="600742"/>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rtl="0">
              <a:spcBef>
                <a:spcPts val="0"/>
              </a:spcBef>
              <a:spcAft>
                <a:spcPts val="0"/>
              </a:spcAft>
              <a:buNone/>
            </a:pPr>
            <a:r>
              <a:rPr lang="en-GB" sz="900" dirty="0">
                <a:solidFill>
                  <a:schemeClr val="dk1"/>
                </a:solidFill>
                <a:ea typeface="Arial"/>
                <a:cs typeface="Arial"/>
                <a:sym typeface="Arial"/>
              </a:rPr>
              <a:t>National framework </a:t>
            </a:r>
            <a:endParaRPr lang="en-US" sz="900" dirty="0">
              <a:solidFill>
                <a:schemeClr val="dk1"/>
              </a:solidFill>
              <a:ea typeface="Arial"/>
              <a:cs typeface="Arial"/>
              <a:sym typeface="Arial"/>
            </a:endParaRPr>
          </a:p>
        </p:txBody>
      </p:sp>
      <p:cxnSp>
        <p:nvCxnSpPr>
          <p:cNvPr id="159" name="Google Shape;6629;p147">
            <a:extLst>
              <a:ext uri="{FF2B5EF4-FFF2-40B4-BE49-F238E27FC236}">
                <a16:creationId xmlns:a16="http://schemas.microsoft.com/office/drawing/2014/main" id="{4024C571-817F-41FF-8BE2-7DD694DDF978}"/>
              </a:ext>
            </a:extLst>
          </p:cNvPr>
          <p:cNvCxnSpPr>
            <a:cxnSpLocks/>
          </p:cNvCxnSpPr>
          <p:nvPr/>
        </p:nvCxnSpPr>
        <p:spPr>
          <a:xfrm>
            <a:off x="10094962" y="4128244"/>
            <a:ext cx="0" cy="924503"/>
          </a:xfrm>
          <a:prstGeom prst="straightConnector1">
            <a:avLst/>
          </a:prstGeom>
          <a:noFill/>
          <a:ln w="12700" cap="sq" cmpd="sng">
            <a:solidFill>
              <a:schemeClr val="dk2"/>
            </a:solidFill>
            <a:prstDash val="dash"/>
            <a:round/>
            <a:headEnd type="none" w="sm" len="sm"/>
            <a:tailEnd type="none" w="sm" len="sm"/>
          </a:ln>
        </p:spPr>
      </p:cxnSp>
      <p:sp>
        <p:nvSpPr>
          <p:cNvPr id="163" name="Google Shape;6633;p147">
            <a:extLst>
              <a:ext uri="{FF2B5EF4-FFF2-40B4-BE49-F238E27FC236}">
                <a16:creationId xmlns:a16="http://schemas.microsoft.com/office/drawing/2014/main" id="{56EA2F99-5615-44B3-9E62-AAA7CB447024}"/>
              </a:ext>
            </a:extLst>
          </p:cNvPr>
          <p:cNvSpPr/>
          <p:nvPr/>
        </p:nvSpPr>
        <p:spPr>
          <a:xfrm>
            <a:off x="9292133" y="2406016"/>
            <a:ext cx="750040" cy="927775"/>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L="70582" marR="0" lvl="0" indent="-70582" algn="l" rtl="0">
              <a:spcBef>
                <a:spcPts val="0"/>
              </a:spcBef>
              <a:spcAft>
                <a:spcPts val="0"/>
              </a:spcAft>
              <a:buNone/>
            </a:pPr>
            <a:r>
              <a:rPr lang="en-GB" sz="900" dirty="0">
                <a:solidFill>
                  <a:schemeClr val="dk1"/>
                </a:solidFill>
                <a:ea typeface="Arial"/>
                <a:cs typeface="Arial"/>
                <a:sym typeface="Arial"/>
              </a:rPr>
              <a:t>Recruitment</a:t>
            </a:r>
            <a:endParaRPr lang="en-US" sz="900" dirty="0">
              <a:solidFill>
                <a:schemeClr val="dk1"/>
              </a:solidFill>
              <a:ea typeface="Arial"/>
              <a:cs typeface="Arial"/>
              <a:sym typeface="Arial"/>
            </a:endParaRPr>
          </a:p>
        </p:txBody>
      </p:sp>
      <p:sp>
        <p:nvSpPr>
          <p:cNvPr id="172" name="Google Shape;6642;p147">
            <a:extLst>
              <a:ext uri="{FF2B5EF4-FFF2-40B4-BE49-F238E27FC236}">
                <a16:creationId xmlns:a16="http://schemas.microsoft.com/office/drawing/2014/main" id="{D9CDDF19-42E8-4747-AE57-236F0673F219}"/>
              </a:ext>
            </a:extLst>
          </p:cNvPr>
          <p:cNvSpPr/>
          <p:nvPr/>
        </p:nvSpPr>
        <p:spPr>
          <a:xfrm>
            <a:off x="10112875" y="3535617"/>
            <a:ext cx="728437" cy="477565"/>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L="70582" marR="0" lvl="0" indent="-70582" algn="l" rtl="0">
              <a:spcBef>
                <a:spcPts val="0"/>
              </a:spcBef>
              <a:spcAft>
                <a:spcPts val="0"/>
              </a:spcAft>
              <a:buNone/>
            </a:pPr>
            <a:r>
              <a:rPr lang="en-GB" sz="900" dirty="0">
                <a:solidFill>
                  <a:schemeClr val="dk1"/>
                </a:solidFill>
                <a:ea typeface="Arial"/>
                <a:cs typeface="Arial"/>
                <a:sym typeface="Arial"/>
              </a:rPr>
              <a:t>L&amp;D</a:t>
            </a:r>
            <a:endParaRPr lang="en-US" sz="900" dirty="0">
              <a:solidFill>
                <a:schemeClr val="dk1"/>
              </a:solidFill>
              <a:ea typeface="Arial"/>
              <a:cs typeface="Arial"/>
              <a:sym typeface="Arial"/>
            </a:endParaRPr>
          </a:p>
        </p:txBody>
      </p:sp>
      <p:sp>
        <p:nvSpPr>
          <p:cNvPr id="175" name="Google Shape;6645;p147">
            <a:extLst>
              <a:ext uri="{FF2B5EF4-FFF2-40B4-BE49-F238E27FC236}">
                <a16:creationId xmlns:a16="http://schemas.microsoft.com/office/drawing/2014/main" id="{48C6A1E6-D145-4E98-9269-4D28EBCC673D}"/>
              </a:ext>
            </a:extLst>
          </p:cNvPr>
          <p:cNvSpPr/>
          <p:nvPr/>
        </p:nvSpPr>
        <p:spPr>
          <a:xfrm>
            <a:off x="10033917" y="4990703"/>
            <a:ext cx="147014" cy="173265"/>
          </a:xfrm>
          <a:prstGeom prst="ellipse">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700" dirty="0">
              <a:solidFill>
                <a:schemeClr val="lt1"/>
              </a:solidFill>
              <a:latin typeface="Arial"/>
              <a:ea typeface="Arial"/>
              <a:cs typeface="Arial"/>
              <a:sym typeface="Arial"/>
            </a:endParaRPr>
          </a:p>
        </p:txBody>
      </p:sp>
      <p:grpSp>
        <p:nvGrpSpPr>
          <p:cNvPr id="7" name="Group 6">
            <a:extLst>
              <a:ext uri="{FF2B5EF4-FFF2-40B4-BE49-F238E27FC236}">
                <a16:creationId xmlns:a16="http://schemas.microsoft.com/office/drawing/2014/main" id="{9510DE36-86F5-1AD9-D57A-05D58614400A}"/>
              </a:ext>
            </a:extLst>
          </p:cNvPr>
          <p:cNvGrpSpPr/>
          <p:nvPr/>
        </p:nvGrpSpPr>
        <p:grpSpPr>
          <a:xfrm>
            <a:off x="6811491" y="5719235"/>
            <a:ext cx="4961283" cy="639982"/>
            <a:chOff x="4801464" y="6039502"/>
            <a:chExt cx="4961283" cy="639982"/>
          </a:xfrm>
        </p:grpSpPr>
        <p:sp>
          <p:nvSpPr>
            <p:cNvPr id="201" name="Google Shape;6671;p147">
              <a:extLst>
                <a:ext uri="{FF2B5EF4-FFF2-40B4-BE49-F238E27FC236}">
                  <a16:creationId xmlns:a16="http://schemas.microsoft.com/office/drawing/2014/main" id="{9C4684A9-2D1C-4E0C-B3D4-9EA49BCB944B}"/>
                </a:ext>
              </a:extLst>
            </p:cNvPr>
            <p:cNvSpPr/>
            <p:nvPr/>
          </p:nvSpPr>
          <p:spPr>
            <a:xfrm>
              <a:off x="4801464" y="6039502"/>
              <a:ext cx="4961283" cy="639982"/>
            </a:xfrm>
            <a:prstGeom prst="rect">
              <a:avLst/>
            </a:prstGeom>
            <a:solidFill>
              <a:schemeClr val="bg1"/>
            </a:solidFill>
            <a:ln w="9525" cap="flat" cmpd="sng">
              <a:solidFill>
                <a:schemeClr val="lt2"/>
              </a:solidFill>
              <a:prstDash val="dash"/>
              <a:round/>
              <a:headEnd type="none" w="sm" len="sm"/>
              <a:tailEnd type="none" w="sm" len="sm"/>
            </a:ln>
          </p:spPr>
          <p:txBody>
            <a:bodyPr spcFirstLastPara="1" wrap="square" lIns="46175" tIns="30775" rIns="30775" bIns="30775" anchor="t" anchorCtr="0">
              <a:noAutofit/>
            </a:bodyPr>
            <a:lstStyle/>
            <a:p>
              <a:pPr marL="0" marR="0" lvl="0" indent="0" algn="l" rtl="0">
                <a:spcBef>
                  <a:spcPts val="0"/>
                </a:spcBef>
                <a:spcAft>
                  <a:spcPts val="0"/>
                </a:spcAft>
                <a:buNone/>
              </a:pPr>
              <a:r>
                <a:rPr lang="en-GB" sz="700" b="1" dirty="0">
                  <a:solidFill>
                    <a:schemeClr val="dk1"/>
                  </a:solidFill>
                  <a:latin typeface="Arial"/>
                  <a:ea typeface="Arial"/>
                  <a:cs typeface="Arial"/>
                  <a:sym typeface="Arial"/>
                </a:rPr>
                <a:t>KEY</a:t>
              </a:r>
              <a:endParaRPr dirty="0"/>
            </a:p>
          </p:txBody>
        </p:sp>
        <p:grpSp>
          <p:nvGrpSpPr>
            <p:cNvPr id="183" name="Google Shape;6653;p147">
              <a:extLst>
                <a:ext uri="{FF2B5EF4-FFF2-40B4-BE49-F238E27FC236}">
                  <a16:creationId xmlns:a16="http://schemas.microsoft.com/office/drawing/2014/main" id="{46925733-94D0-45FA-8188-E79DC57029A7}"/>
                </a:ext>
              </a:extLst>
            </p:cNvPr>
            <p:cNvGrpSpPr/>
            <p:nvPr/>
          </p:nvGrpSpPr>
          <p:grpSpPr>
            <a:xfrm>
              <a:off x="8602184" y="6287207"/>
              <a:ext cx="1043471" cy="319992"/>
              <a:chOff x="574207" y="6536034"/>
              <a:chExt cx="704362" cy="216000"/>
            </a:xfrm>
          </p:grpSpPr>
          <p:sp>
            <p:nvSpPr>
              <p:cNvPr id="184" name="Google Shape;6654;p147">
                <a:extLst>
                  <a:ext uri="{FF2B5EF4-FFF2-40B4-BE49-F238E27FC236}">
                    <a16:creationId xmlns:a16="http://schemas.microsoft.com/office/drawing/2014/main" id="{045DA4BA-2583-45F3-B671-4DB56658BFF5}"/>
                  </a:ext>
                </a:extLst>
              </p:cNvPr>
              <p:cNvSpPr/>
              <p:nvPr/>
            </p:nvSpPr>
            <p:spPr>
              <a:xfrm>
                <a:off x="574207" y="6536034"/>
                <a:ext cx="214273" cy="216000"/>
              </a:xfrm>
              <a:prstGeom prst="rect">
                <a:avLst/>
              </a:prstGeom>
              <a:solidFill>
                <a:schemeClr val="accent6"/>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85" name="Google Shape;6655;p147">
                <a:extLst>
                  <a:ext uri="{FF2B5EF4-FFF2-40B4-BE49-F238E27FC236}">
                    <a16:creationId xmlns:a16="http://schemas.microsoft.com/office/drawing/2014/main" id="{00BF5E30-2EE4-4EA2-9945-6F062ED50928}"/>
                  </a:ext>
                </a:extLst>
              </p:cNvPr>
              <p:cNvSpPr/>
              <p:nvPr/>
            </p:nvSpPr>
            <p:spPr>
              <a:xfrm>
                <a:off x="819354" y="6536034"/>
                <a:ext cx="459215"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Diversity, Inclusion and Wellbeing pillar </a:t>
                </a:r>
                <a:endParaRPr dirty="0"/>
              </a:p>
            </p:txBody>
          </p:sp>
        </p:grpSp>
        <p:grpSp>
          <p:nvGrpSpPr>
            <p:cNvPr id="186" name="Google Shape;6656;p147">
              <a:extLst>
                <a:ext uri="{FF2B5EF4-FFF2-40B4-BE49-F238E27FC236}">
                  <a16:creationId xmlns:a16="http://schemas.microsoft.com/office/drawing/2014/main" id="{8C893C45-5D7C-4374-88DD-870CCEF8B0DD}"/>
                </a:ext>
              </a:extLst>
            </p:cNvPr>
            <p:cNvGrpSpPr/>
            <p:nvPr/>
          </p:nvGrpSpPr>
          <p:grpSpPr>
            <a:xfrm>
              <a:off x="7630354" y="6286662"/>
              <a:ext cx="1043471" cy="319992"/>
              <a:chOff x="1506889" y="6536034"/>
              <a:chExt cx="704362" cy="216000"/>
            </a:xfrm>
          </p:grpSpPr>
          <p:sp>
            <p:nvSpPr>
              <p:cNvPr id="187" name="Google Shape;6657;p147">
                <a:extLst>
                  <a:ext uri="{FF2B5EF4-FFF2-40B4-BE49-F238E27FC236}">
                    <a16:creationId xmlns:a16="http://schemas.microsoft.com/office/drawing/2014/main" id="{4770EB76-6AE7-485F-8BF3-1F4FC7BD70CC}"/>
                  </a:ext>
                </a:extLst>
              </p:cNvPr>
              <p:cNvSpPr/>
              <p:nvPr/>
            </p:nvSpPr>
            <p:spPr>
              <a:xfrm>
                <a:off x="1506889" y="6536034"/>
                <a:ext cx="214273" cy="216000"/>
              </a:xfrm>
              <a:prstGeom prst="rect">
                <a:avLst/>
              </a:prstGeom>
              <a:solidFill>
                <a:schemeClr val="tx1">
                  <a:lumMod val="50000"/>
                  <a:lumOff val="50000"/>
                </a:schemeClr>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88" name="Google Shape;6658;p147">
                <a:extLst>
                  <a:ext uri="{FF2B5EF4-FFF2-40B4-BE49-F238E27FC236}">
                    <a16:creationId xmlns:a16="http://schemas.microsoft.com/office/drawing/2014/main" id="{9A98BBD4-5B1F-4478-BCB7-43A062EB8D20}"/>
                  </a:ext>
                </a:extLst>
              </p:cNvPr>
              <p:cNvSpPr/>
              <p:nvPr/>
            </p:nvSpPr>
            <p:spPr>
              <a:xfrm>
                <a:off x="1752036" y="6536034"/>
                <a:ext cx="459215"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Performance pillar </a:t>
                </a:r>
                <a:endParaRPr dirty="0"/>
              </a:p>
            </p:txBody>
          </p:sp>
        </p:grpSp>
        <p:grpSp>
          <p:nvGrpSpPr>
            <p:cNvPr id="189" name="Google Shape;6659;p147">
              <a:extLst>
                <a:ext uri="{FF2B5EF4-FFF2-40B4-BE49-F238E27FC236}">
                  <a16:creationId xmlns:a16="http://schemas.microsoft.com/office/drawing/2014/main" id="{FD552190-9AF4-4AEB-831A-B48FCEFC89FE}"/>
                </a:ext>
              </a:extLst>
            </p:cNvPr>
            <p:cNvGrpSpPr/>
            <p:nvPr/>
          </p:nvGrpSpPr>
          <p:grpSpPr>
            <a:xfrm>
              <a:off x="4862650" y="6277748"/>
              <a:ext cx="985540" cy="319992"/>
              <a:chOff x="2439571" y="6536034"/>
              <a:chExt cx="665257" cy="216000"/>
            </a:xfrm>
          </p:grpSpPr>
          <p:sp>
            <p:nvSpPr>
              <p:cNvPr id="190" name="Google Shape;6660;p147">
                <a:extLst>
                  <a:ext uri="{FF2B5EF4-FFF2-40B4-BE49-F238E27FC236}">
                    <a16:creationId xmlns:a16="http://schemas.microsoft.com/office/drawing/2014/main" id="{93103EDD-3617-4B46-9642-8BD997461F77}"/>
                  </a:ext>
                </a:extLst>
              </p:cNvPr>
              <p:cNvSpPr/>
              <p:nvPr/>
            </p:nvSpPr>
            <p:spPr>
              <a:xfrm>
                <a:off x="2439571" y="6536034"/>
                <a:ext cx="214273" cy="216000"/>
              </a:xfrm>
              <a:prstGeom prst="rect">
                <a:avLst/>
              </a:prstGeom>
              <a:solidFill>
                <a:schemeClr val="accent1"/>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91" name="Google Shape;6661;p147">
                <a:extLst>
                  <a:ext uri="{FF2B5EF4-FFF2-40B4-BE49-F238E27FC236}">
                    <a16:creationId xmlns:a16="http://schemas.microsoft.com/office/drawing/2014/main" id="{41C2437D-9A05-44C4-BFD9-7347D9A56AF8}"/>
                  </a:ext>
                </a:extLst>
              </p:cNvPr>
              <p:cNvSpPr/>
              <p:nvPr/>
            </p:nvSpPr>
            <p:spPr>
              <a:xfrm>
                <a:off x="2684719" y="6536034"/>
                <a:ext cx="420109"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Workforce Sustainability pillar</a:t>
                </a:r>
                <a:endParaRPr dirty="0"/>
              </a:p>
            </p:txBody>
          </p:sp>
        </p:grpSp>
        <p:grpSp>
          <p:nvGrpSpPr>
            <p:cNvPr id="192" name="Google Shape;6662;p147">
              <a:extLst>
                <a:ext uri="{FF2B5EF4-FFF2-40B4-BE49-F238E27FC236}">
                  <a16:creationId xmlns:a16="http://schemas.microsoft.com/office/drawing/2014/main" id="{A30A720B-7435-4D5D-AF56-4C2673358D23}"/>
                </a:ext>
              </a:extLst>
            </p:cNvPr>
            <p:cNvGrpSpPr/>
            <p:nvPr/>
          </p:nvGrpSpPr>
          <p:grpSpPr>
            <a:xfrm>
              <a:off x="6828776" y="6286662"/>
              <a:ext cx="902197" cy="319992"/>
              <a:chOff x="3372253" y="6536034"/>
              <a:chExt cx="608999" cy="216000"/>
            </a:xfrm>
          </p:grpSpPr>
          <p:sp>
            <p:nvSpPr>
              <p:cNvPr id="193" name="Google Shape;6663;p147">
                <a:extLst>
                  <a:ext uri="{FF2B5EF4-FFF2-40B4-BE49-F238E27FC236}">
                    <a16:creationId xmlns:a16="http://schemas.microsoft.com/office/drawing/2014/main" id="{B6E02811-923C-4751-827D-86B0FCCF82F0}"/>
                  </a:ext>
                </a:extLst>
              </p:cNvPr>
              <p:cNvSpPr/>
              <p:nvPr/>
            </p:nvSpPr>
            <p:spPr>
              <a:xfrm>
                <a:off x="3372253" y="6536034"/>
                <a:ext cx="214273" cy="216000"/>
              </a:xfrm>
              <a:prstGeom prst="rect">
                <a:avLst/>
              </a:prstGeom>
              <a:solidFill>
                <a:schemeClr val="accent4"/>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94" name="Google Shape;6664;p147">
                <a:extLst>
                  <a:ext uri="{FF2B5EF4-FFF2-40B4-BE49-F238E27FC236}">
                    <a16:creationId xmlns:a16="http://schemas.microsoft.com/office/drawing/2014/main" id="{042AC1B2-3E99-48BC-8D9E-A28C61A92E8A}"/>
                  </a:ext>
                </a:extLst>
              </p:cNvPr>
              <p:cNvSpPr/>
              <p:nvPr/>
            </p:nvSpPr>
            <p:spPr>
              <a:xfrm>
                <a:off x="3617400" y="6536034"/>
                <a:ext cx="363852"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Growth pillar</a:t>
                </a:r>
                <a:endParaRPr dirty="0"/>
              </a:p>
            </p:txBody>
          </p:sp>
        </p:grpSp>
        <p:grpSp>
          <p:nvGrpSpPr>
            <p:cNvPr id="195" name="Google Shape;6665;p147">
              <a:extLst>
                <a:ext uri="{FF2B5EF4-FFF2-40B4-BE49-F238E27FC236}">
                  <a16:creationId xmlns:a16="http://schemas.microsoft.com/office/drawing/2014/main" id="{66A4E5C4-E53D-45D4-9B6B-5EF6EE0CDBC8}"/>
                </a:ext>
              </a:extLst>
            </p:cNvPr>
            <p:cNvGrpSpPr/>
            <p:nvPr/>
          </p:nvGrpSpPr>
          <p:grpSpPr>
            <a:xfrm>
              <a:off x="5932279" y="6286662"/>
              <a:ext cx="902197" cy="319992"/>
              <a:chOff x="4326047" y="6536034"/>
              <a:chExt cx="608999" cy="216000"/>
            </a:xfrm>
          </p:grpSpPr>
          <p:sp>
            <p:nvSpPr>
              <p:cNvPr id="196" name="Google Shape;6666;p147">
                <a:extLst>
                  <a:ext uri="{FF2B5EF4-FFF2-40B4-BE49-F238E27FC236}">
                    <a16:creationId xmlns:a16="http://schemas.microsoft.com/office/drawing/2014/main" id="{C382E477-FBD2-4CB3-A78C-900D9F1E52AF}"/>
                  </a:ext>
                </a:extLst>
              </p:cNvPr>
              <p:cNvSpPr/>
              <p:nvPr/>
            </p:nvSpPr>
            <p:spPr>
              <a:xfrm>
                <a:off x="4326047" y="6536034"/>
                <a:ext cx="214273" cy="216000"/>
              </a:xfrm>
              <a:prstGeom prst="rect">
                <a:avLst/>
              </a:prstGeom>
              <a:solidFill>
                <a:schemeClr val="accent3"/>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97" name="Google Shape;6667;p147">
                <a:extLst>
                  <a:ext uri="{FF2B5EF4-FFF2-40B4-BE49-F238E27FC236}">
                    <a16:creationId xmlns:a16="http://schemas.microsoft.com/office/drawing/2014/main" id="{7BC19327-DA47-4BE8-857F-024B5BF1411E}"/>
                  </a:ext>
                </a:extLst>
              </p:cNvPr>
              <p:cNvSpPr/>
              <p:nvPr/>
            </p:nvSpPr>
            <p:spPr>
              <a:xfrm>
                <a:off x="4571194" y="6536034"/>
                <a:ext cx="363852"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Capability pillar</a:t>
                </a:r>
                <a:endParaRPr dirty="0"/>
              </a:p>
            </p:txBody>
          </p:sp>
        </p:grpSp>
      </p:grpSp>
      <p:sp>
        <p:nvSpPr>
          <p:cNvPr id="115" name="Google Shape;3374;p232">
            <a:extLst>
              <a:ext uri="{FF2B5EF4-FFF2-40B4-BE49-F238E27FC236}">
                <a16:creationId xmlns:a16="http://schemas.microsoft.com/office/drawing/2014/main" id="{32979215-28F1-4429-9920-5FF52E9C1936}"/>
              </a:ext>
            </a:extLst>
          </p:cNvPr>
          <p:cNvSpPr txBox="1"/>
          <p:nvPr/>
        </p:nvSpPr>
        <p:spPr>
          <a:xfrm>
            <a:off x="431252" y="1478910"/>
            <a:ext cx="10837664" cy="1169511"/>
          </a:xfrm>
          <a:prstGeom prst="rect">
            <a:avLst/>
          </a:prstGeom>
          <a:noFill/>
          <a:ln>
            <a:noFill/>
          </a:ln>
        </p:spPr>
        <p:txBody>
          <a:bodyPr spcFirstLastPara="1" wrap="square" lIns="91425" tIns="45700" rIns="91425" bIns="45700" anchor="t" anchorCtr="0">
            <a:spAutoFit/>
          </a:bodyPr>
          <a:lstStyle/>
          <a:p>
            <a:pPr>
              <a:buClr>
                <a:srgbClr val="000000"/>
              </a:buClr>
              <a:defRPr/>
            </a:pPr>
            <a:r>
              <a:rPr lang="en-US" sz="1000" kern="0" dirty="0">
                <a:solidFill>
                  <a:srgbClr val="000000"/>
                </a:solidFill>
                <a:latin typeface="+mj-lt"/>
                <a:cs typeface="Arial"/>
                <a:sym typeface="Arial"/>
              </a:rPr>
              <a:t>To realise our workforce vision and achieve our strategic priorities, and address our workforce risks and opportunities, </a:t>
            </a:r>
            <a:r>
              <a:rPr lang="en-US" sz="1000" b="1" kern="0" dirty="0">
                <a:solidFill>
                  <a:srgbClr val="000000"/>
                </a:solidFill>
                <a:latin typeface="+mj-lt"/>
                <a:cs typeface="Arial"/>
                <a:sym typeface="Arial"/>
              </a:rPr>
              <a:t>40 data-informed opportunities</a:t>
            </a:r>
            <a:r>
              <a:rPr lang="en-US" sz="1000" kern="0" dirty="0">
                <a:solidFill>
                  <a:srgbClr val="000000"/>
                </a:solidFill>
                <a:latin typeface="+mj-lt"/>
                <a:cs typeface="Arial"/>
                <a:sym typeface="Arial"/>
              </a:rPr>
              <a:t> have been identified to guide how the Commission </a:t>
            </a:r>
            <a:r>
              <a:rPr lang="en-US" sz="1000" kern="0" dirty="0">
                <a:solidFill>
                  <a:srgbClr val="000000"/>
                </a:solidFill>
                <a:latin typeface="+mj-lt"/>
                <a:cs typeface="Arial"/>
              </a:rPr>
              <a:t>attracts, develops and retains a diverse workforce with the right skills and attributes over the coming five years. </a:t>
            </a:r>
            <a:r>
              <a:rPr lang="en-US" sz="1000" kern="0" dirty="0">
                <a:latin typeface="Calibri" panose="020F0502020204030204"/>
                <a:cs typeface="Arial"/>
                <a:sym typeface="Arial"/>
              </a:rPr>
              <a:t>Each initiative has been prioritised </a:t>
            </a:r>
            <a:r>
              <a:rPr lang="en-US" sz="1000" kern="0" dirty="0">
                <a:latin typeface="Calibri" panose="020F0502020204030204"/>
                <a:cs typeface="Arial"/>
              </a:rPr>
              <a:t>into one of three horizons (0 - 6 months</a:t>
            </a:r>
            <a:r>
              <a:rPr lang="en-US" sz="1000" kern="0" dirty="0">
                <a:solidFill>
                  <a:prstClr val="black"/>
                </a:solidFill>
                <a:latin typeface="Calibri" panose="020F0502020204030204"/>
                <a:cs typeface="Arial"/>
              </a:rPr>
              <a:t>, 6 – 18 months, 18 months+). While all opportunities are recognised as important, high-level prioritisation is undertaken to also consider the</a:t>
            </a:r>
            <a:r>
              <a:rPr lang="en-US" sz="1000" b="1" kern="0" dirty="0">
                <a:solidFill>
                  <a:prstClr val="black"/>
                </a:solidFill>
                <a:latin typeface="Calibri" panose="020F0502020204030204"/>
                <a:cs typeface="Arial"/>
              </a:rPr>
              <a:t> value </a:t>
            </a:r>
            <a:r>
              <a:rPr lang="en-US" sz="1000" kern="0" dirty="0">
                <a:solidFill>
                  <a:prstClr val="black"/>
                </a:solidFill>
                <a:latin typeface="Calibri" panose="020F0502020204030204"/>
                <a:cs typeface="Arial"/>
              </a:rPr>
              <a:t>that the opportunity will bring, the </a:t>
            </a:r>
            <a:r>
              <a:rPr lang="en-US" sz="1000" b="1" kern="0" dirty="0">
                <a:solidFill>
                  <a:prstClr val="black"/>
                </a:solidFill>
                <a:latin typeface="Calibri" panose="020F0502020204030204"/>
                <a:cs typeface="Arial"/>
              </a:rPr>
              <a:t>ease</a:t>
            </a:r>
            <a:r>
              <a:rPr lang="en-US" sz="1000" kern="0" dirty="0">
                <a:solidFill>
                  <a:prstClr val="black"/>
                </a:solidFill>
                <a:latin typeface="Calibri" panose="020F0502020204030204"/>
                <a:cs typeface="Arial"/>
              </a:rPr>
              <a:t> at which it can be implemented and associated </a:t>
            </a:r>
            <a:r>
              <a:rPr lang="en-US" sz="1000" b="1" kern="0" dirty="0">
                <a:solidFill>
                  <a:prstClr val="black"/>
                </a:solidFill>
                <a:latin typeface="Calibri" panose="020F0502020204030204"/>
                <a:cs typeface="Arial"/>
              </a:rPr>
              <a:t>interdependencies and sequencing,</a:t>
            </a:r>
            <a:r>
              <a:rPr lang="en-US" sz="1000" kern="0" dirty="0">
                <a:solidFill>
                  <a:prstClr val="black"/>
                </a:solidFill>
                <a:latin typeface="Calibri" panose="020F0502020204030204"/>
                <a:cs typeface="Arial"/>
              </a:rPr>
              <a:t> building the necessary </a:t>
            </a:r>
            <a:r>
              <a:rPr lang="en-US" sz="1000" b="1" kern="0" dirty="0">
                <a:solidFill>
                  <a:prstClr val="black"/>
                </a:solidFill>
                <a:latin typeface="Calibri" panose="020F0502020204030204"/>
                <a:cs typeface="Arial"/>
              </a:rPr>
              <a:t>maturity and sophistication </a:t>
            </a:r>
            <a:r>
              <a:rPr lang="en-US" sz="1000" kern="0" dirty="0">
                <a:solidFill>
                  <a:prstClr val="black"/>
                </a:solidFill>
                <a:latin typeface="Calibri" panose="020F0502020204030204"/>
                <a:cs typeface="Arial"/>
              </a:rPr>
              <a:t>to fully realise the benefits of the opportunity. Acknowledging work on some opportunities has commenced, preceding this </a:t>
            </a:r>
            <a:r>
              <a:rPr lang="en-US" sz="1000" kern="0" dirty="0" smtClean="0">
                <a:solidFill>
                  <a:prstClr val="black"/>
                </a:solidFill>
                <a:latin typeface="Calibri" panose="020F0502020204030204"/>
                <a:cs typeface="Arial"/>
              </a:rPr>
              <a:t>Plan.</a:t>
            </a:r>
            <a:endParaRPr lang="en-US" sz="1000" kern="0" dirty="0">
              <a:solidFill>
                <a:prstClr val="black"/>
              </a:solidFill>
              <a:latin typeface="Calibri" panose="020F0502020204030204"/>
              <a:cs typeface="Arial"/>
            </a:endParaRPr>
          </a:p>
          <a:p>
            <a:pPr>
              <a:buClr>
                <a:srgbClr val="000000"/>
              </a:buClr>
              <a:defRPr/>
            </a:pPr>
            <a:endParaRPr lang="en-US" sz="1000" kern="0" dirty="0">
              <a:solidFill>
                <a:srgbClr val="000000"/>
              </a:solidFill>
              <a:latin typeface="+mj-lt"/>
              <a:cs typeface="Arial"/>
            </a:endParaRPr>
          </a:p>
          <a:p>
            <a:pPr lvl="0">
              <a:buClr>
                <a:srgbClr val="000000"/>
              </a:buClr>
              <a:defRPr/>
            </a:pPr>
            <a:endParaRPr lang="en-AU" sz="1000" kern="0" dirty="0">
              <a:solidFill>
                <a:srgbClr val="000000"/>
              </a:solidFill>
              <a:highlight>
                <a:srgbClr val="FFFF00"/>
              </a:highlight>
              <a:latin typeface="+mj-lt"/>
              <a:cs typeface="Arial"/>
              <a:sym typeface="Arial"/>
            </a:endParaRPr>
          </a:p>
        </p:txBody>
      </p:sp>
      <p:sp>
        <p:nvSpPr>
          <p:cNvPr id="121" name="TextBox 120">
            <a:extLst>
              <a:ext uri="{FF2B5EF4-FFF2-40B4-BE49-F238E27FC236}">
                <a16:creationId xmlns:a16="http://schemas.microsoft.com/office/drawing/2014/main" id="{0DB0BAC9-DB3A-40EC-B9C5-EDD567CFC123}"/>
              </a:ext>
            </a:extLst>
          </p:cNvPr>
          <p:cNvSpPr txBox="1"/>
          <p:nvPr/>
        </p:nvSpPr>
        <p:spPr>
          <a:xfrm>
            <a:off x="1424231" y="5264304"/>
            <a:ext cx="3148012" cy="430887"/>
          </a:xfrm>
          <a:prstGeom prst="rect">
            <a:avLst/>
          </a:prstGeom>
          <a:noFill/>
        </p:spPr>
        <p:txBody>
          <a:bodyPr wrap="square">
            <a:spAutoFit/>
          </a:bodyPr>
          <a:lstStyle/>
          <a:p>
            <a:pPr marL="0" marR="0" lvl="0" indent="0" algn="ctr" rtl="0">
              <a:spcBef>
                <a:spcPts val="0"/>
              </a:spcBef>
              <a:spcAft>
                <a:spcPts val="0"/>
              </a:spcAft>
              <a:buNone/>
            </a:pPr>
            <a:r>
              <a:rPr lang="en-GB" sz="1100" b="1" dirty="0">
                <a:solidFill>
                  <a:schemeClr val="dk1"/>
                </a:solidFill>
                <a:latin typeface="+mj-lt"/>
                <a:cs typeface="Arial"/>
                <a:sym typeface="Arial"/>
              </a:rPr>
              <a:t>0 – 6 months</a:t>
            </a:r>
          </a:p>
          <a:p>
            <a:pPr marL="0" marR="0" lvl="0" indent="0" algn="ctr" rtl="0">
              <a:spcBef>
                <a:spcPts val="0"/>
              </a:spcBef>
              <a:spcAft>
                <a:spcPts val="0"/>
              </a:spcAft>
              <a:buNone/>
            </a:pPr>
            <a:r>
              <a:rPr lang="en-GB" sz="1100" dirty="0">
                <a:solidFill>
                  <a:schemeClr val="dk1"/>
                </a:solidFill>
                <a:latin typeface="+mj-lt"/>
                <a:cs typeface="Arial"/>
                <a:sym typeface="Arial"/>
              </a:rPr>
              <a:t>Horizon 1</a:t>
            </a:r>
            <a:endParaRPr lang="en-GB" sz="1100" dirty="0">
              <a:highlight>
                <a:srgbClr val="FFFF00"/>
              </a:highlight>
              <a:latin typeface="+mj-lt"/>
            </a:endParaRPr>
          </a:p>
        </p:txBody>
      </p:sp>
      <p:sp>
        <p:nvSpPr>
          <p:cNvPr id="122" name="TextBox 121">
            <a:extLst>
              <a:ext uri="{FF2B5EF4-FFF2-40B4-BE49-F238E27FC236}">
                <a16:creationId xmlns:a16="http://schemas.microsoft.com/office/drawing/2014/main" id="{4CDE26A1-3BBA-475C-A026-CC56ADD4900A}"/>
              </a:ext>
            </a:extLst>
          </p:cNvPr>
          <p:cNvSpPr txBox="1"/>
          <p:nvPr/>
        </p:nvSpPr>
        <p:spPr>
          <a:xfrm>
            <a:off x="5353895" y="5308790"/>
            <a:ext cx="3148012" cy="430887"/>
          </a:xfrm>
          <a:prstGeom prst="rect">
            <a:avLst/>
          </a:prstGeom>
          <a:noFill/>
        </p:spPr>
        <p:txBody>
          <a:bodyPr wrap="square">
            <a:spAutoFit/>
          </a:bodyPr>
          <a:lstStyle/>
          <a:p>
            <a:pPr marL="0" marR="0" lvl="0" indent="0" algn="ctr" rtl="0">
              <a:spcBef>
                <a:spcPts val="0"/>
              </a:spcBef>
              <a:spcAft>
                <a:spcPts val="0"/>
              </a:spcAft>
              <a:buNone/>
            </a:pPr>
            <a:r>
              <a:rPr lang="en-GB" sz="1100" b="1" dirty="0">
                <a:solidFill>
                  <a:schemeClr val="dk1"/>
                </a:solidFill>
                <a:latin typeface="+mj-lt"/>
                <a:cs typeface="Arial"/>
                <a:sym typeface="Arial"/>
              </a:rPr>
              <a:t>6 – 18 months</a:t>
            </a:r>
          </a:p>
          <a:p>
            <a:pPr marL="0" marR="0" lvl="0" indent="0" algn="ctr" rtl="0">
              <a:spcBef>
                <a:spcPts val="0"/>
              </a:spcBef>
              <a:spcAft>
                <a:spcPts val="0"/>
              </a:spcAft>
              <a:buNone/>
            </a:pPr>
            <a:r>
              <a:rPr lang="en-GB" sz="1100" dirty="0">
                <a:solidFill>
                  <a:schemeClr val="dk1"/>
                </a:solidFill>
                <a:latin typeface="+mj-lt"/>
                <a:cs typeface="Arial"/>
                <a:sym typeface="Arial"/>
              </a:rPr>
              <a:t>Horizon 2</a:t>
            </a:r>
            <a:endParaRPr lang="en-GB" sz="1100" dirty="0">
              <a:highlight>
                <a:srgbClr val="FFFF00"/>
              </a:highlight>
              <a:latin typeface="+mj-lt"/>
            </a:endParaRPr>
          </a:p>
        </p:txBody>
      </p:sp>
      <p:sp>
        <p:nvSpPr>
          <p:cNvPr id="125" name="TextBox 124">
            <a:extLst>
              <a:ext uri="{FF2B5EF4-FFF2-40B4-BE49-F238E27FC236}">
                <a16:creationId xmlns:a16="http://schemas.microsoft.com/office/drawing/2014/main" id="{19E06CBA-CF52-46B1-A422-16E475ADAA80}"/>
              </a:ext>
            </a:extLst>
          </p:cNvPr>
          <p:cNvSpPr txBox="1"/>
          <p:nvPr/>
        </p:nvSpPr>
        <p:spPr>
          <a:xfrm>
            <a:off x="8429359" y="5327442"/>
            <a:ext cx="3148012" cy="430887"/>
          </a:xfrm>
          <a:prstGeom prst="rect">
            <a:avLst/>
          </a:prstGeom>
          <a:noFill/>
        </p:spPr>
        <p:txBody>
          <a:bodyPr wrap="square">
            <a:spAutoFit/>
          </a:bodyPr>
          <a:lstStyle/>
          <a:p>
            <a:pPr marL="0" marR="0" lvl="0" indent="0" algn="ctr" rtl="0">
              <a:spcBef>
                <a:spcPts val="0"/>
              </a:spcBef>
              <a:spcAft>
                <a:spcPts val="0"/>
              </a:spcAft>
              <a:buNone/>
            </a:pPr>
            <a:r>
              <a:rPr lang="en-GB" sz="1100" b="1" dirty="0">
                <a:solidFill>
                  <a:schemeClr val="dk1"/>
                </a:solidFill>
                <a:latin typeface="+mj-lt"/>
                <a:cs typeface="Arial"/>
                <a:sym typeface="Arial"/>
              </a:rPr>
              <a:t>18 months +</a:t>
            </a:r>
          </a:p>
          <a:p>
            <a:pPr marL="0" marR="0" lvl="0" indent="0" algn="ctr" rtl="0">
              <a:spcBef>
                <a:spcPts val="0"/>
              </a:spcBef>
              <a:spcAft>
                <a:spcPts val="0"/>
              </a:spcAft>
              <a:buNone/>
            </a:pPr>
            <a:r>
              <a:rPr lang="en-GB" sz="1100" dirty="0">
                <a:solidFill>
                  <a:schemeClr val="dk1"/>
                </a:solidFill>
                <a:latin typeface="+mj-lt"/>
                <a:cs typeface="Arial"/>
                <a:sym typeface="Arial"/>
              </a:rPr>
              <a:t>Horizon 3</a:t>
            </a:r>
            <a:endParaRPr lang="en-GB" sz="1100" dirty="0">
              <a:highlight>
                <a:srgbClr val="FFFF00"/>
              </a:highlight>
              <a:latin typeface="+mj-lt"/>
            </a:endParaRPr>
          </a:p>
        </p:txBody>
      </p:sp>
      <p:sp>
        <p:nvSpPr>
          <p:cNvPr id="137" name="Google Shape;6531;p147">
            <a:extLst>
              <a:ext uri="{FF2B5EF4-FFF2-40B4-BE49-F238E27FC236}">
                <a16:creationId xmlns:a16="http://schemas.microsoft.com/office/drawing/2014/main" id="{C9C98513-BBAF-4D19-A731-479817858BE6}"/>
              </a:ext>
            </a:extLst>
          </p:cNvPr>
          <p:cNvSpPr/>
          <p:nvPr/>
        </p:nvSpPr>
        <p:spPr>
          <a:xfrm>
            <a:off x="2159152" y="2737268"/>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1</a:t>
            </a:r>
            <a:endParaRPr lang="en-GB" sz="1000" dirty="0">
              <a:solidFill>
                <a:schemeClr val="bg1"/>
              </a:solidFill>
            </a:endParaRPr>
          </a:p>
        </p:txBody>
      </p:sp>
      <p:sp>
        <p:nvSpPr>
          <p:cNvPr id="138" name="Slide Number Placeholder 4">
            <a:extLst>
              <a:ext uri="{FF2B5EF4-FFF2-40B4-BE49-F238E27FC236}">
                <a16:creationId xmlns:a16="http://schemas.microsoft.com/office/drawing/2014/main" id="{5F09EB30-5D5F-4DAF-8E98-92D2E9BBA620}"/>
              </a:ext>
            </a:extLst>
          </p:cNvPr>
          <p:cNvSpPr txBox="1">
            <a:spLocks/>
          </p:cNvSpPr>
          <p:nvPr/>
        </p:nvSpPr>
        <p:spPr>
          <a:xfrm>
            <a:off x="11069001" y="6356350"/>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26</a:t>
            </a:fld>
            <a:endParaRPr lang="en-US" dirty="0"/>
          </a:p>
        </p:txBody>
      </p:sp>
      <p:sp>
        <p:nvSpPr>
          <p:cNvPr id="139" name="Google Shape;6531;p147">
            <a:extLst>
              <a:ext uri="{FF2B5EF4-FFF2-40B4-BE49-F238E27FC236}">
                <a16:creationId xmlns:a16="http://schemas.microsoft.com/office/drawing/2014/main" id="{7779B4A0-8331-4E54-9565-CFE8A887BC52}"/>
              </a:ext>
            </a:extLst>
          </p:cNvPr>
          <p:cNvSpPr/>
          <p:nvPr/>
        </p:nvSpPr>
        <p:spPr>
          <a:xfrm>
            <a:off x="3054154" y="3566538"/>
            <a:ext cx="673394" cy="170921"/>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P3</a:t>
            </a:r>
            <a:endParaRPr lang="en-GB" sz="1000" dirty="0">
              <a:solidFill>
                <a:schemeClr val="bg1"/>
              </a:solidFill>
            </a:endParaRPr>
          </a:p>
        </p:txBody>
      </p:sp>
      <p:sp>
        <p:nvSpPr>
          <p:cNvPr id="140" name="Google Shape;6531;p147">
            <a:extLst>
              <a:ext uri="{FF2B5EF4-FFF2-40B4-BE49-F238E27FC236}">
                <a16:creationId xmlns:a16="http://schemas.microsoft.com/office/drawing/2014/main" id="{942C6F3B-C406-458D-8897-74537EBE3A83}"/>
              </a:ext>
            </a:extLst>
          </p:cNvPr>
          <p:cNvSpPr/>
          <p:nvPr/>
        </p:nvSpPr>
        <p:spPr>
          <a:xfrm>
            <a:off x="3877704" y="3100532"/>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2</a:t>
            </a:r>
            <a:endParaRPr lang="en-GB" sz="1000" dirty="0">
              <a:solidFill>
                <a:schemeClr val="bg1"/>
              </a:solidFill>
            </a:endParaRPr>
          </a:p>
        </p:txBody>
      </p:sp>
      <p:sp>
        <p:nvSpPr>
          <p:cNvPr id="141" name="Google Shape;6531;p147">
            <a:extLst>
              <a:ext uri="{FF2B5EF4-FFF2-40B4-BE49-F238E27FC236}">
                <a16:creationId xmlns:a16="http://schemas.microsoft.com/office/drawing/2014/main" id="{A666B2A3-F73B-45C6-9CE8-915CCC1E06A8}"/>
              </a:ext>
            </a:extLst>
          </p:cNvPr>
          <p:cNvSpPr/>
          <p:nvPr/>
        </p:nvSpPr>
        <p:spPr>
          <a:xfrm>
            <a:off x="3881730" y="3317284"/>
            <a:ext cx="673394" cy="170921"/>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P7</a:t>
            </a:r>
            <a:endParaRPr lang="en-GB" sz="1000" dirty="0">
              <a:solidFill>
                <a:schemeClr val="bg1"/>
              </a:solidFill>
            </a:endParaRPr>
          </a:p>
        </p:txBody>
      </p:sp>
      <p:sp>
        <p:nvSpPr>
          <p:cNvPr id="142" name="Google Shape;6531;p147">
            <a:extLst>
              <a:ext uri="{FF2B5EF4-FFF2-40B4-BE49-F238E27FC236}">
                <a16:creationId xmlns:a16="http://schemas.microsoft.com/office/drawing/2014/main" id="{9DFB648A-1A83-4D37-8A4A-C3F8E77EA30A}"/>
              </a:ext>
            </a:extLst>
          </p:cNvPr>
          <p:cNvSpPr/>
          <p:nvPr/>
        </p:nvSpPr>
        <p:spPr>
          <a:xfrm>
            <a:off x="3881730" y="3526084"/>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8</a:t>
            </a:r>
            <a:endParaRPr lang="en-GB" sz="1000" dirty="0">
              <a:solidFill>
                <a:schemeClr val="bg1"/>
              </a:solidFill>
            </a:endParaRPr>
          </a:p>
        </p:txBody>
      </p:sp>
      <p:cxnSp>
        <p:nvCxnSpPr>
          <p:cNvPr id="143" name="Google Shape;6589;p147">
            <a:extLst>
              <a:ext uri="{FF2B5EF4-FFF2-40B4-BE49-F238E27FC236}">
                <a16:creationId xmlns:a16="http://schemas.microsoft.com/office/drawing/2014/main" id="{4C832327-28ED-4337-8A6D-6F27CDDAF406}"/>
              </a:ext>
            </a:extLst>
          </p:cNvPr>
          <p:cNvCxnSpPr>
            <a:cxnSpLocks/>
          </p:cNvCxnSpPr>
          <p:nvPr/>
        </p:nvCxnSpPr>
        <p:spPr>
          <a:xfrm>
            <a:off x="2998237" y="3916562"/>
            <a:ext cx="2892" cy="1056668"/>
          </a:xfrm>
          <a:prstGeom prst="straightConnector1">
            <a:avLst/>
          </a:prstGeom>
          <a:noFill/>
          <a:ln w="12700" cap="sq" cmpd="sng">
            <a:solidFill>
              <a:schemeClr val="dk2"/>
            </a:solidFill>
            <a:prstDash val="dash"/>
            <a:round/>
            <a:headEnd type="none" w="sm" len="sm"/>
            <a:tailEnd type="none" w="sm" len="sm"/>
          </a:ln>
        </p:spPr>
      </p:cxnSp>
      <p:cxnSp>
        <p:nvCxnSpPr>
          <p:cNvPr id="87" name="Google Shape;6589;p147">
            <a:extLst>
              <a:ext uri="{FF2B5EF4-FFF2-40B4-BE49-F238E27FC236}">
                <a16:creationId xmlns:a16="http://schemas.microsoft.com/office/drawing/2014/main" id="{F5FB7DEC-3D7B-4DF2-A98F-B4802CDE430E}"/>
              </a:ext>
            </a:extLst>
          </p:cNvPr>
          <p:cNvCxnSpPr>
            <a:cxnSpLocks/>
          </p:cNvCxnSpPr>
          <p:nvPr/>
        </p:nvCxnSpPr>
        <p:spPr>
          <a:xfrm flipV="1">
            <a:off x="1210437" y="3886982"/>
            <a:ext cx="3498723" cy="13186"/>
          </a:xfrm>
          <a:prstGeom prst="straightConnector1">
            <a:avLst/>
          </a:prstGeom>
          <a:noFill/>
          <a:ln w="12700" cap="sq" cmpd="sng">
            <a:solidFill>
              <a:schemeClr val="dk2"/>
            </a:solidFill>
            <a:prstDash val="dash"/>
            <a:round/>
            <a:headEnd type="none" w="sm" len="sm"/>
            <a:tailEnd type="none" w="sm" len="sm"/>
          </a:ln>
        </p:spPr>
      </p:cxnSp>
      <p:cxnSp>
        <p:nvCxnSpPr>
          <p:cNvPr id="91" name="Google Shape;6648;p147">
            <a:extLst>
              <a:ext uri="{FF2B5EF4-FFF2-40B4-BE49-F238E27FC236}">
                <a16:creationId xmlns:a16="http://schemas.microsoft.com/office/drawing/2014/main" id="{6E7C5962-756B-4DB1-899E-A5DB13717FFD}"/>
              </a:ext>
            </a:extLst>
          </p:cNvPr>
          <p:cNvCxnSpPr>
            <a:cxnSpLocks/>
          </p:cNvCxnSpPr>
          <p:nvPr/>
        </p:nvCxnSpPr>
        <p:spPr>
          <a:xfrm>
            <a:off x="1177315" y="3750689"/>
            <a:ext cx="0" cy="143089"/>
          </a:xfrm>
          <a:prstGeom prst="straightConnector1">
            <a:avLst/>
          </a:prstGeom>
          <a:noFill/>
          <a:ln w="12700" cap="sq" cmpd="sng">
            <a:solidFill>
              <a:schemeClr val="dk2"/>
            </a:solidFill>
            <a:prstDash val="dash"/>
            <a:round/>
            <a:headEnd type="none" w="sm" len="sm"/>
            <a:tailEnd type="none" w="sm" len="sm"/>
          </a:ln>
        </p:spPr>
      </p:cxnSp>
      <p:cxnSp>
        <p:nvCxnSpPr>
          <p:cNvPr id="94" name="Google Shape;6648;p147">
            <a:extLst>
              <a:ext uri="{FF2B5EF4-FFF2-40B4-BE49-F238E27FC236}">
                <a16:creationId xmlns:a16="http://schemas.microsoft.com/office/drawing/2014/main" id="{8018F083-0E98-4433-96D7-53BE1C1C255D}"/>
              </a:ext>
            </a:extLst>
          </p:cNvPr>
          <p:cNvCxnSpPr>
            <a:cxnSpLocks/>
          </p:cNvCxnSpPr>
          <p:nvPr/>
        </p:nvCxnSpPr>
        <p:spPr>
          <a:xfrm>
            <a:off x="4703794" y="3687160"/>
            <a:ext cx="0" cy="143089"/>
          </a:xfrm>
          <a:prstGeom prst="straightConnector1">
            <a:avLst/>
          </a:prstGeom>
          <a:noFill/>
          <a:ln w="12700" cap="sq" cmpd="sng">
            <a:solidFill>
              <a:schemeClr val="dk2"/>
            </a:solidFill>
            <a:prstDash val="dash"/>
            <a:round/>
            <a:headEnd type="none" w="sm" len="sm"/>
            <a:tailEnd type="none" w="sm" len="sm"/>
          </a:ln>
        </p:spPr>
      </p:cxnSp>
      <p:sp>
        <p:nvSpPr>
          <p:cNvPr id="4" name="Slide Number Placeholder 3">
            <a:extLst>
              <a:ext uri="{FF2B5EF4-FFF2-40B4-BE49-F238E27FC236}">
                <a16:creationId xmlns:a16="http://schemas.microsoft.com/office/drawing/2014/main" id="{519F01E3-FC99-FDE3-97B4-5BFFABACFC65}"/>
              </a:ext>
            </a:extLst>
          </p:cNvPr>
          <p:cNvSpPr>
            <a:spLocks noGrp="1"/>
          </p:cNvSpPr>
          <p:nvPr>
            <p:ph type="sldNum" sz="quarter" idx="12"/>
          </p:nvPr>
        </p:nvSpPr>
        <p:spPr/>
        <p:txBody>
          <a:bodyPr/>
          <a:lstStyle/>
          <a:p>
            <a:fld id="{C0F55C17-AF72-40D4-ADBD-B5505DEBF9BA}" type="slidenum">
              <a:rPr lang="en-AU" b="1" smtClean="0"/>
              <a:t>26</a:t>
            </a:fld>
            <a:endParaRPr lang="en-US" b="1" dirty="0"/>
          </a:p>
        </p:txBody>
      </p:sp>
      <p:sp>
        <p:nvSpPr>
          <p:cNvPr id="2" name="Footer Placeholder 1">
            <a:extLst>
              <a:ext uri="{FF2B5EF4-FFF2-40B4-BE49-F238E27FC236}">
                <a16:creationId xmlns:a16="http://schemas.microsoft.com/office/drawing/2014/main" id="{C347103A-CEBB-9A77-A41A-8826A35BC448}"/>
              </a:ext>
            </a:extLst>
          </p:cNvPr>
          <p:cNvSpPr>
            <a:spLocks noGrp="1"/>
          </p:cNvSpPr>
          <p:nvPr>
            <p:ph type="ftr" sz="quarter" idx="11"/>
          </p:nvPr>
        </p:nvSpPr>
        <p:spPr>
          <a:xfrm>
            <a:off x="1170741" y="6348305"/>
            <a:ext cx="6783813" cy="180000"/>
          </a:xfrm>
        </p:spPr>
        <p:txBody>
          <a:bodyPr/>
          <a:lstStyle/>
          <a:p>
            <a:pPr algn="ctr"/>
            <a:r>
              <a:rPr lang="en-AU" smtClean="0"/>
              <a:t>NDIS Commission Workforce Plan 2023-2028</a:t>
            </a:r>
            <a:endParaRPr lang="en-US" dirty="0"/>
          </a:p>
        </p:txBody>
      </p:sp>
      <p:sp>
        <p:nvSpPr>
          <p:cNvPr id="97" name="Google Shape;6564;p147">
            <a:extLst>
              <a:ext uri="{FF2B5EF4-FFF2-40B4-BE49-F238E27FC236}">
                <a16:creationId xmlns:a16="http://schemas.microsoft.com/office/drawing/2014/main" id="{969426D9-D54B-4445-B2C0-8794BD04E551}"/>
              </a:ext>
            </a:extLst>
          </p:cNvPr>
          <p:cNvSpPr/>
          <p:nvPr/>
        </p:nvSpPr>
        <p:spPr>
          <a:xfrm>
            <a:off x="2116324" y="3031832"/>
            <a:ext cx="798892" cy="724239"/>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Diverse talent pipelines </a:t>
            </a:r>
            <a:endParaRPr lang="en-US" sz="900" dirty="0">
              <a:solidFill>
                <a:schemeClr val="dk1"/>
              </a:solidFill>
              <a:cs typeface="Arial"/>
              <a:sym typeface="Arial"/>
            </a:endParaRPr>
          </a:p>
        </p:txBody>
      </p:sp>
      <p:sp>
        <p:nvSpPr>
          <p:cNvPr id="98" name="Google Shape;6531;p147">
            <a:extLst>
              <a:ext uri="{FF2B5EF4-FFF2-40B4-BE49-F238E27FC236}">
                <a16:creationId xmlns:a16="http://schemas.microsoft.com/office/drawing/2014/main" id="{8C086C9E-418A-4606-A3AD-E52609D66D7E}"/>
              </a:ext>
            </a:extLst>
          </p:cNvPr>
          <p:cNvSpPr/>
          <p:nvPr/>
        </p:nvSpPr>
        <p:spPr>
          <a:xfrm>
            <a:off x="2152424" y="3351187"/>
            <a:ext cx="697380"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3</a:t>
            </a:r>
            <a:endParaRPr lang="en-GB" sz="1000" dirty="0">
              <a:solidFill>
                <a:schemeClr val="bg1"/>
              </a:solidFill>
            </a:endParaRPr>
          </a:p>
        </p:txBody>
      </p:sp>
      <p:sp>
        <p:nvSpPr>
          <p:cNvPr id="99" name="Google Shape;6531;p147">
            <a:extLst>
              <a:ext uri="{FF2B5EF4-FFF2-40B4-BE49-F238E27FC236}">
                <a16:creationId xmlns:a16="http://schemas.microsoft.com/office/drawing/2014/main" id="{F9EE29DB-D94F-42E3-B7BC-C85A67DC7BB8}"/>
              </a:ext>
            </a:extLst>
          </p:cNvPr>
          <p:cNvSpPr/>
          <p:nvPr/>
        </p:nvSpPr>
        <p:spPr>
          <a:xfrm>
            <a:off x="2156450" y="3567939"/>
            <a:ext cx="697380" cy="170921"/>
          </a:xfrm>
          <a:prstGeom prst="rect">
            <a:avLst/>
          </a:prstGeom>
          <a:solidFill>
            <a:schemeClr val="accent4"/>
          </a:solidFill>
          <a:ln>
            <a:noFill/>
          </a:ln>
        </p:spPr>
        <p:txBody>
          <a:bodyPr spcFirstLastPara="1" wrap="square" lIns="30775" tIns="45700" rIns="30775" bIns="45700" anchor="ctr" anchorCtr="0">
            <a:noAutofit/>
          </a:bodyPr>
          <a:lstStyle/>
          <a:p>
            <a:r>
              <a:rPr lang="en-GB" sz="1000" dirty="0">
                <a:solidFill>
                  <a:schemeClr val="bg1"/>
                </a:solidFill>
                <a:cs typeface="Arial"/>
                <a:sym typeface="Arial"/>
              </a:rPr>
              <a:t>G3</a:t>
            </a:r>
            <a:endParaRPr lang="en-GB" sz="1000" dirty="0">
              <a:solidFill>
                <a:schemeClr val="bg1"/>
              </a:solidFill>
              <a:cs typeface="Arial"/>
            </a:endParaRPr>
          </a:p>
        </p:txBody>
      </p:sp>
      <p:sp>
        <p:nvSpPr>
          <p:cNvPr id="100" name="Google Shape;6531;p147">
            <a:extLst>
              <a:ext uri="{FF2B5EF4-FFF2-40B4-BE49-F238E27FC236}">
                <a16:creationId xmlns:a16="http://schemas.microsoft.com/office/drawing/2014/main" id="{1F7D37C6-E92F-4979-ABB6-952138E16C4B}"/>
              </a:ext>
            </a:extLst>
          </p:cNvPr>
          <p:cNvSpPr/>
          <p:nvPr/>
        </p:nvSpPr>
        <p:spPr>
          <a:xfrm>
            <a:off x="9336158" y="2893669"/>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3</a:t>
            </a:r>
            <a:endParaRPr lang="en-GB" sz="1000" dirty="0">
              <a:solidFill>
                <a:schemeClr val="bg1"/>
              </a:solidFill>
            </a:endParaRPr>
          </a:p>
        </p:txBody>
      </p:sp>
      <p:sp>
        <p:nvSpPr>
          <p:cNvPr id="102" name="Google Shape;6531;p147">
            <a:extLst>
              <a:ext uri="{FF2B5EF4-FFF2-40B4-BE49-F238E27FC236}">
                <a16:creationId xmlns:a16="http://schemas.microsoft.com/office/drawing/2014/main" id="{DF463F9E-49E1-4BC8-A1B0-90AA5E3919F1}"/>
              </a:ext>
            </a:extLst>
          </p:cNvPr>
          <p:cNvSpPr/>
          <p:nvPr/>
        </p:nvSpPr>
        <p:spPr>
          <a:xfrm>
            <a:off x="5733969" y="2805686"/>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4</a:t>
            </a:r>
            <a:endParaRPr lang="en-GB" sz="1000" dirty="0">
              <a:solidFill>
                <a:schemeClr val="bg1"/>
              </a:solidFill>
            </a:endParaRPr>
          </a:p>
        </p:txBody>
      </p:sp>
      <p:sp>
        <p:nvSpPr>
          <p:cNvPr id="103" name="Google Shape;6531;p147">
            <a:extLst>
              <a:ext uri="{FF2B5EF4-FFF2-40B4-BE49-F238E27FC236}">
                <a16:creationId xmlns:a16="http://schemas.microsoft.com/office/drawing/2014/main" id="{3BB9E6E8-3349-47C1-BBA5-8A2FE9F8ADA0}"/>
              </a:ext>
            </a:extLst>
          </p:cNvPr>
          <p:cNvSpPr/>
          <p:nvPr/>
        </p:nvSpPr>
        <p:spPr>
          <a:xfrm>
            <a:off x="5707683" y="4118382"/>
            <a:ext cx="699680" cy="153987"/>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5</a:t>
            </a:r>
            <a:endParaRPr lang="en-GB" sz="1000" dirty="0">
              <a:solidFill>
                <a:schemeClr val="bg1"/>
              </a:solidFill>
            </a:endParaRPr>
          </a:p>
        </p:txBody>
      </p:sp>
      <p:sp>
        <p:nvSpPr>
          <p:cNvPr id="106" name="Google Shape;6531;p147">
            <a:extLst>
              <a:ext uri="{FF2B5EF4-FFF2-40B4-BE49-F238E27FC236}">
                <a16:creationId xmlns:a16="http://schemas.microsoft.com/office/drawing/2014/main" id="{4959AB4F-728B-43C8-A42F-34128A1E9049}"/>
              </a:ext>
            </a:extLst>
          </p:cNvPr>
          <p:cNvSpPr/>
          <p:nvPr/>
        </p:nvSpPr>
        <p:spPr>
          <a:xfrm>
            <a:off x="4895735" y="3056184"/>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6</a:t>
            </a:r>
            <a:endParaRPr lang="en-GB" sz="1000" dirty="0">
              <a:solidFill>
                <a:schemeClr val="bg1"/>
              </a:solidFill>
            </a:endParaRPr>
          </a:p>
        </p:txBody>
      </p:sp>
      <p:sp>
        <p:nvSpPr>
          <p:cNvPr id="108" name="Google Shape;6531;p147">
            <a:extLst>
              <a:ext uri="{FF2B5EF4-FFF2-40B4-BE49-F238E27FC236}">
                <a16:creationId xmlns:a16="http://schemas.microsoft.com/office/drawing/2014/main" id="{2A531582-7B72-4B19-8CB2-BEC4BAD3AD1B}"/>
              </a:ext>
            </a:extLst>
          </p:cNvPr>
          <p:cNvSpPr/>
          <p:nvPr/>
        </p:nvSpPr>
        <p:spPr>
          <a:xfrm>
            <a:off x="6591204" y="2838288"/>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7</a:t>
            </a:r>
            <a:endParaRPr lang="en-GB" sz="1000" dirty="0">
              <a:solidFill>
                <a:schemeClr val="bg1"/>
              </a:solidFill>
            </a:endParaRPr>
          </a:p>
        </p:txBody>
      </p:sp>
      <p:sp>
        <p:nvSpPr>
          <p:cNvPr id="109" name="Google Shape;6531;p147">
            <a:extLst>
              <a:ext uri="{FF2B5EF4-FFF2-40B4-BE49-F238E27FC236}">
                <a16:creationId xmlns:a16="http://schemas.microsoft.com/office/drawing/2014/main" id="{064E34E7-08AB-4A47-8FC8-A3621B8FBD1E}"/>
              </a:ext>
            </a:extLst>
          </p:cNvPr>
          <p:cNvSpPr/>
          <p:nvPr/>
        </p:nvSpPr>
        <p:spPr>
          <a:xfrm>
            <a:off x="10120680" y="2975140"/>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8</a:t>
            </a:r>
            <a:endParaRPr lang="en-GB" sz="1000" dirty="0">
              <a:solidFill>
                <a:schemeClr val="bg1"/>
              </a:solidFill>
            </a:endParaRPr>
          </a:p>
        </p:txBody>
      </p:sp>
      <p:sp>
        <p:nvSpPr>
          <p:cNvPr id="110" name="Google Shape;6531;p147">
            <a:extLst>
              <a:ext uri="{FF2B5EF4-FFF2-40B4-BE49-F238E27FC236}">
                <a16:creationId xmlns:a16="http://schemas.microsoft.com/office/drawing/2014/main" id="{2E147D1C-C949-4B55-9D2F-763A07DF32F9}"/>
              </a:ext>
            </a:extLst>
          </p:cNvPr>
          <p:cNvSpPr/>
          <p:nvPr/>
        </p:nvSpPr>
        <p:spPr>
          <a:xfrm>
            <a:off x="8289462" y="3378524"/>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9</a:t>
            </a:r>
            <a:endParaRPr lang="en-GB" sz="1000" dirty="0">
              <a:solidFill>
                <a:schemeClr val="bg1"/>
              </a:solidFill>
            </a:endParaRPr>
          </a:p>
        </p:txBody>
      </p:sp>
      <p:sp>
        <p:nvSpPr>
          <p:cNvPr id="111" name="Google Shape;6531;p147">
            <a:extLst>
              <a:ext uri="{FF2B5EF4-FFF2-40B4-BE49-F238E27FC236}">
                <a16:creationId xmlns:a16="http://schemas.microsoft.com/office/drawing/2014/main" id="{315F602D-9C5F-42A3-A04F-C3D83F2DDF78}"/>
              </a:ext>
            </a:extLst>
          </p:cNvPr>
          <p:cNvSpPr/>
          <p:nvPr/>
        </p:nvSpPr>
        <p:spPr>
          <a:xfrm>
            <a:off x="5733969" y="2996420"/>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10</a:t>
            </a:r>
            <a:endParaRPr lang="en-GB" sz="1000" dirty="0">
              <a:solidFill>
                <a:schemeClr val="bg1"/>
              </a:solidFill>
            </a:endParaRPr>
          </a:p>
        </p:txBody>
      </p:sp>
      <p:sp>
        <p:nvSpPr>
          <p:cNvPr id="134" name="Google Shape;6531;p147">
            <a:extLst>
              <a:ext uri="{FF2B5EF4-FFF2-40B4-BE49-F238E27FC236}">
                <a16:creationId xmlns:a16="http://schemas.microsoft.com/office/drawing/2014/main" id="{65729C4C-4F61-4E35-94EE-A1C339835B6B}"/>
              </a:ext>
            </a:extLst>
          </p:cNvPr>
          <p:cNvSpPr/>
          <p:nvPr/>
        </p:nvSpPr>
        <p:spPr>
          <a:xfrm>
            <a:off x="4895735" y="3262100"/>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2</a:t>
            </a:r>
            <a:endParaRPr lang="en-GB" sz="1000" dirty="0">
              <a:solidFill>
                <a:schemeClr val="bg1"/>
              </a:solidFill>
            </a:endParaRPr>
          </a:p>
        </p:txBody>
      </p:sp>
      <p:sp>
        <p:nvSpPr>
          <p:cNvPr id="135" name="Google Shape;6531;p147">
            <a:extLst>
              <a:ext uri="{FF2B5EF4-FFF2-40B4-BE49-F238E27FC236}">
                <a16:creationId xmlns:a16="http://schemas.microsoft.com/office/drawing/2014/main" id="{C5EDCAB3-744E-4026-93E7-58F18D45F52A}"/>
              </a:ext>
            </a:extLst>
          </p:cNvPr>
          <p:cNvSpPr/>
          <p:nvPr/>
        </p:nvSpPr>
        <p:spPr>
          <a:xfrm>
            <a:off x="4895735" y="3462823"/>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3</a:t>
            </a:r>
            <a:endParaRPr lang="en-GB" sz="1000" dirty="0">
              <a:solidFill>
                <a:schemeClr val="bg1"/>
              </a:solidFill>
            </a:endParaRPr>
          </a:p>
        </p:txBody>
      </p:sp>
      <p:sp>
        <p:nvSpPr>
          <p:cNvPr id="144" name="Google Shape;6531;p147">
            <a:extLst>
              <a:ext uri="{FF2B5EF4-FFF2-40B4-BE49-F238E27FC236}">
                <a16:creationId xmlns:a16="http://schemas.microsoft.com/office/drawing/2014/main" id="{764EED52-004A-4490-B803-C3B10E0ECAB2}"/>
              </a:ext>
            </a:extLst>
          </p:cNvPr>
          <p:cNvSpPr/>
          <p:nvPr/>
        </p:nvSpPr>
        <p:spPr>
          <a:xfrm>
            <a:off x="4895735" y="3666834"/>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4</a:t>
            </a:r>
            <a:endParaRPr lang="en-GB" sz="1000" dirty="0">
              <a:solidFill>
                <a:schemeClr val="bg1"/>
              </a:solidFill>
            </a:endParaRPr>
          </a:p>
        </p:txBody>
      </p:sp>
      <p:sp>
        <p:nvSpPr>
          <p:cNvPr id="146" name="Google Shape;6531;p147">
            <a:extLst>
              <a:ext uri="{FF2B5EF4-FFF2-40B4-BE49-F238E27FC236}">
                <a16:creationId xmlns:a16="http://schemas.microsoft.com/office/drawing/2014/main" id="{A1278166-573D-4FA6-B28C-BEEBE2AD5BCC}"/>
              </a:ext>
            </a:extLst>
          </p:cNvPr>
          <p:cNvSpPr/>
          <p:nvPr/>
        </p:nvSpPr>
        <p:spPr>
          <a:xfrm>
            <a:off x="8289462" y="3168224"/>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5</a:t>
            </a:r>
            <a:endParaRPr lang="en-GB" sz="1000" dirty="0">
              <a:solidFill>
                <a:schemeClr val="bg1"/>
              </a:solidFill>
            </a:endParaRPr>
          </a:p>
        </p:txBody>
      </p:sp>
      <p:sp>
        <p:nvSpPr>
          <p:cNvPr id="148" name="Google Shape;6531;p147">
            <a:extLst>
              <a:ext uri="{FF2B5EF4-FFF2-40B4-BE49-F238E27FC236}">
                <a16:creationId xmlns:a16="http://schemas.microsoft.com/office/drawing/2014/main" id="{6BE89930-1C5F-4909-803F-A230D760A445}"/>
              </a:ext>
            </a:extLst>
          </p:cNvPr>
          <p:cNvSpPr/>
          <p:nvPr/>
        </p:nvSpPr>
        <p:spPr>
          <a:xfrm>
            <a:off x="7464721" y="4118383"/>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6</a:t>
            </a:r>
            <a:endParaRPr lang="en-GB" sz="1000" dirty="0">
              <a:solidFill>
                <a:schemeClr val="bg1"/>
              </a:solidFill>
            </a:endParaRPr>
          </a:p>
        </p:txBody>
      </p:sp>
      <p:sp>
        <p:nvSpPr>
          <p:cNvPr id="151" name="Google Shape;6531;p147">
            <a:extLst>
              <a:ext uri="{FF2B5EF4-FFF2-40B4-BE49-F238E27FC236}">
                <a16:creationId xmlns:a16="http://schemas.microsoft.com/office/drawing/2014/main" id="{ED4EB9F9-AA1F-438A-9FAF-172A803C2BAE}"/>
              </a:ext>
            </a:extLst>
          </p:cNvPr>
          <p:cNvSpPr/>
          <p:nvPr/>
        </p:nvSpPr>
        <p:spPr>
          <a:xfrm>
            <a:off x="9336158" y="3091281"/>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7</a:t>
            </a:r>
            <a:endParaRPr lang="en-GB" sz="1000" dirty="0">
              <a:solidFill>
                <a:schemeClr val="bg1"/>
              </a:solidFill>
            </a:endParaRPr>
          </a:p>
        </p:txBody>
      </p:sp>
      <p:sp>
        <p:nvSpPr>
          <p:cNvPr id="152" name="Google Shape;6531;p147">
            <a:extLst>
              <a:ext uri="{FF2B5EF4-FFF2-40B4-BE49-F238E27FC236}">
                <a16:creationId xmlns:a16="http://schemas.microsoft.com/office/drawing/2014/main" id="{6434E044-E869-4B35-96B4-D793F89F869D}"/>
              </a:ext>
            </a:extLst>
          </p:cNvPr>
          <p:cNvSpPr/>
          <p:nvPr/>
        </p:nvSpPr>
        <p:spPr>
          <a:xfrm>
            <a:off x="10137734" y="3749943"/>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8</a:t>
            </a:r>
            <a:endParaRPr lang="en-GB" sz="1000" dirty="0">
              <a:solidFill>
                <a:schemeClr val="bg1"/>
              </a:solidFill>
            </a:endParaRPr>
          </a:p>
        </p:txBody>
      </p:sp>
      <p:sp>
        <p:nvSpPr>
          <p:cNvPr id="156" name="Google Shape;6531;p147">
            <a:extLst>
              <a:ext uri="{FF2B5EF4-FFF2-40B4-BE49-F238E27FC236}">
                <a16:creationId xmlns:a16="http://schemas.microsoft.com/office/drawing/2014/main" id="{4B807E5C-0F84-438F-9660-45CB40624DDD}"/>
              </a:ext>
            </a:extLst>
          </p:cNvPr>
          <p:cNvSpPr/>
          <p:nvPr/>
        </p:nvSpPr>
        <p:spPr>
          <a:xfrm>
            <a:off x="6599769" y="3027409"/>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2</a:t>
            </a:r>
            <a:endParaRPr lang="en-GB" sz="1000" dirty="0">
              <a:solidFill>
                <a:schemeClr val="bg1"/>
              </a:solidFill>
            </a:endParaRPr>
          </a:p>
        </p:txBody>
      </p:sp>
      <p:sp>
        <p:nvSpPr>
          <p:cNvPr id="157" name="Google Shape;6531;p147">
            <a:extLst>
              <a:ext uri="{FF2B5EF4-FFF2-40B4-BE49-F238E27FC236}">
                <a16:creationId xmlns:a16="http://schemas.microsoft.com/office/drawing/2014/main" id="{27171DCA-63A3-4578-BF2E-D6F17048D900}"/>
              </a:ext>
            </a:extLst>
          </p:cNvPr>
          <p:cNvSpPr/>
          <p:nvPr/>
        </p:nvSpPr>
        <p:spPr>
          <a:xfrm>
            <a:off x="4895735" y="3879315"/>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1</a:t>
            </a:r>
            <a:endParaRPr lang="en-GB" sz="1000" dirty="0">
              <a:solidFill>
                <a:schemeClr val="bg1"/>
              </a:solidFill>
            </a:endParaRPr>
          </a:p>
        </p:txBody>
      </p:sp>
      <p:sp>
        <p:nvSpPr>
          <p:cNvPr id="161" name="Google Shape;6531;p147">
            <a:extLst>
              <a:ext uri="{FF2B5EF4-FFF2-40B4-BE49-F238E27FC236}">
                <a16:creationId xmlns:a16="http://schemas.microsoft.com/office/drawing/2014/main" id="{85DEC04B-9541-4E25-BBA1-F172DC33C042}"/>
              </a:ext>
            </a:extLst>
          </p:cNvPr>
          <p:cNvSpPr/>
          <p:nvPr/>
        </p:nvSpPr>
        <p:spPr>
          <a:xfrm>
            <a:off x="9354950" y="3756925"/>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7</a:t>
            </a:r>
            <a:endParaRPr lang="en-GB" sz="1000" dirty="0">
              <a:solidFill>
                <a:schemeClr val="bg1"/>
              </a:solidFill>
            </a:endParaRPr>
          </a:p>
        </p:txBody>
      </p:sp>
      <p:sp>
        <p:nvSpPr>
          <p:cNvPr id="168" name="Google Shape;6531;p147">
            <a:extLst>
              <a:ext uri="{FF2B5EF4-FFF2-40B4-BE49-F238E27FC236}">
                <a16:creationId xmlns:a16="http://schemas.microsoft.com/office/drawing/2014/main" id="{EB5D7A79-B620-4E78-8FF8-B3443F14FCD2}"/>
              </a:ext>
            </a:extLst>
          </p:cNvPr>
          <p:cNvSpPr/>
          <p:nvPr/>
        </p:nvSpPr>
        <p:spPr>
          <a:xfrm>
            <a:off x="4895735" y="4078577"/>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4</a:t>
            </a:r>
            <a:endParaRPr lang="en-GB" sz="1000" dirty="0">
              <a:solidFill>
                <a:schemeClr val="bg1"/>
              </a:solidFill>
            </a:endParaRPr>
          </a:p>
        </p:txBody>
      </p:sp>
      <p:sp>
        <p:nvSpPr>
          <p:cNvPr id="170" name="Google Shape;6531;p147">
            <a:extLst>
              <a:ext uri="{FF2B5EF4-FFF2-40B4-BE49-F238E27FC236}">
                <a16:creationId xmlns:a16="http://schemas.microsoft.com/office/drawing/2014/main" id="{C1E14B92-7B52-471E-AC64-53A25CC51533}"/>
              </a:ext>
            </a:extLst>
          </p:cNvPr>
          <p:cNvSpPr/>
          <p:nvPr/>
        </p:nvSpPr>
        <p:spPr>
          <a:xfrm>
            <a:off x="5733969" y="3200152"/>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5</a:t>
            </a:r>
            <a:endParaRPr lang="en-GB" sz="1000" dirty="0">
              <a:solidFill>
                <a:schemeClr val="bg1"/>
              </a:solidFill>
            </a:endParaRPr>
          </a:p>
        </p:txBody>
      </p:sp>
      <p:sp>
        <p:nvSpPr>
          <p:cNvPr id="179" name="Google Shape;6531;p147">
            <a:extLst>
              <a:ext uri="{FF2B5EF4-FFF2-40B4-BE49-F238E27FC236}">
                <a16:creationId xmlns:a16="http://schemas.microsoft.com/office/drawing/2014/main" id="{D323E323-7874-4A83-8CBD-EB3A6744214B}"/>
              </a:ext>
            </a:extLst>
          </p:cNvPr>
          <p:cNvSpPr/>
          <p:nvPr/>
        </p:nvSpPr>
        <p:spPr>
          <a:xfrm>
            <a:off x="8283469" y="4118382"/>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6</a:t>
            </a:r>
            <a:endParaRPr lang="en-GB" sz="1000" dirty="0">
              <a:solidFill>
                <a:schemeClr val="bg1"/>
              </a:solidFill>
            </a:endParaRPr>
          </a:p>
        </p:txBody>
      </p:sp>
      <p:sp>
        <p:nvSpPr>
          <p:cNvPr id="181" name="Google Shape;6564;p147">
            <a:extLst>
              <a:ext uri="{FF2B5EF4-FFF2-40B4-BE49-F238E27FC236}">
                <a16:creationId xmlns:a16="http://schemas.microsoft.com/office/drawing/2014/main" id="{FB0C0CCF-FBEB-4A84-8B29-FAB4141D3411}"/>
              </a:ext>
            </a:extLst>
          </p:cNvPr>
          <p:cNvSpPr/>
          <p:nvPr/>
        </p:nvSpPr>
        <p:spPr>
          <a:xfrm>
            <a:off x="4845321" y="2402489"/>
            <a:ext cx="771415" cy="1902160"/>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Building capability and cross skilling</a:t>
            </a:r>
            <a:endParaRPr lang="en-US" sz="900" dirty="0">
              <a:solidFill>
                <a:schemeClr val="dk1"/>
              </a:solidFill>
              <a:cs typeface="Arial"/>
              <a:sym typeface="Arial"/>
            </a:endParaRPr>
          </a:p>
        </p:txBody>
      </p:sp>
      <p:sp>
        <p:nvSpPr>
          <p:cNvPr id="182" name="Google Shape;6564;p147">
            <a:extLst>
              <a:ext uri="{FF2B5EF4-FFF2-40B4-BE49-F238E27FC236}">
                <a16:creationId xmlns:a16="http://schemas.microsoft.com/office/drawing/2014/main" id="{AA8EBB44-463D-496B-B9E8-4C8D065BCDC8}"/>
              </a:ext>
            </a:extLst>
          </p:cNvPr>
          <p:cNvSpPr/>
          <p:nvPr/>
        </p:nvSpPr>
        <p:spPr>
          <a:xfrm>
            <a:off x="5686829" y="2405101"/>
            <a:ext cx="771415" cy="1209143"/>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Diverse talent pipelines</a:t>
            </a:r>
            <a:endParaRPr lang="en-US" sz="900" dirty="0">
              <a:solidFill>
                <a:schemeClr val="dk1"/>
              </a:solidFill>
              <a:cs typeface="Arial"/>
              <a:sym typeface="Arial"/>
            </a:endParaRPr>
          </a:p>
        </p:txBody>
      </p:sp>
      <p:sp>
        <p:nvSpPr>
          <p:cNvPr id="202" name="Google Shape;6564;p147">
            <a:extLst>
              <a:ext uri="{FF2B5EF4-FFF2-40B4-BE49-F238E27FC236}">
                <a16:creationId xmlns:a16="http://schemas.microsoft.com/office/drawing/2014/main" id="{B2558D09-7F76-46BC-A0CE-E54E894C739B}"/>
              </a:ext>
            </a:extLst>
          </p:cNvPr>
          <p:cNvSpPr/>
          <p:nvPr/>
        </p:nvSpPr>
        <p:spPr>
          <a:xfrm>
            <a:off x="7404859" y="3607320"/>
            <a:ext cx="780765" cy="718036"/>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Leadership development </a:t>
            </a:r>
            <a:endParaRPr lang="en-US" sz="900" dirty="0">
              <a:solidFill>
                <a:schemeClr val="dk1"/>
              </a:solidFill>
              <a:cs typeface="Arial"/>
              <a:sym typeface="Arial"/>
            </a:endParaRPr>
          </a:p>
        </p:txBody>
      </p:sp>
      <p:sp>
        <p:nvSpPr>
          <p:cNvPr id="204" name="Google Shape;6564;p147">
            <a:extLst>
              <a:ext uri="{FF2B5EF4-FFF2-40B4-BE49-F238E27FC236}">
                <a16:creationId xmlns:a16="http://schemas.microsoft.com/office/drawing/2014/main" id="{98D45952-D921-4B13-B421-E6DFF74B72D4}"/>
              </a:ext>
            </a:extLst>
          </p:cNvPr>
          <p:cNvSpPr/>
          <p:nvPr/>
        </p:nvSpPr>
        <p:spPr>
          <a:xfrm>
            <a:off x="8246367" y="2380667"/>
            <a:ext cx="771415" cy="1197558"/>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r>
              <a:rPr lang="en-AU" sz="900" dirty="0"/>
              <a:t>Review of PD, role mapping, Contracts</a:t>
            </a:r>
          </a:p>
        </p:txBody>
      </p:sp>
      <p:sp>
        <p:nvSpPr>
          <p:cNvPr id="206" name="Google Shape;6564;p147">
            <a:extLst>
              <a:ext uri="{FF2B5EF4-FFF2-40B4-BE49-F238E27FC236}">
                <a16:creationId xmlns:a16="http://schemas.microsoft.com/office/drawing/2014/main" id="{F7CF5BFF-E26A-4735-BF71-5ACF87A264C9}"/>
              </a:ext>
            </a:extLst>
          </p:cNvPr>
          <p:cNvSpPr/>
          <p:nvPr/>
        </p:nvSpPr>
        <p:spPr>
          <a:xfrm>
            <a:off x="10071715" y="2399731"/>
            <a:ext cx="771415" cy="1076274"/>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Capability and strategy</a:t>
            </a:r>
            <a:endParaRPr lang="en-US" sz="900" dirty="0">
              <a:solidFill>
                <a:schemeClr val="dk1"/>
              </a:solidFill>
              <a:cs typeface="Arial"/>
              <a:sym typeface="Arial"/>
            </a:endParaRPr>
          </a:p>
        </p:txBody>
      </p:sp>
      <p:sp>
        <p:nvSpPr>
          <p:cNvPr id="207" name="Google Shape;6531;p147">
            <a:extLst>
              <a:ext uri="{FF2B5EF4-FFF2-40B4-BE49-F238E27FC236}">
                <a16:creationId xmlns:a16="http://schemas.microsoft.com/office/drawing/2014/main" id="{DE6C44C1-B305-429C-8D1F-E5DE92776CF0}"/>
              </a:ext>
            </a:extLst>
          </p:cNvPr>
          <p:cNvSpPr/>
          <p:nvPr/>
        </p:nvSpPr>
        <p:spPr>
          <a:xfrm>
            <a:off x="10125546" y="2775433"/>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2</a:t>
            </a:r>
            <a:endParaRPr lang="en-GB" sz="1000" dirty="0">
              <a:solidFill>
                <a:schemeClr val="bg1"/>
              </a:solidFill>
            </a:endParaRPr>
          </a:p>
        </p:txBody>
      </p:sp>
      <p:sp>
        <p:nvSpPr>
          <p:cNvPr id="208" name="Google Shape;6531;p147">
            <a:extLst>
              <a:ext uri="{FF2B5EF4-FFF2-40B4-BE49-F238E27FC236}">
                <a16:creationId xmlns:a16="http://schemas.microsoft.com/office/drawing/2014/main" id="{4BFD75A8-CBDD-4C21-8F01-403E6EB2ED2F}"/>
              </a:ext>
            </a:extLst>
          </p:cNvPr>
          <p:cNvSpPr/>
          <p:nvPr/>
        </p:nvSpPr>
        <p:spPr>
          <a:xfrm>
            <a:off x="10120680" y="3184869"/>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7</a:t>
            </a:r>
            <a:endParaRPr lang="en-GB" sz="1000" dirty="0">
              <a:solidFill>
                <a:schemeClr val="bg1"/>
              </a:solidFill>
            </a:endParaRPr>
          </a:p>
        </p:txBody>
      </p:sp>
      <p:sp>
        <p:nvSpPr>
          <p:cNvPr id="210" name="Google Shape;6531;p147">
            <a:extLst>
              <a:ext uri="{FF2B5EF4-FFF2-40B4-BE49-F238E27FC236}">
                <a16:creationId xmlns:a16="http://schemas.microsoft.com/office/drawing/2014/main" id="{9B1CC18F-EB8D-41B1-849F-F64270204FA9}"/>
              </a:ext>
            </a:extLst>
          </p:cNvPr>
          <p:cNvSpPr/>
          <p:nvPr/>
        </p:nvSpPr>
        <p:spPr>
          <a:xfrm>
            <a:off x="5738608" y="3411840"/>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5</a:t>
            </a:r>
            <a:endParaRPr lang="en-GB" sz="1000" dirty="0">
              <a:solidFill>
                <a:schemeClr val="bg1"/>
              </a:solidFill>
            </a:endParaRPr>
          </a:p>
        </p:txBody>
      </p:sp>
      <p:sp>
        <p:nvSpPr>
          <p:cNvPr id="212" name="Google Shape;6564;p147">
            <a:extLst>
              <a:ext uri="{FF2B5EF4-FFF2-40B4-BE49-F238E27FC236}">
                <a16:creationId xmlns:a16="http://schemas.microsoft.com/office/drawing/2014/main" id="{748DE833-519D-4269-A8A4-CFF2B1B7C255}"/>
              </a:ext>
            </a:extLst>
          </p:cNvPr>
          <p:cNvSpPr/>
          <p:nvPr/>
        </p:nvSpPr>
        <p:spPr>
          <a:xfrm>
            <a:off x="7404859" y="2386173"/>
            <a:ext cx="771415" cy="1203700"/>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Diversity and wellbeing network</a:t>
            </a:r>
          </a:p>
          <a:p>
            <a:pPr marR="0" lvl="0" algn="l" rtl="0">
              <a:spcBef>
                <a:spcPts val="0"/>
              </a:spcBef>
              <a:spcAft>
                <a:spcPts val="0"/>
              </a:spcAft>
              <a:buNone/>
            </a:pPr>
            <a:endParaRPr lang="en-GB" sz="900" dirty="0">
              <a:solidFill>
                <a:schemeClr val="dk1"/>
              </a:solidFill>
              <a:cs typeface="Arial"/>
              <a:sym typeface="Arial"/>
            </a:endParaRPr>
          </a:p>
          <a:p>
            <a:pPr marR="0" lvl="0" algn="l" rtl="0">
              <a:spcBef>
                <a:spcPts val="0"/>
              </a:spcBef>
              <a:spcAft>
                <a:spcPts val="0"/>
              </a:spcAft>
              <a:buNone/>
            </a:pPr>
            <a:endParaRPr lang="en-US" sz="900" dirty="0">
              <a:solidFill>
                <a:schemeClr val="dk1"/>
              </a:solidFill>
              <a:cs typeface="Arial"/>
              <a:sym typeface="Arial"/>
            </a:endParaRPr>
          </a:p>
        </p:txBody>
      </p:sp>
      <p:sp>
        <p:nvSpPr>
          <p:cNvPr id="213" name="Google Shape;6531;p147">
            <a:extLst>
              <a:ext uri="{FF2B5EF4-FFF2-40B4-BE49-F238E27FC236}">
                <a16:creationId xmlns:a16="http://schemas.microsoft.com/office/drawing/2014/main" id="{F02A589B-4620-40EC-85F8-BE012C28A18A}"/>
              </a:ext>
            </a:extLst>
          </p:cNvPr>
          <p:cNvSpPr/>
          <p:nvPr/>
        </p:nvSpPr>
        <p:spPr>
          <a:xfrm>
            <a:off x="1344340" y="3049138"/>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1</a:t>
            </a:r>
          </a:p>
        </p:txBody>
      </p:sp>
      <p:sp>
        <p:nvSpPr>
          <p:cNvPr id="214" name="Google Shape;6531;p147">
            <a:extLst>
              <a:ext uri="{FF2B5EF4-FFF2-40B4-BE49-F238E27FC236}">
                <a16:creationId xmlns:a16="http://schemas.microsoft.com/office/drawing/2014/main" id="{AB8AA4BE-3527-4DC8-83FB-EAACBEC9F0D7}"/>
              </a:ext>
            </a:extLst>
          </p:cNvPr>
          <p:cNvSpPr/>
          <p:nvPr/>
        </p:nvSpPr>
        <p:spPr>
          <a:xfrm>
            <a:off x="7457185" y="3141193"/>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4</a:t>
            </a:r>
          </a:p>
        </p:txBody>
      </p:sp>
      <p:sp>
        <p:nvSpPr>
          <p:cNvPr id="215" name="Google Shape;6531;p147">
            <a:extLst>
              <a:ext uri="{FF2B5EF4-FFF2-40B4-BE49-F238E27FC236}">
                <a16:creationId xmlns:a16="http://schemas.microsoft.com/office/drawing/2014/main" id="{A434B0B7-3109-40A1-BEC9-7561DDD648A5}"/>
              </a:ext>
            </a:extLst>
          </p:cNvPr>
          <p:cNvSpPr/>
          <p:nvPr/>
        </p:nvSpPr>
        <p:spPr>
          <a:xfrm>
            <a:off x="7464584" y="3351513"/>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6</a:t>
            </a:r>
          </a:p>
        </p:txBody>
      </p:sp>
      <p:sp>
        <p:nvSpPr>
          <p:cNvPr id="222" name="Google Shape;6632;p147">
            <a:extLst>
              <a:ext uri="{FF2B5EF4-FFF2-40B4-BE49-F238E27FC236}">
                <a16:creationId xmlns:a16="http://schemas.microsoft.com/office/drawing/2014/main" id="{73673A0C-D55F-4D0F-9B7C-BC48D888DEE3}"/>
              </a:ext>
            </a:extLst>
          </p:cNvPr>
          <p:cNvSpPr/>
          <p:nvPr/>
        </p:nvSpPr>
        <p:spPr>
          <a:xfrm>
            <a:off x="6828776" y="5000827"/>
            <a:ext cx="147014" cy="173265"/>
          </a:xfrm>
          <a:prstGeom prst="ellipse">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700" dirty="0">
              <a:solidFill>
                <a:schemeClr val="lt1"/>
              </a:solidFill>
              <a:latin typeface="Arial"/>
              <a:ea typeface="Arial"/>
              <a:cs typeface="Arial"/>
              <a:sym typeface="Arial"/>
            </a:endParaRPr>
          </a:p>
        </p:txBody>
      </p:sp>
      <p:sp>
        <p:nvSpPr>
          <p:cNvPr id="227" name="Google Shape;6531;p147">
            <a:extLst>
              <a:ext uri="{FF2B5EF4-FFF2-40B4-BE49-F238E27FC236}">
                <a16:creationId xmlns:a16="http://schemas.microsoft.com/office/drawing/2014/main" id="{F87A3211-D925-455A-964C-38AFF351E706}"/>
              </a:ext>
            </a:extLst>
          </p:cNvPr>
          <p:cNvSpPr/>
          <p:nvPr/>
        </p:nvSpPr>
        <p:spPr>
          <a:xfrm>
            <a:off x="8289462" y="2973473"/>
            <a:ext cx="673394" cy="154837"/>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P1</a:t>
            </a:r>
            <a:endParaRPr lang="en-GB" sz="1000" dirty="0">
              <a:solidFill>
                <a:schemeClr val="bg1"/>
              </a:solidFill>
            </a:endParaRPr>
          </a:p>
        </p:txBody>
      </p:sp>
      <p:sp>
        <p:nvSpPr>
          <p:cNvPr id="228" name="Google Shape;6531;p147">
            <a:extLst>
              <a:ext uri="{FF2B5EF4-FFF2-40B4-BE49-F238E27FC236}">
                <a16:creationId xmlns:a16="http://schemas.microsoft.com/office/drawing/2014/main" id="{96104A08-DA00-42A0-B7CA-C7DC2C252C61}"/>
              </a:ext>
            </a:extLst>
          </p:cNvPr>
          <p:cNvSpPr/>
          <p:nvPr/>
        </p:nvSpPr>
        <p:spPr>
          <a:xfrm>
            <a:off x="1341530" y="3588356"/>
            <a:ext cx="673394" cy="154837"/>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P5</a:t>
            </a:r>
            <a:endParaRPr lang="en-GB" sz="1000" dirty="0">
              <a:solidFill>
                <a:schemeClr val="bg1"/>
              </a:solidFill>
            </a:endParaRPr>
          </a:p>
        </p:txBody>
      </p:sp>
      <p:sp>
        <p:nvSpPr>
          <p:cNvPr id="229" name="Google Shape;6564;p147">
            <a:extLst>
              <a:ext uri="{FF2B5EF4-FFF2-40B4-BE49-F238E27FC236}">
                <a16:creationId xmlns:a16="http://schemas.microsoft.com/office/drawing/2014/main" id="{8B4FE1D4-EAD6-4AA2-AB35-1DA7FBB5F595}"/>
              </a:ext>
            </a:extLst>
          </p:cNvPr>
          <p:cNvSpPr/>
          <p:nvPr/>
        </p:nvSpPr>
        <p:spPr>
          <a:xfrm>
            <a:off x="6557022" y="3276932"/>
            <a:ext cx="771415" cy="1037568"/>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Performance management </a:t>
            </a:r>
          </a:p>
        </p:txBody>
      </p:sp>
      <p:sp>
        <p:nvSpPr>
          <p:cNvPr id="230" name="Google Shape;6531;p147">
            <a:extLst>
              <a:ext uri="{FF2B5EF4-FFF2-40B4-BE49-F238E27FC236}">
                <a16:creationId xmlns:a16="http://schemas.microsoft.com/office/drawing/2014/main" id="{5BB58D41-1F0B-4DEA-BF0B-35126FB7E0D5}"/>
              </a:ext>
            </a:extLst>
          </p:cNvPr>
          <p:cNvSpPr/>
          <p:nvPr/>
        </p:nvSpPr>
        <p:spPr>
          <a:xfrm>
            <a:off x="6611187" y="3728542"/>
            <a:ext cx="673394" cy="170921"/>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rtl="0">
              <a:spcBef>
                <a:spcPts val="0"/>
              </a:spcBef>
              <a:spcAft>
                <a:spcPts val="0"/>
              </a:spcAft>
              <a:buNone/>
            </a:pPr>
            <a:r>
              <a:rPr lang="en-GB" sz="1000" dirty="0">
                <a:solidFill>
                  <a:schemeClr val="bg1"/>
                </a:solidFill>
                <a:cs typeface="Arial"/>
                <a:sym typeface="Arial"/>
              </a:rPr>
              <a:t>P2</a:t>
            </a:r>
            <a:endParaRPr lang="en-GB" sz="1000" dirty="0">
              <a:solidFill>
                <a:schemeClr val="bg1"/>
              </a:solidFill>
            </a:endParaRPr>
          </a:p>
        </p:txBody>
      </p:sp>
      <p:sp>
        <p:nvSpPr>
          <p:cNvPr id="231" name="Google Shape;6531;p147">
            <a:extLst>
              <a:ext uri="{FF2B5EF4-FFF2-40B4-BE49-F238E27FC236}">
                <a16:creationId xmlns:a16="http://schemas.microsoft.com/office/drawing/2014/main" id="{F001D2A0-D647-4337-8446-CA7C4A3CFE31}"/>
              </a:ext>
            </a:extLst>
          </p:cNvPr>
          <p:cNvSpPr/>
          <p:nvPr/>
        </p:nvSpPr>
        <p:spPr>
          <a:xfrm>
            <a:off x="6620863" y="3928393"/>
            <a:ext cx="673394" cy="170921"/>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rtl="0">
              <a:spcBef>
                <a:spcPts val="0"/>
              </a:spcBef>
              <a:spcAft>
                <a:spcPts val="0"/>
              </a:spcAft>
              <a:buNone/>
            </a:pPr>
            <a:r>
              <a:rPr lang="en-GB" sz="1000" dirty="0">
                <a:solidFill>
                  <a:schemeClr val="bg1"/>
                </a:solidFill>
                <a:cs typeface="Arial"/>
                <a:sym typeface="Arial"/>
              </a:rPr>
              <a:t>P4</a:t>
            </a:r>
            <a:endParaRPr lang="en-GB" sz="1000" dirty="0">
              <a:solidFill>
                <a:schemeClr val="bg1"/>
              </a:solidFill>
            </a:endParaRPr>
          </a:p>
        </p:txBody>
      </p:sp>
      <p:sp>
        <p:nvSpPr>
          <p:cNvPr id="232" name="Google Shape;6531;p147">
            <a:extLst>
              <a:ext uri="{FF2B5EF4-FFF2-40B4-BE49-F238E27FC236}">
                <a16:creationId xmlns:a16="http://schemas.microsoft.com/office/drawing/2014/main" id="{E38A6FE6-22A8-4B60-AB65-049D8E942C96}"/>
              </a:ext>
            </a:extLst>
          </p:cNvPr>
          <p:cNvSpPr/>
          <p:nvPr/>
        </p:nvSpPr>
        <p:spPr>
          <a:xfrm>
            <a:off x="6610526" y="4128244"/>
            <a:ext cx="673394" cy="154837"/>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rtl="0">
              <a:spcBef>
                <a:spcPts val="0"/>
              </a:spcBef>
              <a:spcAft>
                <a:spcPts val="0"/>
              </a:spcAft>
              <a:buNone/>
            </a:pPr>
            <a:r>
              <a:rPr lang="en-GB" sz="1000" dirty="0">
                <a:solidFill>
                  <a:schemeClr val="bg1"/>
                </a:solidFill>
                <a:cs typeface="Arial"/>
                <a:sym typeface="Arial"/>
              </a:rPr>
              <a:t>P6</a:t>
            </a:r>
            <a:endParaRPr lang="en-GB" sz="1000" dirty="0">
              <a:solidFill>
                <a:schemeClr val="bg1"/>
              </a:solidFill>
            </a:endParaRPr>
          </a:p>
        </p:txBody>
      </p:sp>
      <p:sp>
        <p:nvSpPr>
          <p:cNvPr id="234" name="Google Shape;6564;p147">
            <a:extLst>
              <a:ext uri="{FF2B5EF4-FFF2-40B4-BE49-F238E27FC236}">
                <a16:creationId xmlns:a16="http://schemas.microsoft.com/office/drawing/2014/main" id="{CF19692B-2677-469F-A034-7433775F0314}"/>
              </a:ext>
            </a:extLst>
          </p:cNvPr>
          <p:cNvSpPr/>
          <p:nvPr/>
        </p:nvSpPr>
        <p:spPr>
          <a:xfrm>
            <a:off x="1293829" y="3277926"/>
            <a:ext cx="771415" cy="479000"/>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Employee recognition </a:t>
            </a:r>
          </a:p>
        </p:txBody>
      </p:sp>
      <p:sp>
        <p:nvSpPr>
          <p:cNvPr id="235" name="Google Shape;6564;p147">
            <a:extLst>
              <a:ext uri="{FF2B5EF4-FFF2-40B4-BE49-F238E27FC236}">
                <a16:creationId xmlns:a16="http://schemas.microsoft.com/office/drawing/2014/main" id="{8AF05C59-FDBD-458F-8E65-ED5524D53F2B}"/>
              </a:ext>
            </a:extLst>
          </p:cNvPr>
          <p:cNvSpPr/>
          <p:nvPr/>
        </p:nvSpPr>
        <p:spPr>
          <a:xfrm>
            <a:off x="5665571" y="3684548"/>
            <a:ext cx="771415" cy="623334"/>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EVP</a:t>
            </a:r>
            <a:endParaRPr lang="en-US" sz="900" dirty="0">
              <a:solidFill>
                <a:schemeClr val="dk1"/>
              </a:solidFill>
              <a:cs typeface="Arial"/>
              <a:sym typeface="Arial"/>
            </a:endParaRPr>
          </a:p>
        </p:txBody>
      </p:sp>
      <p:sp>
        <p:nvSpPr>
          <p:cNvPr id="236" name="Google Shape;6564;p147">
            <a:extLst>
              <a:ext uri="{FF2B5EF4-FFF2-40B4-BE49-F238E27FC236}">
                <a16:creationId xmlns:a16="http://schemas.microsoft.com/office/drawing/2014/main" id="{DDD35452-32A5-4C15-9A51-7F5C95E61BEA}"/>
              </a:ext>
            </a:extLst>
          </p:cNvPr>
          <p:cNvSpPr/>
          <p:nvPr/>
        </p:nvSpPr>
        <p:spPr>
          <a:xfrm>
            <a:off x="6542194" y="2393297"/>
            <a:ext cx="771415" cy="833808"/>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Collaborative ways of working</a:t>
            </a:r>
            <a:endParaRPr lang="en-US" sz="900" dirty="0">
              <a:solidFill>
                <a:schemeClr val="dk1"/>
              </a:solidFill>
              <a:cs typeface="Arial"/>
              <a:sym typeface="Arial"/>
            </a:endParaRPr>
          </a:p>
        </p:txBody>
      </p:sp>
      <p:sp>
        <p:nvSpPr>
          <p:cNvPr id="237" name="Google Shape;6564;p147">
            <a:extLst>
              <a:ext uri="{FF2B5EF4-FFF2-40B4-BE49-F238E27FC236}">
                <a16:creationId xmlns:a16="http://schemas.microsoft.com/office/drawing/2014/main" id="{19CA87F6-6077-45E4-B64A-26E77D905B35}"/>
              </a:ext>
            </a:extLst>
          </p:cNvPr>
          <p:cNvSpPr/>
          <p:nvPr/>
        </p:nvSpPr>
        <p:spPr>
          <a:xfrm>
            <a:off x="8229712" y="3606203"/>
            <a:ext cx="788070" cy="704439"/>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Resource  prioritisation </a:t>
            </a:r>
            <a:endParaRPr lang="en-US" sz="900" dirty="0">
              <a:solidFill>
                <a:schemeClr val="dk1"/>
              </a:solidFill>
              <a:cs typeface="Arial"/>
              <a:sym typeface="Arial"/>
            </a:endParaRPr>
          </a:p>
        </p:txBody>
      </p:sp>
      <p:sp>
        <p:nvSpPr>
          <p:cNvPr id="216" name="Title 1">
            <a:extLst>
              <a:ext uri="{FF2B5EF4-FFF2-40B4-BE49-F238E27FC236}">
                <a16:creationId xmlns:a16="http://schemas.microsoft.com/office/drawing/2014/main" id="{BB3A1C05-2FD3-415C-AE05-46B37ACB90C0}"/>
              </a:ext>
            </a:extLst>
          </p:cNvPr>
          <p:cNvSpPr txBox="1">
            <a:spLocks/>
          </p:cNvSpPr>
          <p:nvPr/>
        </p:nvSpPr>
        <p:spPr>
          <a:xfrm>
            <a:off x="500150" y="321702"/>
            <a:ext cx="8247924" cy="1376364"/>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r>
              <a:rPr lang="en-US" sz="3200" dirty="0">
                <a:solidFill>
                  <a:schemeClr val="tx2"/>
                </a:solidFill>
              </a:rPr>
              <a:t>Broader opportunity roadmap for consideration</a:t>
            </a:r>
            <a:endParaRPr lang="en-AU" dirty="0"/>
          </a:p>
        </p:txBody>
      </p:sp>
      <p:cxnSp>
        <p:nvCxnSpPr>
          <p:cNvPr id="238" name="Google Shape;6648;p147">
            <a:extLst>
              <a:ext uri="{FF2B5EF4-FFF2-40B4-BE49-F238E27FC236}">
                <a16:creationId xmlns:a16="http://schemas.microsoft.com/office/drawing/2014/main" id="{FC36B454-6588-4CC5-B96C-95DB0B538B1E}"/>
              </a:ext>
            </a:extLst>
          </p:cNvPr>
          <p:cNvCxnSpPr>
            <a:cxnSpLocks/>
            <a:endCxn id="222" idx="0"/>
          </p:cNvCxnSpPr>
          <p:nvPr/>
        </p:nvCxnSpPr>
        <p:spPr>
          <a:xfrm>
            <a:off x="6902283" y="4436690"/>
            <a:ext cx="0" cy="564137"/>
          </a:xfrm>
          <a:prstGeom prst="straightConnector1">
            <a:avLst/>
          </a:prstGeom>
          <a:noFill/>
          <a:ln w="12700" cap="sq" cmpd="sng">
            <a:solidFill>
              <a:schemeClr val="dk2"/>
            </a:solidFill>
            <a:prstDash val="dash"/>
            <a:round/>
            <a:headEnd type="none" w="sm" len="sm"/>
            <a:tailEnd type="none" w="sm" len="sm"/>
          </a:ln>
        </p:spPr>
      </p:cxnSp>
      <p:cxnSp>
        <p:nvCxnSpPr>
          <p:cNvPr id="239" name="Google Shape;6589;p147">
            <a:extLst>
              <a:ext uri="{FF2B5EF4-FFF2-40B4-BE49-F238E27FC236}">
                <a16:creationId xmlns:a16="http://schemas.microsoft.com/office/drawing/2014/main" id="{E13D7C82-1217-4DA6-94BB-55C133ADA126}"/>
              </a:ext>
            </a:extLst>
          </p:cNvPr>
          <p:cNvCxnSpPr>
            <a:cxnSpLocks/>
          </p:cNvCxnSpPr>
          <p:nvPr/>
        </p:nvCxnSpPr>
        <p:spPr>
          <a:xfrm flipV="1">
            <a:off x="4783948" y="4398842"/>
            <a:ext cx="4341937" cy="7546"/>
          </a:xfrm>
          <a:prstGeom prst="straightConnector1">
            <a:avLst/>
          </a:prstGeom>
          <a:noFill/>
          <a:ln w="12700" cap="sq" cmpd="sng">
            <a:solidFill>
              <a:schemeClr val="dk2"/>
            </a:solidFill>
            <a:prstDash val="dash"/>
            <a:round/>
            <a:headEnd type="none" w="sm" len="sm"/>
            <a:tailEnd type="none" w="sm" len="sm"/>
          </a:ln>
        </p:spPr>
      </p:cxnSp>
      <p:cxnSp>
        <p:nvCxnSpPr>
          <p:cNvPr id="240" name="Google Shape;6648;p147">
            <a:extLst>
              <a:ext uri="{FF2B5EF4-FFF2-40B4-BE49-F238E27FC236}">
                <a16:creationId xmlns:a16="http://schemas.microsoft.com/office/drawing/2014/main" id="{2E7A8708-23B8-4C46-8821-262DBF0B90C2}"/>
              </a:ext>
            </a:extLst>
          </p:cNvPr>
          <p:cNvCxnSpPr>
            <a:cxnSpLocks/>
          </p:cNvCxnSpPr>
          <p:nvPr/>
        </p:nvCxnSpPr>
        <p:spPr>
          <a:xfrm>
            <a:off x="4783948" y="4220933"/>
            <a:ext cx="0" cy="143089"/>
          </a:xfrm>
          <a:prstGeom prst="straightConnector1">
            <a:avLst/>
          </a:prstGeom>
          <a:noFill/>
          <a:ln w="12700" cap="sq" cmpd="sng">
            <a:solidFill>
              <a:schemeClr val="dk2"/>
            </a:solidFill>
            <a:prstDash val="dash"/>
            <a:round/>
            <a:headEnd type="none" w="sm" len="sm"/>
            <a:tailEnd type="none" w="sm" len="sm"/>
          </a:ln>
        </p:spPr>
      </p:cxnSp>
      <p:cxnSp>
        <p:nvCxnSpPr>
          <p:cNvPr id="241" name="Google Shape;6648;p147">
            <a:extLst>
              <a:ext uri="{FF2B5EF4-FFF2-40B4-BE49-F238E27FC236}">
                <a16:creationId xmlns:a16="http://schemas.microsoft.com/office/drawing/2014/main" id="{AA3E0A05-6688-4FB4-9734-EC02165A24F4}"/>
              </a:ext>
            </a:extLst>
          </p:cNvPr>
          <p:cNvCxnSpPr>
            <a:cxnSpLocks/>
          </p:cNvCxnSpPr>
          <p:nvPr/>
        </p:nvCxnSpPr>
        <p:spPr>
          <a:xfrm>
            <a:off x="9110771" y="4215938"/>
            <a:ext cx="0" cy="143089"/>
          </a:xfrm>
          <a:prstGeom prst="straightConnector1">
            <a:avLst/>
          </a:prstGeom>
          <a:noFill/>
          <a:ln w="12700" cap="sq" cmpd="sng">
            <a:solidFill>
              <a:schemeClr val="dk2"/>
            </a:solidFill>
            <a:prstDash val="dash"/>
            <a:round/>
            <a:headEnd type="none" w="sm" len="sm"/>
            <a:tailEnd type="none" w="sm" len="sm"/>
          </a:ln>
        </p:spPr>
      </p:cxnSp>
      <p:cxnSp>
        <p:nvCxnSpPr>
          <p:cNvPr id="242" name="Google Shape;6648;p147">
            <a:extLst>
              <a:ext uri="{FF2B5EF4-FFF2-40B4-BE49-F238E27FC236}">
                <a16:creationId xmlns:a16="http://schemas.microsoft.com/office/drawing/2014/main" id="{A14F98EF-2738-480F-BE1E-83F3AD444D85}"/>
              </a:ext>
            </a:extLst>
          </p:cNvPr>
          <p:cNvCxnSpPr>
            <a:cxnSpLocks/>
          </p:cNvCxnSpPr>
          <p:nvPr/>
        </p:nvCxnSpPr>
        <p:spPr>
          <a:xfrm>
            <a:off x="9225386" y="3907147"/>
            <a:ext cx="0" cy="143089"/>
          </a:xfrm>
          <a:prstGeom prst="straightConnector1">
            <a:avLst/>
          </a:prstGeom>
          <a:noFill/>
          <a:ln w="12700" cap="sq" cmpd="sng">
            <a:solidFill>
              <a:schemeClr val="dk2"/>
            </a:solidFill>
            <a:prstDash val="dash"/>
            <a:round/>
            <a:headEnd type="none" w="sm" len="sm"/>
            <a:tailEnd type="none" w="sm" len="sm"/>
          </a:ln>
        </p:spPr>
      </p:cxnSp>
      <p:cxnSp>
        <p:nvCxnSpPr>
          <p:cNvPr id="243" name="Google Shape;6648;p147">
            <a:extLst>
              <a:ext uri="{FF2B5EF4-FFF2-40B4-BE49-F238E27FC236}">
                <a16:creationId xmlns:a16="http://schemas.microsoft.com/office/drawing/2014/main" id="{693A5C04-70C5-42BC-9DEA-4B7DCD60F58E}"/>
              </a:ext>
            </a:extLst>
          </p:cNvPr>
          <p:cNvCxnSpPr>
            <a:cxnSpLocks/>
          </p:cNvCxnSpPr>
          <p:nvPr/>
        </p:nvCxnSpPr>
        <p:spPr>
          <a:xfrm>
            <a:off x="10908139" y="3945510"/>
            <a:ext cx="0" cy="143089"/>
          </a:xfrm>
          <a:prstGeom prst="straightConnector1">
            <a:avLst/>
          </a:prstGeom>
          <a:noFill/>
          <a:ln w="12700" cap="sq" cmpd="sng">
            <a:solidFill>
              <a:schemeClr val="dk2"/>
            </a:solidFill>
            <a:prstDash val="dash"/>
            <a:round/>
            <a:headEnd type="none" w="sm" len="sm"/>
            <a:tailEnd type="none" w="sm" len="sm"/>
          </a:ln>
        </p:spPr>
      </p:cxnSp>
      <p:cxnSp>
        <p:nvCxnSpPr>
          <p:cNvPr id="244" name="Google Shape;6629;p147">
            <a:extLst>
              <a:ext uri="{FF2B5EF4-FFF2-40B4-BE49-F238E27FC236}">
                <a16:creationId xmlns:a16="http://schemas.microsoft.com/office/drawing/2014/main" id="{F088E8FC-0520-4409-B2C1-0F4FC873DDBD}"/>
              </a:ext>
            </a:extLst>
          </p:cNvPr>
          <p:cNvCxnSpPr>
            <a:cxnSpLocks/>
          </p:cNvCxnSpPr>
          <p:nvPr/>
        </p:nvCxnSpPr>
        <p:spPr>
          <a:xfrm>
            <a:off x="9235048" y="4092190"/>
            <a:ext cx="1673091" cy="15667"/>
          </a:xfrm>
          <a:prstGeom prst="straightConnector1">
            <a:avLst/>
          </a:prstGeom>
          <a:noFill/>
          <a:ln w="12700" cap="sq" cmpd="sng">
            <a:solidFill>
              <a:schemeClr val="dk2"/>
            </a:solidFill>
            <a:prstDash val="dash"/>
            <a:round/>
            <a:headEnd type="none" w="sm" len="sm"/>
            <a:tailEnd type="none" w="sm" len="sm"/>
          </a:ln>
        </p:spPr>
      </p:cxnSp>
      <p:sp>
        <p:nvSpPr>
          <p:cNvPr id="112" name="TextBox 111">
            <a:extLst>
              <a:ext uri="{FF2B5EF4-FFF2-40B4-BE49-F238E27FC236}">
                <a16:creationId xmlns:a16="http://schemas.microsoft.com/office/drawing/2014/main" id="{8A5E5A20-2E73-4D51-92E8-E3198D5B3F4E}"/>
              </a:ext>
            </a:extLst>
          </p:cNvPr>
          <p:cNvSpPr txBox="1"/>
          <p:nvPr/>
        </p:nvSpPr>
        <p:spPr>
          <a:xfrm>
            <a:off x="-1002200" y="5297857"/>
            <a:ext cx="3148012" cy="261610"/>
          </a:xfrm>
          <a:prstGeom prst="rect">
            <a:avLst/>
          </a:prstGeom>
          <a:noFill/>
        </p:spPr>
        <p:txBody>
          <a:bodyPr wrap="square">
            <a:spAutoFit/>
          </a:bodyPr>
          <a:lstStyle/>
          <a:p>
            <a:pPr marL="0" marR="0" lvl="0" indent="0" algn="ctr" rtl="0">
              <a:spcBef>
                <a:spcPts val="0"/>
              </a:spcBef>
              <a:spcAft>
                <a:spcPts val="0"/>
              </a:spcAft>
              <a:buNone/>
            </a:pPr>
            <a:r>
              <a:rPr lang="en-GB" sz="1100" b="1" dirty="0">
                <a:solidFill>
                  <a:schemeClr val="dk1"/>
                </a:solidFill>
                <a:latin typeface="+mj-lt"/>
                <a:cs typeface="Arial"/>
                <a:sym typeface="Arial"/>
              </a:rPr>
              <a:t>Today</a:t>
            </a:r>
          </a:p>
        </p:txBody>
      </p:sp>
    </p:spTree>
    <p:extLst>
      <p:ext uri="{BB962C8B-B14F-4D97-AF65-F5344CB8AC3E}">
        <p14:creationId xmlns:p14="http://schemas.microsoft.com/office/powerpoint/2010/main" val="36258273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Google Shape;3347;p232">
            <a:extLst>
              <a:ext uri="{FF2B5EF4-FFF2-40B4-BE49-F238E27FC236}">
                <a16:creationId xmlns:a16="http://schemas.microsoft.com/office/drawing/2014/main" id="{C92009BB-D500-463D-8EBB-3DC6B8CB90B9}"/>
              </a:ext>
            </a:extLst>
          </p:cNvPr>
          <p:cNvSpPr/>
          <p:nvPr/>
        </p:nvSpPr>
        <p:spPr>
          <a:xfrm>
            <a:off x="494801" y="2417173"/>
            <a:ext cx="9609678" cy="764494"/>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2" name="Title 1">
            <a:extLst>
              <a:ext uri="{FF2B5EF4-FFF2-40B4-BE49-F238E27FC236}">
                <a16:creationId xmlns:a16="http://schemas.microsoft.com/office/drawing/2014/main" id="{113C66C0-E928-4EE0-A30F-5C5E1DEF52C0}"/>
              </a:ext>
            </a:extLst>
          </p:cNvPr>
          <p:cNvSpPr>
            <a:spLocks noGrp="1"/>
          </p:cNvSpPr>
          <p:nvPr>
            <p:ph type="title"/>
          </p:nvPr>
        </p:nvSpPr>
        <p:spPr>
          <a:xfrm>
            <a:off x="500150" y="321702"/>
            <a:ext cx="7153337" cy="1376364"/>
          </a:xfrm>
        </p:spPr>
        <p:txBody>
          <a:bodyPr/>
          <a:lstStyle/>
          <a:p>
            <a:r>
              <a:rPr lang="en-US" sz="3200" dirty="0">
                <a:solidFill>
                  <a:schemeClr val="tx2"/>
                </a:solidFill>
              </a:rPr>
              <a:t>Opportunities and recommendations</a:t>
            </a:r>
            <a:endParaRPr lang="en-AU" dirty="0"/>
          </a:p>
        </p:txBody>
      </p:sp>
      <p:sp>
        <p:nvSpPr>
          <p:cNvPr id="14" name="Google Shape;3336;p232">
            <a:extLst>
              <a:ext uri="{FF2B5EF4-FFF2-40B4-BE49-F238E27FC236}">
                <a16:creationId xmlns:a16="http://schemas.microsoft.com/office/drawing/2014/main" id="{04E60670-9457-4B9C-BE8D-A906BB5F5A64}"/>
              </a:ext>
            </a:extLst>
          </p:cNvPr>
          <p:cNvSpPr/>
          <p:nvPr/>
        </p:nvSpPr>
        <p:spPr>
          <a:xfrm>
            <a:off x="500150" y="1990055"/>
            <a:ext cx="9602797" cy="383519"/>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defRPr/>
            </a:pPr>
            <a:r>
              <a:rPr kumimoji="0" lang="en-AU" sz="1100" b="1" i="0" u="none" strike="noStrike" kern="0" cap="none" spc="0" normalizeH="0" baseline="0" noProof="0" dirty="0">
                <a:ln>
                  <a:noFill/>
                </a:ln>
                <a:solidFill>
                  <a:srgbClr val="FFFFFF"/>
                </a:solidFill>
                <a:effectLst/>
                <a:uLnTx/>
                <a:uFillTx/>
                <a:latin typeface="Calibri"/>
                <a:ea typeface="Arial"/>
                <a:cs typeface="Arial"/>
                <a:sym typeface="Arial"/>
              </a:rPr>
              <a:t>Foundation priority opportunities</a:t>
            </a:r>
            <a:r>
              <a:rPr lang="en-AU" sz="1200" b="1" kern="0" dirty="0">
                <a:solidFill>
                  <a:srgbClr val="FFFFFF"/>
                </a:solidFill>
                <a:latin typeface="Calibri"/>
                <a:ea typeface="Arial"/>
                <a:cs typeface="Arial"/>
                <a:sym typeface="Arial"/>
              </a:rPr>
              <a:t> </a:t>
            </a:r>
            <a:endParaRPr lang="en-AU" sz="1200" b="1" i="0" u="none" strike="noStrike" kern="0" cap="none" spc="0" normalizeH="0" baseline="0" noProof="0" dirty="0">
              <a:ln>
                <a:noFill/>
              </a:ln>
              <a:solidFill>
                <a:srgbClr val="FFFFFF"/>
              </a:solidFill>
              <a:effectLst/>
              <a:uLnTx/>
              <a:uFillTx/>
              <a:latin typeface="Calibri"/>
              <a:ea typeface="Arial"/>
              <a:cs typeface="Arial"/>
            </a:endParaRPr>
          </a:p>
        </p:txBody>
      </p:sp>
      <p:sp>
        <p:nvSpPr>
          <p:cNvPr id="15" name="Google Shape;3337;p232">
            <a:extLst>
              <a:ext uri="{FF2B5EF4-FFF2-40B4-BE49-F238E27FC236}">
                <a16:creationId xmlns:a16="http://schemas.microsoft.com/office/drawing/2014/main" id="{CB349709-7467-4E83-84AD-484638E62A24}"/>
              </a:ext>
            </a:extLst>
          </p:cNvPr>
          <p:cNvSpPr/>
          <p:nvPr/>
        </p:nvSpPr>
        <p:spPr>
          <a:xfrm>
            <a:off x="10218634" y="1987133"/>
            <a:ext cx="1548000" cy="384731"/>
          </a:xfrm>
          <a:prstGeom prst="rect">
            <a:avLst/>
          </a:prstGeom>
          <a:solidFill>
            <a:schemeClr val="tx2"/>
          </a:solidFill>
          <a:ln>
            <a:noFill/>
          </a:ln>
        </p:spPr>
        <p:txBody>
          <a:bodyPr spcFirstLastPara="1" wrap="square" lIns="91425" tIns="45700" rIns="91425" bIns="45700" anchor="ctr" anchorCtr="0">
            <a:noAutofit/>
          </a:bodyPr>
          <a:lstStyle/>
          <a:p>
            <a:pPr algn="ctr">
              <a:buClr>
                <a:srgbClr val="000000"/>
              </a:buClr>
              <a:defRPr/>
            </a:pPr>
            <a:r>
              <a:rPr kumimoji="0" lang="en-AU" sz="1200" b="1" i="0" u="none" strike="noStrike" kern="0" cap="none" spc="0" normalizeH="0" baseline="0" noProof="0" dirty="0">
                <a:ln>
                  <a:noFill/>
                </a:ln>
                <a:solidFill>
                  <a:srgbClr val="FFFFFF"/>
                </a:solidFill>
                <a:effectLst/>
                <a:uLnTx/>
                <a:uFillTx/>
                <a:latin typeface="Calibri"/>
                <a:ea typeface="Arial"/>
                <a:cs typeface="Arial"/>
                <a:sym typeface="Arial"/>
              </a:rPr>
              <a:t>Workforce Pillar</a:t>
            </a:r>
            <a:r>
              <a:rPr lang="en-AU" sz="1200" b="1" kern="0" dirty="0">
                <a:solidFill>
                  <a:srgbClr val="FFFFFF"/>
                </a:solidFill>
                <a:latin typeface="Calibri"/>
                <a:ea typeface="Arial"/>
                <a:cs typeface="Arial"/>
                <a:sym typeface="Arial"/>
              </a:rPr>
              <a:t> </a:t>
            </a:r>
            <a:endParaRPr kumimoji="0" lang="en-AU" sz="1400" b="0" i="0" u="none" strike="noStrike" kern="0" cap="none" spc="0" normalizeH="0" baseline="0" noProof="0" dirty="0">
              <a:ln>
                <a:noFill/>
              </a:ln>
              <a:solidFill>
                <a:srgbClr val="000000"/>
              </a:solidFill>
              <a:effectLst/>
              <a:uLnTx/>
              <a:uFillTx/>
              <a:latin typeface="Calibri"/>
              <a:cs typeface="Arial"/>
              <a:sym typeface="Arial"/>
            </a:endParaRPr>
          </a:p>
        </p:txBody>
      </p:sp>
      <p:sp>
        <p:nvSpPr>
          <p:cNvPr id="19" name="Google Shape;3341;p232">
            <a:extLst>
              <a:ext uri="{FF2B5EF4-FFF2-40B4-BE49-F238E27FC236}">
                <a16:creationId xmlns:a16="http://schemas.microsoft.com/office/drawing/2014/main" id="{A9018DE6-B50D-4514-9C1A-4D58FA68E3CF}"/>
              </a:ext>
            </a:extLst>
          </p:cNvPr>
          <p:cNvSpPr/>
          <p:nvPr/>
        </p:nvSpPr>
        <p:spPr>
          <a:xfrm>
            <a:off x="10203332" y="2411763"/>
            <a:ext cx="1548000" cy="764494"/>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AU" sz="900" b="1" dirty="0">
                <a:solidFill>
                  <a:schemeClr val="accent1"/>
                </a:solidFill>
                <a:latin typeface="Calibri" panose="020F0502020204030204"/>
              </a:rPr>
              <a:t>WS1, </a:t>
            </a:r>
            <a:r>
              <a:rPr lang="en-AU" sz="900" b="1" dirty="0">
                <a:solidFill>
                  <a:schemeClr val="accent6"/>
                </a:solidFill>
                <a:latin typeface="Calibri" panose="020F0502020204030204"/>
              </a:rPr>
              <a:t>DIW3</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24" name="Google Shape;3346;p232">
            <a:extLst>
              <a:ext uri="{FF2B5EF4-FFF2-40B4-BE49-F238E27FC236}">
                <a16:creationId xmlns:a16="http://schemas.microsoft.com/office/drawing/2014/main" id="{B97D09F8-1A0D-47C4-82F7-E2F474FB4382}"/>
              </a:ext>
            </a:extLst>
          </p:cNvPr>
          <p:cNvGrpSpPr/>
          <p:nvPr/>
        </p:nvGrpSpPr>
        <p:grpSpPr>
          <a:xfrm>
            <a:off x="475972" y="3903949"/>
            <a:ext cx="9781496" cy="777095"/>
            <a:chOff x="1196265" y="1713844"/>
            <a:chExt cx="5746690" cy="500601"/>
          </a:xfrm>
        </p:grpSpPr>
        <p:sp>
          <p:nvSpPr>
            <p:cNvPr id="25" name="Google Shape;3347;p232">
              <a:extLst>
                <a:ext uri="{FF2B5EF4-FFF2-40B4-BE49-F238E27FC236}">
                  <a16:creationId xmlns:a16="http://schemas.microsoft.com/office/drawing/2014/main" id="{1FD17E8E-FE45-45AB-9E75-E08CA0244459}"/>
                </a:ext>
              </a:extLst>
            </p:cNvPr>
            <p:cNvSpPr/>
            <p:nvPr/>
          </p:nvSpPr>
          <p:spPr>
            <a:xfrm>
              <a:off x="1212059" y="1742711"/>
              <a:ext cx="5638245" cy="431587"/>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26" name="Google Shape;3348;p232">
              <a:extLst>
                <a:ext uri="{FF2B5EF4-FFF2-40B4-BE49-F238E27FC236}">
                  <a16:creationId xmlns:a16="http://schemas.microsoft.com/office/drawing/2014/main" id="{DADF5408-6C9C-4E43-9863-9A54492B774A}"/>
                </a:ext>
              </a:extLst>
            </p:cNvPr>
            <p:cNvSpPr txBox="1"/>
            <p:nvPr/>
          </p:nvSpPr>
          <p:spPr>
            <a:xfrm>
              <a:off x="1196265" y="1713844"/>
              <a:ext cx="5746690" cy="500601"/>
            </a:xfrm>
            <a:prstGeom prst="rect">
              <a:avLst/>
            </a:prstGeom>
            <a:noFill/>
            <a:ln>
              <a:noFill/>
            </a:ln>
          </p:spPr>
          <p:txBody>
            <a:bodyPr spcFirstLastPara="1" wrap="square" lIns="91425" tIns="45700" rIns="91425" bIns="45700" anchor="t" anchorCtr="0">
              <a:spAutoFit/>
            </a:bodyPr>
            <a:lstStyle/>
            <a:p>
              <a:pPr>
                <a:lnSpc>
                  <a:spcPct val="100000"/>
                </a:lnSpc>
                <a:spcBef>
                  <a:spcPts val="300"/>
                </a:spcBef>
                <a:buClr>
                  <a:schemeClr val="tx1"/>
                </a:buClr>
                <a:tabLst>
                  <a:tab pos="358775" algn="l"/>
                </a:tabLst>
                <a:defRPr/>
              </a:pPr>
              <a:r>
                <a:rPr lang="en-AU" sz="1200" b="1" dirty="0">
                  <a:solidFill>
                    <a:prstClr val="black"/>
                  </a:solidFill>
                  <a:latin typeface="Calibri" panose="020F0502020204030204"/>
                  <a:sym typeface="Arial"/>
                </a:rPr>
                <a:t>Performance Management </a:t>
              </a:r>
              <a:r>
                <a:rPr lang="en-AU" sz="1000" dirty="0"/>
                <a:t>Develop, embed and normalise </a:t>
              </a:r>
              <a:r>
                <a:rPr lang="en-AU" sz="1000" b="1" dirty="0"/>
                <a:t>consistent, repeatable and engaging performance planning processes </a:t>
              </a:r>
              <a:r>
                <a:rPr lang="en-AU" sz="1000" dirty="0"/>
                <a:t>that enables: </a:t>
              </a:r>
              <a:r>
                <a:rPr lang="en-AU" sz="1000" b="1" dirty="0"/>
                <a:t>performance discussions </a:t>
              </a:r>
              <a:r>
                <a:rPr lang="en-AU" sz="1000" dirty="0"/>
                <a:t>between leaders and workers with each worker to have their own </a:t>
              </a:r>
              <a:r>
                <a:rPr lang="en-AU" sz="1000" b="1" dirty="0"/>
                <a:t>Professional Development Plan (</a:t>
              </a:r>
              <a:r>
                <a:rPr lang="en-AU" sz="1000" b="1" dirty="0" smtClean="0"/>
                <a:t>PDP)</a:t>
              </a:r>
              <a:r>
                <a:rPr lang="en-AU" sz="1000" dirty="0" smtClean="0"/>
                <a:t>. Leaders </a:t>
              </a:r>
              <a:r>
                <a:rPr lang="en-AU" sz="1000" dirty="0"/>
                <a:t>to </a:t>
              </a:r>
              <a:r>
                <a:rPr lang="en-AU" sz="1000" b="1" dirty="0"/>
                <a:t>manage performance consistently </a:t>
              </a:r>
              <a:r>
                <a:rPr lang="en-AU" sz="1000" dirty="0"/>
                <a:t>and effectively, the Commission's </a:t>
              </a:r>
              <a:r>
                <a:rPr lang="en-AU" sz="1000" b="1" dirty="0"/>
                <a:t>cultural principles to be embedded in performance discussions,</a:t>
              </a:r>
              <a:r>
                <a:rPr lang="en-AU" sz="1000" dirty="0"/>
                <a:t> describing </a:t>
              </a:r>
              <a:r>
                <a:rPr lang="en-AU" sz="1000" b="1" dirty="0"/>
                <a:t>desired behaviours, attitudes and mindsets</a:t>
              </a:r>
              <a:r>
                <a:rPr lang="en-AU" sz="1000" dirty="0"/>
                <a:t>, our ability to </a:t>
              </a:r>
              <a:r>
                <a:rPr lang="en-AU" sz="1000" b="1" dirty="0"/>
                <a:t>identify and nurture talent including capability development, talent management and succession planning</a:t>
              </a:r>
              <a:r>
                <a:rPr lang="en-AU" sz="1000" dirty="0"/>
                <a:t> and improved </a:t>
              </a:r>
              <a:r>
                <a:rPr lang="en-AU" sz="1000" b="1" dirty="0"/>
                <a:t>collection and reporting on training and development </a:t>
              </a:r>
              <a:r>
                <a:rPr lang="en-AU" sz="1000" dirty="0"/>
                <a:t>to inform future needs. </a:t>
              </a:r>
            </a:p>
          </p:txBody>
        </p:sp>
      </p:grpSp>
      <p:sp>
        <p:nvSpPr>
          <p:cNvPr id="37" name="Google Shape;3374;p232">
            <a:extLst>
              <a:ext uri="{FF2B5EF4-FFF2-40B4-BE49-F238E27FC236}">
                <a16:creationId xmlns:a16="http://schemas.microsoft.com/office/drawing/2014/main" id="{1FEBCA95-D7E9-49AE-8494-B23C9D388454}"/>
              </a:ext>
            </a:extLst>
          </p:cNvPr>
          <p:cNvSpPr txBox="1"/>
          <p:nvPr/>
        </p:nvSpPr>
        <p:spPr>
          <a:xfrm>
            <a:off x="431252" y="1422855"/>
            <a:ext cx="11260598" cy="661679"/>
          </a:xfrm>
          <a:prstGeom prst="rect">
            <a:avLst/>
          </a:prstGeom>
          <a:noFill/>
          <a:ln>
            <a:noFill/>
          </a:ln>
        </p:spPr>
        <p:txBody>
          <a:bodyPr spcFirstLastPara="1" wrap="square" lIns="91425" tIns="45700" rIns="91425" bIns="45700" anchor="t" anchorCtr="0">
            <a:spAutoFit/>
          </a:bodyPr>
          <a:lstStyle/>
          <a:p>
            <a:pPr>
              <a:buClr>
                <a:srgbClr val="000000"/>
              </a:buClr>
              <a:defRPr/>
            </a:pPr>
            <a:r>
              <a:rPr kumimoji="0" lang="en-AU" sz="900" b="0" i="0" u="none" strike="noStrike" kern="0" cap="none" spc="0" normalizeH="0" baseline="0" noProof="0" dirty="0">
                <a:ln>
                  <a:noFill/>
                </a:ln>
                <a:solidFill>
                  <a:srgbClr val="000000"/>
                </a:solidFill>
                <a:effectLst/>
                <a:uLnTx/>
                <a:uFillTx/>
                <a:latin typeface="+mj-lt"/>
                <a:ea typeface="Arial"/>
                <a:cs typeface="Arial"/>
                <a:sym typeface="Arial"/>
              </a:rPr>
              <a:t>To initiate the implementation across the workforce</a:t>
            </a:r>
            <a:r>
              <a:rPr lang="en-AU" sz="900" kern="0" dirty="0">
                <a:solidFill>
                  <a:srgbClr val="000000"/>
                </a:solidFill>
                <a:latin typeface="+mj-lt"/>
                <a:ea typeface="Arial"/>
                <a:cs typeface="Arial"/>
                <a:sym typeface="Arial"/>
              </a:rPr>
              <a:t> pillars, </a:t>
            </a:r>
            <a:r>
              <a:rPr lang="en-AU" sz="900" b="1" kern="0" dirty="0">
                <a:solidFill>
                  <a:prstClr val="black"/>
                </a:solidFill>
                <a:latin typeface="Calibri" panose="020F0502020204030204"/>
                <a:ea typeface="Arial"/>
                <a:cs typeface="Arial"/>
                <a:sym typeface="Arial"/>
              </a:rPr>
              <a:t>5 priority recommendations </a:t>
            </a:r>
            <a:r>
              <a:rPr kumimoji="0" lang="en-AU" sz="900" b="0" i="0" u="none" strike="noStrike" kern="0" cap="none" spc="0" normalizeH="0" baseline="0" noProof="0" dirty="0">
                <a:ln>
                  <a:noFill/>
                </a:ln>
                <a:solidFill>
                  <a:srgbClr val="000000"/>
                </a:solidFill>
                <a:effectLst/>
                <a:uLnTx/>
                <a:uFillTx/>
                <a:latin typeface="+mj-lt"/>
                <a:ea typeface="Arial"/>
                <a:cs typeface="Arial"/>
                <a:sym typeface="Arial"/>
              </a:rPr>
              <a:t>have been identified (below). These recommendations are imperative </a:t>
            </a:r>
            <a:r>
              <a:rPr lang="en-AU" sz="900" kern="0" dirty="0">
                <a:solidFill>
                  <a:srgbClr val="000000"/>
                </a:solidFill>
                <a:latin typeface="+mj-lt"/>
                <a:ea typeface="Arial"/>
                <a:cs typeface="Arial"/>
                <a:sym typeface="Arial"/>
              </a:rPr>
              <a:t>to creating a </a:t>
            </a:r>
            <a:r>
              <a:rPr lang="en-AU" sz="900" i="1" kern="0" dirty="0">
                <a:solidFill>
                  <a:srgbClr val="000000"/>
                </a:solidFill>
                <a:latin typeface="+mj-lt"/>
                <a:ea typeface="Arial"/>
                <a:cs typeface="Arial"/>
                <a:sym typeface="Arial"/>
              </a:rPr>
              <a:t>foundation </a:t>
            </a:r>
            <a:r>
              <a:rPr kumimoji="0" lang="en-AU" sz="900" b="0" i="1" u="none" strike="noStrike" kern="0" cap="none" spc="0" normalizeH="0" baseline="0" noProof="0" dirty="0">
                <a:ln>
                  <a:noFill/>
                </a:ln>
                <a:solidFill>
                  <a:srgbClr val="000000"/>
                </a:solidFill>
                <a:effectLst/>
                <a:uLnTx/>
                <a:uFillTx/>
                <a:latin typeface="+mj-lt"/>
                <a:ea typeface="Arial"/>
                <a:cs typeface="Arial"/>
                <a:sym typeface="Arial"/>
              </a:rPr>
              <a:t>for future opportunities </a:t>
            </a:r>
            <a:r>
              <a:rPr kumimoji="0" lang="en-AU" sz="900" b="0" i="0" u="none" strike="noStrike" kern="0" cap="none" spc="0" normalizeH="0" baseline="0" noProof="0" dirty="0">
                <a:ln>
                  <a:noFill/>
                </a:ln>
                <a:solidFill>
                  <a:srgbClr val="000000"/>
                </a:solidFill>
                <a:effectLst/>
                <a:uLnTx/>
                <a:uFillTx/>
                <a:latin typeface="+mj-lt"/>
                <a:ea typeface="Arial"/>
                <a:cs typeface="Arial"/>
                <a:sym typeface="Arial"/>
              </a:rPr>
              <a:t>the Commission may want to undertake. These recommendations are considered no-regrets investments, </a:t>
            </a:r>
            <a:r>
              <a:rPr kumimoji="0" lang="en-US" sz="900" b="0" i="0" u="none" strike="noStrike" kern="0" cap="none" spc="0" normalizeH="0" baseline="0" noProof="0" dirty="0">
                <a:ln>
                  <a:noFill/>
                </a:ln>
                <a:solidFill>
                  <a:prstClr val="black"/>
                </a:solidFill>
                <a:effectLst/>
                <a:uLnTx/>
                <a:uFillTx/>
                <a:latin typeface="Calibri" panose="020F0502020204030204"/>
                <a:ea typeface="Arial"/>
                <a:cs typeface="Arial"/>
                <a:sym typeface="Arial"/>
              </a:rPr>
              <a:t>that are low risk decisions the Commission can make to respond to immediate priorities. Each recommendation can also be undertaken in incremental steps, initially through a ‘zero investment’ lens – exploring innovative ways to redirection and reprioritise effort. </a:t>
            </a:r>
            <a:r>
              <a:rPr lang="en-US" sz="900" kern="0" dirty="0">
                <a:solidFill>
                  <a:prstClr val="black"/>
                </a:solidFill>
                <a:latin typeface="Calibri" panose="020F0502020204030204"/>
                <a:cs typeface="Arial"/>
              </a:rPr>
              <a:t>Acknowledging work on some opportunities has commenced, preceding this </a:t>
            </a:r>
            <a:r>
              <a:rPr lang="en-US" sz="900" kern="0" dirty="0" smtClean="0">
                <a:solidFill>
                  <a:prstClr val="black"/>
                </a:solidFill>
                <a:latin typeface="Calibri" panose="020F0502020204030204"/>
                <a:cs typeface="Arial"/>
              </a:rPr>
              <a:t>Plan.</a:t>
            </a:r>
            <a:endParaRPr lang="en-US" sz="900" kern="0" dirty="0">
              <a:solidFill>
                <a:srgbClr val="000000"/>
              </a:solidFill>
              <a:latin typeface="+mj-lt"/>
              <a:cs typeface="Arial"/>
            </a:endParaRPr>
          </a:p>
          <a:p>
            <a:pPr lvl="0">
              <a:buClr>
                <a:srgbClr val="000000"/>
              </a:buClr>
              <a:defRPr/>
            </a:pPr>
            <a:endParaRPr kumimoji="0" lang="en-AU" sz="1000" b="0" i="0" u="none" strike="noStrike" kern="0" cap="none" spc="0" normalizeH="0" baseline="0" noProof="0" dirty="0">
              <a:ln>
                <a:noFill/>
              </a:ln>
              <a:solidFill>
                <a:srgbClr val="000000"/>
              </a:solidFill>
              <a:effectLst/>
              <a:uLnTx/>
              <a:uFillTx/>
              <a:latin typeface="+mj-lt"/>
              <a:ea typeface="Arial"/>
              <a:cs typeface="Arial"/>
              <a:sym typeface="Arial"/>
            </a:endParaRPr>
          </a:p>
        </p:txBody>
      </p:sp>
      <p:sp>
        <p:nvSpPr>
          <p:cNvPr id="38" name="Google Shape;3341;p232">
            <a:extLst>
              <a:ext uri="{FF2B5EF4-FFF2-40B4-BE49-F238E27FC236}">
                <a16:creationId xmlns:a16="http://schemas.microsoft.com/office/drawing/2014/main" id="{719271E7-60AC-4D38-A0C4-287A22EE724D}"/>
              </a:ext>
            </a:extLst>
          </p:cNvPr>
          <p:cNvSpPr/>
          <p:nvPr/>
        </p:nvSpPr>
        <p:spPr>
          <a:xfrm>
            <a:off x="10203332" y="3234277"/>
            <a:ext cx="1548000" cy="667962"/>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AU" sz="900" b="1" dirty="0">
                <a:solidFill>
                  <a:schemeClr val="accent3"/>
                </a:solidFill>
                <a:latin typeface="Calibri" panose="020F0502020204030204"/>
              </a:rPr>
              <a:t>C1</a:t>
            </a:r>
            <a:endParaRPr kumimoji="0" sz="1400" b="0" i="0" u="none" strike="noStrike" kern="0" cap="none" spc="0" normalizeH="0" baseline="0" noProof="0" dirty="0">
              <a:ln>
                <a:noFill/>
              </a:ln>
              <a:solidFill>
                <a:schemeClr val="accent3"/>
              </a:solidFill>
              <a:effectLst/>
              <a:uLnTx/>
              <a:uFillTx/>
              <a:latin typeface="Arial"/>
              <a:cs typeface="Arial"/>
              <a:sym typeface="Arial"/>
            </a:endParaRPr>
          </a:p>
        </p:txBody>
      </p:sp>
      <p:sp>
        <p:nvSpPr>
          <p:cNvPr id="39" name="Google Shape;3341;p232">
            <a:extLst>
              <a:ext uri="{FF2B5EF4-FFF2-40B4-BE49-F238E27FC236}">
                <a16:creationId xmlns:a16="http://schemas.microsoft.com/office/drawing/2014/main" id="{0688AD08-3B7E-489B-9986-607F29BBEB0F}"/>
              </a:ext>
            </a:extLst>
          </p:cNvPr>
          <p:cNvSpPr/>
          <p:nvPr/>
        </p:nvSpPr>
        <p:spPr>
          <a:xfrm>
            <a:off x="10218634" y="3950762"/>
            <a:ext cx="1548000" cy="667962"/>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AU" sz="900" b="1" dirty="0">
                <a:solidFill>
                  <a:schemeClr val="bg2">
                    <a:lumMod val="25000"/>
                  </a:schemeClr>
                </a:solidFill>
                <a:latin typeface="Calibri" panose="020F0502020204030204"/>
              </a:rPr>
              <a:t>P3</a:t>
            </a:r>
            <a:endParaRPr kumimoji="0" sz="1400" b="0" i="0" u="none" strike="noStrike" kern="0" cap="none" spc="0" normalizeH="0" baseline="0" noProof="0" dirty="0">
              <a:ln>
                <a:noFill/>
              </a:ln>
              <a:solidFill>
                <a:schemeClr val="bg2">
                  <a:lumMod val="25000"/>
                </a:schemeClr>
              </a:solidFill>
              <a:effectLst/>
              <a:uLnTx/>
              <a:uFillTx/>
              <a:latin typeface="Arial"/>
              <a:cs typeface="Arial"/>
              <a:sym typeface="Arial"/>
            </a:endParaRPr>
          </a:p>
        </p:txBody>
      </p:sp>
      <p:sp>
        <p:nvSpPr>
          <p:cNvPr id="40" name="Google Shape;3341;p232">
            <a:extLst>
              <a:ext uri="{FF2B5EF4-FFF2-40B4-BE49-F238E27FC236}">
                <a16:creationId xmlns:a16="http://schemas.microsoft.com/office/drawing/2014/main" id="{02032AF1-9FDC-46C7-9617-6024BD76643C}"/>
              </a:ext>
            </a:extLst>
          </p:cNvPr>
          <p:cNvSpPr/>
          <p:nvPr/>
        </p:nvSpPr>
        <p:spPr>
          <a:xfrm>
            <a:off x="10218634" y="4685260"/>
            <a:ext cx="1548000" cy="1025563"/>
          </a:xfrm>
          <a:prstGeom prst="rect">
            <a:avLst/>
          </a:prstGeom>
          <a:solidFill>
            <a:srgbClr val="EEEEEE"/>
          </a:solidFill>
          <a:ln>
            <a:noFill/>
          </a:ln>
        </p:spPr>
        <p:txBody>
          <a:bodyPr spcFirstLastPara="1" wrap="square" lIns="91425" tIns="45700" rIns="91425" bIns="45700" anchor="ctr" anchorCtr="0">
            <a:noAutofit/>
          </a:bodyPr>
          <a:lstStyle/>
          <a:p>
            <a:pPr algn="ctr">
              <a:buClr>
                <a:srgbClr val="000000"/>
              </a:buClr>
              <a:defRPr/>
            </a:pPr>
            <a:r>
              <a:rPr lang="en-AU" sz="900" b="1" dirty="0">
                <a:solidFill>
                  <a:schemeClr val="accent1"/>
                </a:solidFill>
                <a:latin typeface="Calibri" panose="020F0502020204030204"/>
              </a:rPr>
              <a:t>WS2, </a:t>
            </a:r>
            <a:r>
              <a:rPr lang="en-AU" sz="900" b="1" dirty="0">
                <a:solidFill>
                  <a:schemeClr val="bg2">
                    <a:lumMod val="25000"/>
                  </a:schemeClr>
                </a:solidFill>
                <a:latin typeface="Calibri" panose="020F0502020204030204"/>
              </a:rPr>
              <a:t>P7, </a:t>
            </a:r>
            <a:r>
              <a:rPr lang="en-AU" sz="900" b="1" dirty="0">
                <a:solidFill>
                  <a:schemeClr val="accent4"/>
                </a:solidFill>
                <a:latin typeface="Calibri" panose="020F0502020204030204"/>
              </a:rPr>
              <a:t>G8</a:t>
            </a:r>
            <a:r>
              <a:rPr lang="en-AU" sz="900" b="1" dirty="0">
                <a:solidFill>
                  <a:schemeClr val="accent1"/>
                </a:solidFill>
                <a:latin typeface="Calibri" panose="020F0502020204030204"/>
              </a:rPr>
              <a:t> </a:t>
            </a:r>
            <a:endParaRPr kumimoji="0" lang="en-AU"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43" name="Google Shape;3346;p232">
            <a:extLst>
              <a:ext uri="{FF2B5EF4-FFF2-40B4-BE49-F238E27FC236}">
                <a16:creationId xmlns:a16="http://schemas.microsoft.com/office/drawing/2014/main" id="{7A6CE108-14F9-46AC-89DF-993E3239DE7D}"/>
              </a:ext>
            </a:extLst>
          </p:cNvPr>
          <p:cNvGrpSpPr/>
          <p:nvPr/>
        </p:nvGrpSpPr>
        <p:grpSpPr>
          <a:xfrm>
            <a:off x="508249" y="3229088"/>
            <a:ext cx="9609678" cy="659750"/>
            <a:chOff x="245989" y="1738541"/>
            <a:chExt cx="5644940" cy="427627"/>
          </a:xfrm>
          <a:solidFill>
            <a:srgbClr val="EEEEEE"/>
          </a:solidFill>
        </p:grpSpPr>
        <p:sp>
          <p:nvSpPr>
            <p:cNvPr id="44" name="Google Shape;3347;p232">
              <a:extLst>
                <a:ext uri="{FF2B5EF4-FFF2-40B4-BE49-F238E27FC236}">
                  <a16:creationId xmlns:a16="http://schemas.microsoft.com/office/drawing/2014/main" id="{BE47CD84-6D4D-4500-97E6-F4C3B4BFD6D9}"/>
                </a:ext>
              </a:extLst>
            </p:cNvPr>
            <p:cNvSpPr/>
            <p:nvPr/>
          </p:nvSpPr>
          <p:spPr>
            <a:xfrm>
              <a:off x="252684" y="1738541"/>
              <a:ext cx="5638245" cy="427627"/>
            </a:xfrm>
            <a:prstGeom prst="rect">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45" name="Google Shape;3348;p232">
              <a:extLst>
                <a:ext uri="{FF2B5EF4-FFF2-40B4-BE49-F238E27FC236}">
                  <a16:creationId xmlns:a16="http://schemas.microsoft.com/office/drawing/2014/main" id="{9D7C1E5E-CBD8-48A9-88C2-A67CCCC92C71}"/>
                </a:ext>
              </a:extLst>
            </p:cNvPr>
            <p:cNvSpPr txBox="1"/>
            <p:nvPr/>
          </p:nvSpPr>
          <p:spPr>
            <a:xfrm>
              <a:off x="245989" y="1762435"/>
              <a:ext cx="5644040" cy="379005"/>
            </a:xfrm>
            <a:prstGeom prst="rect">
              <a:avLst/>
            </a:prstGeom>
            <a:noFill/>
            <a:ln>
              <a:noFill/>
            </a:ln>
          </p:spPr>
          <p:txBody>
            <a:bodyPr spcFirstLastPara="1" wrap="square" lIns="91425" tIns="45700" rIns="91425" bIns="45700" anchor="t" anchorCtr="0">
              <a:spAutoFit/>
            </a:bodyPr>
            <a:lstStyle/>
            <a:p>
              <a:pPr>
                <a:buClr>
                  <a:srgbClr val="000000"/>
                </a:buClr>
                <a:defRPr/>
              </a:pPr>
              <a:r>
                <a:rPr lang="en-AU" sz="1200" b="1" dirty="0">
                  <a:solidFill>
                    <a:prstClr val="black"/>
                  </a:solidFill>
                  <a:latin typeface="Calibri" panose="020F0502020204030204"/>
                </a:rPr>
                <a:t>Core capability program </a:t>
              </a:r>
              <a:r>
                <a:rPr lang="en-AU" sz="1000" b="0" dirty="0">
                  <a:solidFill>
                    <a:prstClr val="black"/>
                  </a:solidFill>
                </a:rPr>
                <a:t>De</a:t>
              </a:r>
              <a:r>
                <a:rPr lang="en-AU" sz="1000" b="0" dirty="0"/>
                <a:t>velop a </a:t>
              </a:r>
              <a:r>
                <a:rPr lang="en-AU" sz="1000" b="1" dirty="0"/>
                <a:t>‘One Commission’ core capabilities program for all staff</a:t>
              </a:r>
              <a:r>
                <a:rPr lang="en-AU" sz="1000" b="0" dirty="0"/>
                <a:t>, leveraging the shared knowledge, capability and resources internally and external across our broader regulatory community and disability sector to support capability development across a core set of foundational competencies. Core capabilities can be anchored in </a:t>
              </a:r>
              <a:r>
                <a:rPr lang="en-AU" sz="1000" b="0" dirty="0" smtClean="0"/>
                <a:t>targeted development and learning, as well as </a:t>
              </a:r>
              <a:r>
                <a:rPr lang="en-AU" sz="1000" b="0" dirty="0"/>
                <a:t>other opportunities </a:t>
              </a:r>
              <a:r>
                <a:rPr lang="en-AU" sz="1000" dirty="0"/>
                <a:t>such as Induction and </a:t>
              </a:r>
              <a:r>
                <a:rPr lang="en-AU" sz="1000" dirty="0" smtClean="0"/>
                <a:t>on boarding.</a:t>
              </a:r>
              <a:r>
                <a:rPr lang="en-AU" sz="1000" b="1" kern="0" dirty="0" smtClean="0">
                  <a:solidFill>
                    <a:schemeClr val="bg1"/>
                  </a:solidFill>
                  <a:highlight>
                    <a:srgbClr val="539250"/>
                  </a:highlight>
                  <a:latin typeface="Arial"/>
                  <a:cs typeface="Arial"/>
                </a:rPr>
                <a:t> </a:t>
              </a:r>
              <a:endParaRPr lang="en-AU" sz="1000" b="1" kern="0" dirty="0">
                <a:solidFill>
                  <a:schemeClr val="bg1"/>
                </a:solidFill>
                <a:highlight>
                  <a:srgbClr val="539250"/>
                </a:highlight>
                <a:latin typeface="Arial"/>
                <a:cs typeface="Arial"/>
              </a:endParaRPr>
            </a:p>
          </p:txBody>
        </p:sp>
      </p:grpSp>
      <p:sp>
        <p:nvSpPr>
          <p:cNvPr id="48" name="Google Shape;3348;p232">
            <a:extLst>
              <a:ext uri="{FF2B5EF4-FFF2-40B4-BE49-F238E27FC236}">
                <a16:creationId xmlns:a16="http://schemas.microsoft.com/office/drawing/2014/main" id="{412C1EB8-2DA3-4972-B912-C42A5891622A}"/>
              </a:ext>
            </a:extLst>
          </p:cNvPr>
          <p:cNvSpPr txBox="1"/>
          <p:nvPr/>
        </p:nvSpPr>
        <p:spPr>
          <a:xfrm>
            <a:off x="491737" y="2389970"/>
            <a:ext cx="9598281" cy="892512"/>
          </a:xfrm>
          <a:prstGeom prst="rect">
            <a:avLst/>
          </a:prstGeom>
          <a:noFill/>
          <a:ln>
            <a:noFill/>
          </a:ln>
        </p:spPr>
        <p:txBody>
          <a:bodyPr spcFirstLastPara="1" wrap="square" lIns="91425" tIns="45700" rIns="91425" bIns="45700" anchor="t" anchorCtr="0">
            <a:spAutoFit/>
          </a:bodyPr>
          <a:lstStyle/>
          <a:p>
            <a:pPr>
              <a:buClr>
                <a:srgbClr val="000000"/>
              </a:buClr>
              <a:defRPr/>
            </a:pPr>
            <a:r>
              <a:rPr lang="en-AU" sz="1200" b="1" dirty="0">
                <a:solidFill>
                  <a:prstClr val="black"/>
                </a:solidFill>
                <a:latin typeface="Calibri" panose="020F0502020204030204"/>
              </a:rPr>
              <a:t>Induction and </a:t>
            </a:r>
            <a:r>
              <a:rPr lang="en-AU" sz="1200" b="1" dirty="0" smtClean="0">
                <a:solidFill>
                  <a:prstClr val="black"/>
                </a:solidFill>
                <a:latin typeface="Calibri" panose="020F0502020204030204"/>
              </a:rPr>
              <a:t>on boarding </a:t>
            </a:r>
            <a:r>
              <a:rPr lang="en-AU" sz="1000" dirty="0">
                <a:solidFill>
                  <a:prstClr val="black"/>
                </a:solidFill>
                <a:latin typeface="Calibri" panose="020F0502020204030204"/>
              </a:rPr>
              <a:t>Equip our workforce with a </a:t>
            </a:r>
            <a:r>
              <a:rPr lang="en-AU" sz="1000" b="1" dirty="0">
                <a:solidFill>
                  <a:prstClr val="black"/>
                </a:solidFill>
                <a:latin typeface="Calibri" panose="020F0502020204030204"/>
              </a:rPr>
              <a:t>‘One Commission</a:t>
            </a:r>
            <a:r>
              <a:rPr lang="en-AU" sz="1000" dirty="0">
                <a:solidFill>
                  <a:prstClr val="black"/>
                </a:solidFill>
                <a:latin typeface="Calibri" panose="020F0502020204030204"/>
              </a:rPr>
              <a:t>’ approach and mindset from day one through design and delivery of a ‘One Commission’ </a:t>
            </a:r>
            <a:r>
              <a:rPr lang="en-AU" sz="1000" b="1" dirty="0">
                <a:solidFill>
                  <a:prstClr val="black"/>
                </a:solidFill>
                <a:latin typeface="Calibri" panose="020F0502020204030204"/>
              </a:rPr>
              <a:t>new starter induction program </a:t>
            </a:r>
            <a:r>
              <a:rPr lang="en-AU" sz="1000" dirty="0">
                <a:solidFill>
                  <a:prstClr val="black"/>
                </a:solidFill>
                <a:latin typeface="Calibri" panose="020F0502020204030204"/>
              </a:rPr>
              <a:t>that educates, connects and confirms expectations of new starters to our operating context, organisational priorities, structures, ways of working and introduces core skills for all roles delivered as part of a staged </a:t>
            </a:r>
            <a:r>
              <a:rPr lang="en-AU" sz="1000" dirty="0" smtClean="0">
                <a:solidFill>
                  <a:prstClr val="black"/>
                </a:solidFill>
                <a:latin typeface="Calibri" panose="020F0502020204030204"/>
              </a:rPr>
              <a:t>on boarding </a:t>
            </a:r>
            <a:r>
              <a:rPr lang="en-AU" sz="1000" dirty="0">
                <a:solidFill>
                  <a:prstClr val="black"/>
                </a:solidFill>
                <a:latin typeface="Calibri" panose="020F0502020204030204"/>
              </a:rPr>
              <a:t>experience. </a:t>
            </a:r>
            <a:r>
              <a:rPr lang="en-US" sz="1000" dirty="0">
                <a:solidFill>
                  <a:prstClr val="black"/>
                </a:solidFill>
              </a:rPr>
              <a:t>Appoint an SES Officer as </a:t>
            </a:r>
            <a:r>
              <a:rPr lang="en-US" sz="1000" b="1" dirty="0"/>
              <a:t>Diversity Champion </a:t>
            </a:r>
            <a:r>
              <a:rPr lang="en-US" sz="1000" dirty="0">
                <a:latin typeface="Calibri" panose="020F0502020204030204"/>
              </a:rPr>
              <a:t>and </a:t>
            </a:r>
            <a:r>
              <a:rPr lang="en-US" sz="1000" b="1" dirty="0"/>
              <a:t>establish a workforce-led Diversity, Inclusion and Wellbeing Officers Network </a:t>
            </a:r>
            <a:r>
              <a:rPr lang="en-US" sz="1000" dirty="0"/>
              <a:t>to sponsor, promote and lead the strategic direction for diversity initiatives. The Commission can leverage diversity champions and the wider network officers to introduce and speak to wellness </a:t>
            </a:r>
            <a:r>
              <a:rPr lang="en-US" sz="1000" dirty="0">
                <a:solidFill>
                  <a:prstClr val="black"/>
                </a:solidFill>
              </a:rPr>
              <a:t>initiatives</a:t>
            </a:r>
            <a:r>
              <a:rPr lang="en-US" sz="1000" dirty="0"/>
              <a:t> during the new starter induction program </a:t>
            </a:r>
            <a:endParaRPr lang="en-AU" sz="1000" dirty="0">
              <a:latin typeface="Calibri" panose="020F0502020204030204"/>
            </a:endParaRPr>
          </a:p>
        </p:txBody>
      </p:sp>
      <p:sp>
        <p:nvSpPr>
          <p:cNvPr id="55" name="Google Shape;3347;p232">
            <a:extLst>
              <a:ext uri="{FF2B5EF4-FFF2-40B4-BE49-F238E27FC236}">
                <a16:creationId xmlns:a16="http://schemas.microsoft.com/office/drawing/2014/main" id="{D08C9C57-FC6D-491F-ACDD-793D4ED893ED}"/>
              </a:ext>
            </a:extLst>
          </p:cNvPr>
          <p:cNvSpPr/>
          <p:nvPr/>
        </p:nvSpPr>
        <p:spPr>
          <a:xfrm>
            <a:off x="500150" y="4679581"/>
            <a:ext cx="9596911" cy="1025564"/>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56" name="Google Shape;3348;p232">
            <a:extLst>
              <a:ext uri="{FF2B5EF4-FFF2-40B4-BE49-F238E27FC236}">
                <a16:creationId xmlns:a16="http://schemas.microsoft.com/office/drawing/2014/main" id="{F635EDA1-565C-4A11-9A44-9A0C569AD3D7}"/>
              </a:ext>
            </a:extLst>
          </p:cNvPr>
          <p:cNvSpPr txBox="1"/>
          <p:nvPr/>
        </p:nvSpPr>
        <p:spPr>
          <a:xfrm>
            <a:off x="500150" y="4723589"/>
            <a:ext cx="9608146" cy="1046400"/>
          </a:xfrm>
          <a:prstGeom prst="rect">
            <a:avLst/>
          </a:prstGeom>
          <a:noFill/>
          <a:ln>
            <a:noFill/>
          </a:ln>
        </p:spPr>
        <p:txBody>
          <a:bodyPr spcFirstLastPara="1" wrap="square" lIns="91425" tIns="45700" rIns="91425" bIns="45700" anchor="t" anchorCtr="0">
            <a:spAutoFit/>
          </a:bodyPr>
          <a:lstStyle/>
          <a:p>
            <a:pPr>
              <a:buClr>
                <a:srgbClr val="000000"/>
              </a:buClr>
              <a:defRPr/>
            </a:pPr>
            <a:r>
              <a:rPr lang="en-AU" sz="1200" b="1" dirty="0">
                <a:solidFill>
                  <a:prstClr val="black"/>
                </a:solidFill>
                <a:latin typeface="Calibri" panose="020F0502020204030204"/>
              </a:rPr>
              <a:t>Workforce Data and insights </a:t>
            </a:r>
            <a:r>
              <a:rPr lang="en-AU" sz="1000" b="0" dirty="0">
                <a:solidFill>
                  <a:prstClr val="black"/>
                </a:solidFill>
              </a:rPr>
              <a:t>Enhance capture and use of workforce data </a:t>
            </a:r>
            <a:r>
              <a:rPr lang="en-US" sz="1000" b="1" dirty="0">
                <a:latin typeface="Calibri" panose="020F0502020204030204"/>
              </a:rPr>
              <a:t>to create transparency of the current and future workforce to inform decisions and action. Continue gathering workforce insights </a:t>
            </a:r>
            <a:r>
              <a:rPr lang="en-US" sz="1000" dirty="0">
                <a:latin typeface="Calibri" panose="020F0502020204030204"/>
              </a:rPr>
              <a:t>across the employee lifecycle. </a:t>
            </a:r>
            <a:r>
              <a:rPr lang="en-US" sz="1000" b="0" dirty="0">
                <a:cs typeface="Arial"/>
                <a:sym typeface="Arial"/>
              </a:rPr>
              <a:t>Continue to </a:t>
            </a:r>
            <a:r>
              <a:rPr lang="en-AU" sz="1000" dirty="0">
                <a:cs typeface="Arial"/>
                <a:sym typeface="Arial"/>
              </a:rPr>
              <a:t>i</a:t>
            </a:r>
            <a:r>
              <a:rPr lang="en-AU" sz="1000" b="0" dirty="0"/>
              <a:t>nvest in </a:t>
            </a:r>
            <a:r>
              <a:rPr lang="en-AU" sz="1000" b="1" dirty="0"/>
              <a:t>visualising workforce data </a:t>
            </a:r>
            <a:r>
              <a:rPr lang="en-AU" sz="1000" dirty="0"/>
              <a:t>as well as establishing job architecture to </a:t>
            </a:r>
            <a:r>
              <a:rPr lang="en-AU" sz="1000" b="0" dirty="0"/>
              <a:t>enable granular job-role analysis to support data driven decision-making and </a:t>
            </a:r>
            <a:r>
              <a:rPr lang="en-AU" sz="1000" b="1" dirty="0"/>
              <a:t>strategic workforce planning. </a:t>
            </a:r>
            <a:r>
              <a:rPr lang="en-GB" sz="1000" dirty="0">
                <a:latin typeface="Calibri" panose="020F0502020204030204"/>
              </a:rPr>
              <a:t>Start with data already available in the Commission and iteratively consider additional data collections to support further analysis </a:t>
            </a:r>
            <a:r>
              <a:rPr lang="en-GB" sz="1000" dirty="0" smtClean="0">
                <a:latin typeface="Calibri" panose="020F0502020204030204"/>
              </a:rPr>
              <a:t>over time</a:t>
            </a:r>
            <a:r>
              <a:rPr lang="en-GB" sz="1000" dirty="0">
                <a:latin typeface="Calibri" panose="020F0502020204030204"/>
              </a:rPr>
              <a:t>. Implement </a:t>
            </a:r>
            <a:r>
              <a:rPr lang="en-AU" sz="1000" b="1" dirty="0"/>
              <a:t>employee entry and exit processes </a:t>
            </a:r>
            <a:r>
              <a:rPr lang="en-AU" sz="1000" dirty="0"/>
              <a:t>centred on collecting and </a:t>
            </a:r>
            <a:r>
              <a:rPr lang="en-AU" sz="1000" dirty="0" smtClean="0"/>
              <a:t>collating </a:t>
            </a:r>
            <a:r>
              <a:rPr lang="en-AU" sz="1000" dirty="0"/>
              <a:t>exit feedback and data, to support continuous improvement on the employee experience and understanding exit reasons.</a:t>
            </a:r>
            <a:r>
              <a:rPr lang="en-US" sz="1000" b="1" dirty="0">
                <a:latin typeface="Calibri" panose="020F0502020204030204"/>
              </a:rPr>
              <a:t> Continue engaging with employees to seek feedback and gather workforce insights </a:t>
            </a:r>
            <a:r>
              <a:rPr lang="en-US" sz="1000" dirty="0">
                <a:latin typeface="Calibri" panose="020F0502020204030204"/>
              </a:rPr>
              <a:t>including design and implementation of </a:t>
            </a:r>
            <a:r>
              <a:rPr lang="en-US" sz="1000" b="1" dirty="0">
                <a:latin typeface="Calibri" panose="020F0502020204030204"/>
              </a:rPr>
              <a:t>short </a:t>
            </a:r>
            <a:r>
              <a:rPr lang="en-AU" sz="1000" b="1" dirty="0">
                <a:latin typeface="Calibri" panose="020F0502020204030204"/>
              </a:rPr>
              <a:t>Employee Value Proposition (</a:t>
            </a:r>
            <a:r>
              <a:rPr lang="en-US" sz="1000" b="1" dirty="0">
                <a:latin typeface="Calibri" panose="020F0502020204030204"/>
              </a:rPr>
              <a:t>EVP) survey </a:t>
            </a:r>
            <a:r>
              <a:rPr lang="en-US" sz="1000" dirty="0">
                <a:latin typeface="Calibri" panose="020F0502020204030204"/>
              </a:rPr>
              <a:t>and </a:t>
            </a:r>
            <a:r>
              <a:rPr lang="en-AU" sz="1000" b="1" dirty="0">
                <a:latin typeface="Calibri" panose="020F0502020204030204"/>
              </a:rPr>
              <a:t>tailored employee engagement quarterly pulse surveys.</a:t>
            </a:r>
            <a:endParaRPr lang="en-AU" sz="800" dirty="0"/>
          </a:p>
        </p:txBody>
      </p:sp>
      <p:sp>
        <p:nvSpPr>
          <p:cNvPr id="57" name="Google Shape;3347;p232">
            <a:extLst>
              <a:ext uri="{FF2B5EF4-FFF2-40B4-BE49-F238E27FC236}">
                <a16:creationId xmlns:a16="http://schemas.microsoft.com/office/drawing/2014/main" id="{2217D51C-875C-4FBD-A5C4-9C65CF669D2F}"/>
              </a:ext>
            </a:extLst>
          </p:cNvPr>
          <p:cNvSpPr/>
          <p:nvPr/>
        </p:nvSpPr>
        <p:spPr>
          <a:xfrm>
            <a:off x="508249" y="5767815"/>
            <a:ext cx="9596230" cy="659750"/>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58" name="Google Shape;3348;p232">
            <a:extLst>
              <a:ext uri="{FF2B5EF4-FFF2-40B4-BE49-F238E27FC236}">
                <a16:creationId xmlns:a16="http://schemas.microsoft.com/office/drawing/2014/main" id="{649972F9-8AFA-4CE7-973C-8C4953A8C7AA}"/>
              </a:ext>
            </a:extLst>
          </p:cNvPr>
          <p:cNvSpPr txBox="1"/>
          <p:nvPr/>
        </p:nvSpPr>
        <p:spPr>
          <a:xfrm>
            <a:off x="508249" y="5820711"/>
            <a:ext cx="9400102" cy="584735"/>
          </a:xfrm>
          <a:prstGeom prst="rect">
            <a:avLst/>
          </a:prstGeom>
          <a:noFill/>
          <a:ln>
            <a:noFill/>
          </a:ln>
        </p:spPr>
        <p:txBody>
          <a:bodyPr spcFirstLastPara="1" wrap="square" lIns="91425" tIns="45700" rIns="91425" bIns="45700" anchor="t" anchorCtr="0">
            <a:spAutoFit/>
          </a:bodyPr>
          <a:lstStyle/>
          <a:p>
            <a:pPr>
              <a:buClr>
                <a:srgbClr val="000000"/>
              </a:buClr>
              <a:defRPr/>
            </a:pPr>
            <a:r>
              <a:rPr lang="en-AU" sz="1200" b="1" dirty="0">
                <a:solidFill>
                  <a:prstClr val="black"/>
                </a:solidFill>
                <a:latin typeface="Calibri" panose="020F0502020204030204"/>
              </a:rPr>
              <a:t>Diverse talent pipelines </a:t>
            </a:r>
            <a:r>
              <a:rPr lang="en-AU" sz="1000" b="1" dirty="0"/>
              <a:t>Continue building diverse talent pipelines </a:t>
            </a:r>
            <a:r>
              <a:rPr lang="en-AU" sz="1000" dirty="0">
                <a:latin typeface="Calibri" panose="020F0502020204030204"/>
              </a:rPr>
              <a:t>by leveraging existing, external programs, partnerships and resources to customise and enhance the recruitment, selection and </a:t>
            </a:r>
            <a:r>
              <a:rPr lang="en-AU" sz="1000" dirty="0" smtClean="0">
                <a:latin typeface="Calibri" panose="020F0502020204030204"/>
              </a:rPr>
              <a:t>on boarding </a:t>
            </a:r>
            <a:r>
              <a:rPr lang="en-AU" sz="1000" dirty="0">
                <a:latin typeface="Calibri" panose="020F0502020204030204"/>
              </a:rPr>
              <a:t>processes for our identified diversity groups </a:t>
            </a:r>
            <a:r>
              <a:rPr lang="en-US" sz="1000" dirty="0">
                <a:latin typeface="Calibri" panose="020F0502020204030204"/>
              </a:rPr>
              <a:t>as well as </a:t>
            </a:r>
            <a:r>
              <a:rPr lang="en-AU" sz="1000" dirty="0">
                <a:solidFill>
                  <a:prstClr val="black"/>
                </a:solidFill>
                <a:latin typeface="Calibri" panose="020F0502020204030204"/>
              </a:rPr>
              <a:t>r</a:t>
            </a:r>
            <a:r>
              <a:rPr lang="en-AU" sz="1000" b="0" dirty="0">
                <a:solidFill>
                  <a:prstClr val="black"/>
                </a:solidFill>
              </a:rPr>
              <a:t>eviewing and refining current </a:t>
            </a:r>
            <a:r>
              <a:rPr lang="en-AU" sz="1000" b="1" dirty="0"/>
              <a:t>recruitment approaches ensuring a diverse talent pool </a:t>
            </a:r>
            <a:r>
              <a:rPr lang="en-AU" sz="1000" b="0" dirty="0">
                <a:solidFill>
                  <a:prstClr val="black"/>
                </a:solidFill>
              </a:rPr>
              <a:t>by appealing to and targeting different segments of the labour market including showcasing the </a:t>
            </a:r>
            <a:r>
              <a:rPr lang="en-AU" sz="1000" b="0" dirty="0" smtClean="0">
                <a:solidFill>
                  <a:prstClr val="black"/>
                </a:solidFill>
              </a:rPr>
              <a:t>possible career </a:t>
            </a:r>
            <a:r>
              <a:rPr lang="en-AU" sz="1000" b="0" dirty="0">
                <a:solidFill>
                  <a:prstClr val="black"/>
                </a:solidFill>
              </a:rPr>
              <a:t>paths and roles across the Commission.</a:t>
            </a:r>
          </a:p>
        </p:txBody>
      </p:sp>
      <p:sp>
        <p:nvSpPr>
          <p:cNvPr id="59" name="Google Shape;3341;p232">
            <a:extLst>
              <a:ext uri="{FF2B5EF4-FFF2-40B4-BE49-F238E27FC236}">
                <a16:creationId xmlns:a16="http://schemas.microsoft.com/office/drawing/2014/main" id="{F8C87D97-C3D9-4D31-93BD-C36D46D15633}"/>
              </a:ext>
            </a:extLst>
          </p:cNvPr>
          <p:cNvSpPr/>
          <p:nvPr/>
        </p:nvSpPr>
        <p:spPr>
          <a:xfrm>
            <a:off x="10218634" y="5767814"/>
            <a:ext cx="1548000" cy="659750"/>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AU" sz="900" b="1" dirty="0">
                <a:solidFill>
                  <a:schemeClr val="accent6"/>
                </a:solidFill>
                <a:latin typeface="Calibri" panose="020F0502020204030204"/>
              </a:rPr>
              <a:t>DIW3, </a:t>
            </a:r>
            <a:r>
              <a:rPr lang="en-AU" sz="900" b="1" dirty="0">
                <a:solidFill>
                  <a:schemeClr val="accent4"/>
                </a:solidFill>
                <a:latin typeface="Calibri" panose="020F0502020204030204"/>
              </a:rPr>
              <a:t>G3</a:t>
            </a:r>
            <a:endParaRPr kumimoji="0" lang="en-AU" sz="1400" b="0" i="0" u="none" strike="noStrike" kern="0" cap="none" spc="0" normalizeH="0" baseline="0" noProof="0" dirty="0">
              <a:ln>
                <a:noFill/>
              </a:ln>
              <a:solidFill>
                <a:schemeClr val="accent4"/>
              </a:solidFill>
              <a:effectLst/>
              <a:uLnTx/>
              <a:uFillTx/>
              <a:latin typeface="Arial"/>
              <a:cs typeface="Arial"/>
              <a:sym typeface="Arial"/>
            </a:endParaRPr>
          </a:p>
        </p:txBody>
      </p:sp>
      <p:sp>
        <p:nvSpPr>
          <p:cNvPr id="5" name="Slide Number Placeholder 4">
            <a:extLst>
              <a:ext uri="{FF2B5EF4-FFF2-40B4-BE49-F238E27FC236}">
                <a16:creationId xmlns:a16="http://schemas.microsoft.com/office/drawing/2014/main" id="{9408D8A8-1684-D4A9-1DF9-DB7480B9ABB5}"/>
              </a:ext>
            </a:extLst>
          </p:cNvPr>
          <p:cNvSpPr>
            <a:spLocks noGrp="1"/>
          </p:cNvSpPr>
          <p:nvPr>
            <p:ph type="sldNum" sz="quarter" idx="12"/>
          </p:nvPr>
        </p:nvSpPr>
        <p:spPr>
          <a:xfrm>
            <a:off x="11069001" y="6401615"/>
            <a:ext cx="362274" cy="180000"/>
          </a:xfrm>
        </p:spPr>
        <p:txBody>
          <a:bodyPr/>
          <a:lstStyle/>
          <a:p>
            <a:fld id="{C0F55C17-AF72-40D4-ADBD-B5505DEBF9BA}" type="slidenum">
              <a:rPr lang="en-AU" smtClean="0"/>
              <a:t>27</a:t>
            </a:fld>
            <a:endParaRPr lang="en-US" dirty="0"/>
          </a:p>
        </p:txBody>
      </p:sp>
      <p:sp>
        <p:nvSpPr>
          <p:cNvPr id="3" name="Footer Placeholder 2">
            <a:extLst>
              <a:ext uri="{FF2B5EF4-FFF2-40B4-BE49-F238E27FC236}">
                <a16:creationId xmlns:a16="http://schemas.microsoft.com/office/drawing/2014/main" id="{95182D70-6E82-63B7-68A3-8BC41870DAB1}"/>
              </a:ext>
            </a:extLst>
          </p:cNvPr>
          <p:cNvSpPr>
            <a:spLocks noGrp="1"/>
          </p:cNvSpPr>
          <p:nvPr>
            <p:ph type="ftr" sz="quarter" idx="11"/>
          </p:nvPr>
        </p:nvSpPr>
        <p:spPr>
          <a:xfrm>
            <a:off x="1172187" y="6420277"/>
            <a:ext cx="6783813" cy="180000"/>
          </a:xfrm>
        </p:spPr>
        <p:txBody>
          <a:bodyPr/>
          <a:lstStyle/>
          <a:p>
            <a:pPr algn="ctr"/>
            <a:r>
              <a:rPr lang="en-AU" smtClean="0"/>
              <a:t>NDIS Commission Workforce Plan 2023-2028</a:t>
            </a:r>
            <a:endParaRPr lang="en-US" dirty="0"/>
          </a:p>
        </p:txBody>
      </p:sp>
      <p:sp>
        <p:nvSpPr>
          <p:cNvPr id="27" name="Speech Bubble: Rectangle 26">
            <a:extLst>
              <a:ext uri="{FF2B5EF4-FFF2-40B4-BE49-F238E27FC236}">
                <a16:creationId xmlns:a16="http://schemas.microsoft.com/office/drawing/2014/main" id="{FA37A8EC-BBC7-4E2C-B93E-9DBE007885D9}"/>
              </a:ext>
            </a:extLst>
          </p:cNvPr>
          <p:cNvSpPr/>
          <p:nvPr/>
        </p:nvSpPr>
        <p:spPr>
          <a:xfrm>
            <a:off x="10554382" y="868273"/>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28" name="Group 27">
            <a:extLst>
              <a:ext uri="{FF2B5EF4-FFF2-40B4-BE49-F238E27FC236}">
                <a16:creationId xmlns:a16="http://schemas.microsoft.com/office/drawing/2014/main" id="{79A6EA8E-6A62-4D69-A311-EF1B6CB3553F}"/>
              </a:ext>
            </a:extLst>
          </p:cNvPr>
          <p:cNvGrpSpPr/>
          <p:nvPr/>
        </p:nvGrpSpPr>
        <p:grpSpPr>
          <a:xfrm>
            <a:off x="10673001" y="951252"/>
            <a:ext cx="396000" cy="376186"/>
            <a:chOff x="627146" y="1619763"/>
            <a:chExt cx="396000" cy="396000"/>
          </a:xfrm>
        </p:grpSpPr>
        <p:sp>
          <p:nvSpPr>
            <p:cNvPr id="29" name="Rectangle 28">
              <a:extLst>
                <a:ext uri="{FF2B5EF4-FFF2-40B4-BE49-F238E27FC236}">
                  <a16:creationId xmlns:a16="http://schemas.microsoft.com/office/drawing/2014/main" id="{21924BA1-A30C-4EA2-B2F1-A2FB0B19C82F}"/>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0" name="Freeform 118">
              <a:extLst>
                <a:ext uri="{FF2B5EF4-FFF2-40B4-BE49-F238E27FC236}">
                  <a16:creationId xmlns:a16="http://schemas.microsoft.com/office/drawing/2014/main" id="{57B305B7-B3E8-48DB-8225-9862D3DD257D}"/>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1" name="Freeform 119">
              <a:extLst>
                <a:ext uri="{FF2B5EF4-FFF2-40B4-BE49-F238E27FC236}">
                  <a16:creationId xmlns:a16="http://schemas.microsoft.com/office/drawing/2014/main" id="{E0DC48E9-C42D-4F07-88E3-597659884C09}"/>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2" name="Freeform 120">
              <a:extLst>
                <a:ext uri="{FF2B5EF4-FFF2-40B4-BE49-F238E27FC236}">
                  <a16:creationId xmlns:a16="http://schemas.microsoft.com/office/drawing/2014/main" id="{C41B3A02-638E-4BDC-9ED1-7137CA73A8AB}"/>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3" name="Freeform 121">
              <a:extLst>
                <a:ext uri="{FF2B5EF4-FFF2-40B4-BE49-F238E27FC236}">
                  <a16:creationId xmlns:a16="http://schemas.microsoft.com/office/drawing/2014/main" id="{900737A0-3112-4B94-A23D-290AB5DB32DC}"/>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4" name="Freeform 122">
              <a:extLst>
                <a:ext uri="{FF2B5EF4-FFF2-40B4-BE49-F238E27FC236}">
                  <a16:creationId xmlns:a16="http://schemas.microsoft.com/office/drawing/2014/main" id="{20034B0D-3DFB-430B-9B43-1C98E97AB10C}"/>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24">
              <a:extLst>
                <a:ext uri="{FF2B5EF4-FFF2-40B4-BE49-F238E27FC236}">
                  <a16:creationId xmlns:a16="http://schemas.microsoft.com/office/drawing/2014/main" id="{AC3A1289-5071-4126-8FF6-F835A0F0176F}"/>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6" name="Freeform 128">
              <a:extLst>
                <a:ext uri="{FF2B5EF4-FFF2-40B4-BE49-F238E27FC236}">
                  <a16:creationId xmlns:a16="http://schemas.microsoft.com/office/drawing/2014/main" id="{8B0158A8-5045-4D84-8092-0AE5E1478A19}"/>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1" name="Freeform 129">
              <a:extLst>
                <a:ext uri="{FF2B5EF4-FFF2-40B4-BE49-F238E27FC236}">
                  <a16:creationId xmlns:a16="http://schemas.microsoft.com/office/drawing/2014/main" id="{0CD94B7D-75B0-40AF-9DC2-2155096D1D32}"/>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2" name="Freeform 130">
              <a:extLst>
                <a:ext uri="{FF2B5EF4-FFF2-40B4-BE49-F238E27FC236}">
                  <a16:creationId xmlns:a16="http://schemas.microsoft.com/office/drawing/2014/main" id="{180A2AEA-AE2A-4982-BBE4-D051F245DD77}"/>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6" name="Freeform 131">
              <a:extLst>
                <a:ext uri="{FF2B5EF4-FFF2-40B4-BE49-F238E27FC236}">
                  <a16:creationId xmlns:a16="http://schemas.microsoft.com/office/drawing/2014/main" id="{EBBBDFD5-2680-4EEA-BA09-B374AAD3B8FB}"/>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7" name="Freeform 133">
              <a:extLst>
                <a:ext uri="{FF2B5EF4-FFF2-40B4-BE49-F238E27FC236}">
                  <a16:creationId xmlns:a16="http://schemas.microsoft.com/office/drawing/2014/main" id="{7D8C5435-E1CE-4558-ABBA-77D6B47B5479}"/>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9" name="Freeform 134">
              <a:extLst>
                <a:ext uri="{FF2B5EF4-FFF2-40B4-BE49-F238E27FC236}">
                  <a16:creationId xmlns:a16="http://schemas.microsoft.com/office/drawing/2014/main" id="{992E1689-EDA0-41AD-82C4-BF7125FD0E84}"/>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0" name="Freeform 135">
              <a:extLst>
                <a:ext uri="{FF2B5EF4-FFF2-40B4-BE49-F238E27FC236}">
                  <a16:creationId xmlns:a16="http://schemas.microsoft.com/office/drawing/2014/main" id="{6F723ADC-22F2-4DC2-8B4B-290761C4CCFC}"/>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51" name="Google Shape;162;p4">
            <a:extLst>
              <a:ext uri="{FF2B5EF4-FFF2-40B4-BE49-F238E27FC236}">
                <a16:creationId xmlns:a16="http://schemas.microsoft.com/office/drawing/2014/main" id="{CD7F12D9-2DF3-43E2-BA3B-0C9D200F7FD8}"/>
              </a:ext>
            </a:extLst>
          </p:cNvPr>
          <p:cNvSpPr/>
          <p:nvPr/>
        </p:nvSpPr>
        <p:spPr>
          <a:xfrm>
            <a:off x="11101553" y="951252"/>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52" name="Freeform 37">
            <a:extLst>
              <a:ext uri="{FF2B5EF4-FFF2-40B4-BE49-F238E27FC236}">
                <a16:creationId xmlns:a16="http://schemas.microsoft.com/office/drawing/2014/main" id="{05EB53A7-A2E1-414A-A58A-8D35F80C8620}"/>
              </a:ext>
            </a:extLst>
          </p:cNvPr>
          <p:cNvSpPr>
            <a:spLocks noEditPoints="1"/>
          </p:cNvSpPr>
          <p:nvPr/>
        </p:nvSpPr>
        <p:spPr bwMode="auto">
          <a:xfrm>
            <a:off x="11545070" y="941232"/>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54" name="TextBox 53">
            <a:extLst>
              <a:ext uri="{FF2B5EF4-FFF2-40B4-BE49-F238E27FC236}">
                <a16:creationId xmlns:a16="http://schemas.microsoft.com/office/drawing/2014/main" id="{9A87A641-BD92-4085-9A87-497E02EFF827}"/>
              </a:ext>
            </a:extLst>
          </p:cNvPr>
          <p:cNvSpPr txBox="1"/>
          <p:nvPr/>
        </p:nvSpPr>
        <p:spPr>
          <a:xfrm>
            <a:off x="10675820" y="1354571"/>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18692699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17847" y="169855"/>
            <a:ext cx="6992824" cy="1376364"/>
          </a:xfrm>
        </p:spPr>
        <p:txBody>
          <a:bodyPr>
            <a:noAutofit/>
          </a:bodyPr>
          <a:lstStyle/>
          <a:p>
            <a:r>
              <a:rPr lang="en-US" dirty="0">
                <a:solidFill>
                  <a:schemeClr val="tx2"/>
                </a:solidFill>
              </a:rPr>
              <a:t>Pillar: Workforce Sustainability </a:t>
            </a:r>
            <a:endParaRPr lang="en-AU" dirty="0">
              <a:solidFill>
                <a:schemeClr val="tx2"/>
              </a:solidFill>
            </a:endParaRPr>
          </a:p>
        </p:txBody>
      </p:sp>
      <p:pic>
        <p:nvPicPr>
          <p:cNvPr id="59" name="Picture 58">
            <a:extLst>
              <a:ext uri="{FF2B5EF4-FFF2-40B4-BE49-F238E27FC236}">
                <a16:creationId xmlns:a16="http://schemas.microsoft.com/office/drawing/2014/main" id="{69703F0F-C16C-4EC0-8A13-2DBCB764C701}"/>
              </a:ext>
            </a:extLst>
          </p:cNvPr>
          <p:cNvPicPr>
            <a:picLocks noChangeAspect="1"/>
          </p:cNvPicPr>
          <p:nvPr/>
        </p:nvPicPr>
        <p:blipFill>
          <a:blip r:embed="rId3"/>
          <a:stretch>
            <a:fillRect/>
          </a:stretch>
        </p:blipFill>
        <p:spPr>
          <a:xfrm>
            <a:off x="410705" y="469424"/>
            <a:ext cx="935881" cy="813276"/>
          </a:xfrm>
          <a:prstGeom prst="rect">
            <a:avLst/>
          </a:prstGeom>
        </p:spPr>
      </p:pic>
      <p:sp>
        <p:nvSpPr>
          <p:cNvPr id="20" name="Google Shape;2328;p209">
            <a:extLst>
              <a:ext uri="{FF2B5EF4-FFF2-40B4-BE49-F238E27FC236}">
                <a16:creationId xmlns:a16="http://schemas.microsoft.com/office/drawing/2014/main" id="{386CBFFC-43E6-42A4-B688-A539214FA3DA}"/>
              </a:ext>
            </a:extLst>
          </p:cNvPr>
          <p:cNvSpPr/>
          <p:nvPr/>
        </p:nvSpPr>
        <p:spPr>
          <a:xfrm>
            <a:off x="483556" y="1776817"/>
            <a:ext cx="8398375" cy="4778954"/>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marL="447675" indent="-447675">
              <a:spcBef>
                <a:spcPts val="300"/>
              </a:spcBef>
              <a:buClr>
                <a:schemeClr val="tx1"/>
              </a:buClr>
              <a:tabLst>
                <a:tab pos="449263" algn="l"/>
              </a:tabLst>
              <a:defRPr/>
            </a:pPr>
            <a:r>
              <a:rPr lang="en-AU" sz="1050" b="1" dirty="0">
                <a:solidFill>
                  <a:schemeClr val="accent1"/>
                </a:solidFill>
                <a:latin typeface="Calibri" panose="020F0502020204030204"/>
              </a:rPr>
              <a:t>WS1</a:t>
            </a:r>
            <a:r>
              <a:rPr lang="en-AU" sz="1050" b="0" dirty="0">
                <a:latin typeface="Calibri" panose="020F0502020204030204"/>
              </a:rPr>
              <a:t>	Equip our workforce with a ‘One Commission’ approach and mindset, creating a shared understanding of our purpose, and the roles of other people and teams </a:t>
            </a:r>
            <a:r>
              <a:rPr lang="en-AU" sz="1050" b="0" dirty="0" smtClean="0">
                <a:latin typeface="Calibri" panose="020F0502020204030204"/>
              </a:rPr>
              <a:t>throughout </a:t>
            </a:r>
            <a:r>
              <a:rPr lang="en-AU" sz="1050" b="0" dirty="0">
                <a:latin typeface="Calibri" panose="020F0502020204030204"/>
              </a:rPr>
              <a:t>the </a:t>
            </a:r>
            <a:r>
              <a:rPr lang="en-AU" sz="1050" dirty="0">
                <a:latin typeface="Calibri" panose="020F0502020204030204"/>
              </a:rPr>
              <a:t>Commission</a:t>
            </a:r>
            <a:r>
              <a:rPr lang="en-AU" sz="1050" b="0" dirty="0">
                <a:latin typeface="Calibri" panose="020F0502020204030204"/>
              </a:rPr>
              <a:t>.</a:t>
            </a:r>
            <a:r>
              <a:rPr lang="en-AU" sz="1050" dirty="0">
                <a:latin typeface="Calibri" panose="020F0502020204030204"/>
              </a:rPr>
              <a:t> </a:t>
            </a:r>
            <a:r>
              <a:rPr lang="en-AU" sz="1050" b="0" dirty="0">
                <a:latin typeface="Calibri" panose="020F0502020204030204"/>
              </a:rPr>
              <a:t> Leverage </a:t>
            </a:r>
            <a:r>
              <a:rPr lang="en-AU" sz="1050" b="0" dirty="0" smtClean="0">
                <a:latin typeface="Calibri" panose="020F0502020204030204"/>
              </a:rPr>
              <a:t>on boarding </a:t>
            </a:r>
            <a:r>
              <a:rPr lang="en-AU" sz="1050" b="0" dirty="0">
                <a:latin typeface="Calibri" panose="020F0502020204030204"/>
              </a:rPr>
              <a:t>from day one through design and delivery of a </a:t>
            </a:r>
            <a:r>
              <a:rPr lang="en-AU" sz="1050" b="1" dirty="0">
                <a:solidFill>
                  <a:schemeClr val="tx2"/>
                </a:solidFill>
                <a:latin typeface="Calibri" panose="020F0502020204030204"/>
              </a:rPr>
              <a:t>‘One Commission’ new starter induction program </a:t>
            </a:r>
            <a:r>
              <a:rPr lang="en-AU" sz="1050" b="0" dirty="0">
                <a:latin typeface="Calibri" panose="020F0502020204030204"/>
              </a:rPr>
              <a:t>that educates, connects and confirms expectations of new starters to our operating context, organisational priorities, structures, ways of working and introduces core skills for all roles delivered as part of a staged </a:t>
            </a:r>
            <a:r>
              <a:rPr lang="en-AU" sz="1050" b="0" dirty="0" smtClean="0">
                <a:latin typeface="Calibri" panose="020F0502020204030204"/>
              </a:rPr>
              <a:t>on boarding </a:t>
            </a:r>
            <a:r>
              <a:rPr lang="en-AU" sz="1050" b="0" dirty="0">
                <a:latin typeface="Calibri" panose="020F0502020204030204"/>
              </a:rPr>
              <a:t>experience</a:t>
            </a:r>
            <a:r>
              <a:rPr lang="en-AU" sz="1050" dirty="0">
                <a:latin typeface="Calibri" panose="020F0502020204030204"/>
              </a:rPr>
              <a:t> </a:t>
            </a:r>
            <a:endParaRPr lang="en-AU" sz="1050" b="0" dirty="0">
              <a:latin typeface="Calibri" panose="020F0502020204030204"/>
              <a:cs typeface="Calibri"/>
            </a:endParaRPr>
          </a:p>
          <a:p>
            <a:pPr marL="447675" indent="-447675">
              <a:spcBef>
                <a:spcPts val="300"/>
              </a:spcBef>
              <a:buClr>
                <a:schemeClr val="tx1"/>
              </a:buClr>
              <a:tabLst>
                <a:tab pos="449263" algn="l"/>
              </a:tabLst>
              <a:defRPr/>
            </a:pPr>
            <a:r>
              <a:rPr kumimoji="0" lang="en-AU" sz="1050" b="1" i="0" u="none" strike="noStrike" kern="1200" cap="none" spc="0" normalizeH="0" baseline="0" noProof="0" dirty="0">
                <a:ln>
                  <a:noFill/>
                </a:ln>
                <a:solidFill>
                  <a:schemeClr val="accent1"/>
                </a:solidFill>
                <a:effectLst/>
                <a:uLnTx/>
                <a:uFillTx/>
                <a:latin typeface="Calibri" panose="020F0502020204030204"/>
                <a:ea typeface="+mn-ea"/>
                <a:cs typeface="+mn-cs"/>
              </a:rPr>
              <a:t>WS2</a:t>
            </a:r>
            <a:r>
              <a:rPr kumimoji="0" lang="en-AU" sz="1050" i="0" u="none" strike="noStrike" kern="1200" cap="none" spc="0" normalizeH="0" baseline="0" noProof="0" dirty="0">
                <a:ln>
                  <a:noFill/>
                </a:ln>
                <a:effectLst/>
                <a:uLnTx/>
                <a:uFillTx/>
                <a:latin typeface="Calibri" panose="020F0502020204030204"/>
                <a:ea typeface="+mn-ea"/>
                <a:cs typeface="+mn-cs"/>
              </a:rPr>
              <a:t>	</a:t>
            </a:r>
            <a:r>
              <a:rPr lang="en-US" sz="1050" b="1" dirty="0">
                <a:solidFill>
                  <a:schemeClr val="tx2"/>
                </a:solidFill>
                <a:latin typeface="Calibri" panose="020F0502020204030204"/>
              </a:rPr>
              <a:t>Continue engaging with employees to seek feedback and gather workforce insights </a:t>
            </a:r>
            <a:r>
              <a:rPr lang="en-US" sz="1050" dirty="0">
                <a:latin typeface="Calibri" panose="020F0502020204030204"/>
              </a:rPr>
              <a:t>across the employee lifecycle to inform key employee experience decisions and </a:t>
            </a:r>
            <a:r>
              <a:rPr lang="en-US" sz="1050" dirty="0" smtClean="0">
                <a:latin typeface="Calibri" panose="020F0502020204030204"/>
              </a:rPr>
              <a:t>the translation and communication to </a:t>
            </a:r>
            <a:r>
              <a:rPr lang="en-US" sz="1050" dirty="0">
                <a:latin typeface="Calibri" panose="020F0502020204030204"/>
              </a:rPr>
              <a:t>the candidate </a:t>
            </a:r>
            <a:r>
              <a:rPr lang="en-US" sz="1050" dirty="0" smtClean="0">
                <a:latin typeface="Calibri" panose="020F0502020204030204"/>
              </a:rPr>
              <a:t>market. Iteratively embed materials </a:t>
            </a:r>
            <a:r>
              <a:rPr lang="en-US" sz="1050" dirty="0">
                <a:latin typeface="Calibri" panose="020F0502020204030204"/>
              </a:rPr>
              <a:t>into workforce initiatives, including design and implementation of </a:t>
            </a:r>
            <a:r>
              <a:rPr lang="en-US" sz="1050" b="1" dirty="0">
                <a:solidFill>
                  <a:schemeClr val="tx2"/>
                </a:solidFill>
                <a:latin typeface="Calibri" panose="020F0502020204030204"/>
              </a:rPr>
              <a:t>short </a:t>
            </a:r>
            <a:r>
              <a:rPr lang="en-AU" sz="1050" b="1" dirty="0">
                <a:solidFill>
                  <a:schemeClr val="tx2"/>
                </a:solidFill>
                <a:latin typeface="Calibri" panose="020F0502020204030204"/>
              </a:rPr>
              <a:t>Employee Value Proposition (</a:t>
            </a:r>
            <a:r>
              <a:rPr lang="en-US" sz="1050" b="1" dirty="0">
                <a:solidFill>
                  <a:schemeClr val="tx2"/>
                </a:solidFill>
                <a:latin typeface="Calibri" panose="020F0502020204030204"/>
              </a:rPr>
              <a:t>EVP) survey </a:t>
            </a:r>
            <a:r>
              <a:rPr lang="en-US" sz="1050" dirty="0">
                <a:latin typeface="Calibri" panose="020F0502020204030204"/>
              </a:rPr>
              <a:t>and </a:t>
            </a:r>
            <a:r>
              <a:rPr lang="en-AU" sz="1050" b="1" dirty="0">
                <a:solidFill>
                  <a:schemeClr val="tx2"/>
                </a:solidFill>
                <a:latin typeface="Calibri" panose="020F0502020204030204"/>
              </a:rPr>
              <a:t>tailored employee engagement quarterly pulse surveys</a:t>
            </a:r>
            <a:r>
              <a:rPr lang="en-AU" sz="1050" dirty="0">
                <a:latin typeface="Calibri" panose="020F0502020204030204"/>
              </a:rPr>
              <a:t> </a:t>
            </a:r>
            <a:r>
              <a:rPr lang="en-AU" sz="1050" b="0" dirty="0">
                <a:latin typeface="Calibri" panose="020F0502020204030204"/>
              </a:rPr>
              <a:t>to complement the annual APS Census and enhance understand workforce engagement and sentiment</a:t>
            </a:r>
            <a:r>
              <a:rPr lang="en-AU" sz="1050" dirty="0">
                <a:latin typeface="Calibri" panose="020F0502020204030204"/>
              </a:rPr>
              <a:t> </a:t>
            </a:r>
            <a:endParaRPr lang="en-AU" sz="1050" b="0" dirty="0">
              <a:latin typeface="Calibri" panose="020F0502020204030204"/>
              <a:cs typeface="Calibri"/>
            </a:endParaRPr>
          </a:p>
          <a:p>
            <a:pPr marL="447675" indent="-447675">
              <a:spcBef>
                <a:spcPts val="300"/>
              </a:spcBef>
              <a:buClr>
                <a:schemeClr val="tx1"/>
              </a:buClr>
              <a:tabLst>
                <a:tab pos="449263" algn="l"/>
              </a:tabLst>
              <a:defRPr/>
            </a:pPr>
            <a:r>
              <a:rPr kumimoji="0" lang="en-AU" sz="1050" b="1" i="0" u="none" strike="noStrike" kern="1200" cap="none" spc="0" normalizeH="0" baseline="0" noProof="0" dirty="0">
                <a:ln>
                  <a:noFill/>
                </a:ln>
                <a:solidFill>
                  <a:schemeClr val="accent1"/>
                </a:solidFill>
                <a:effectLst/>
                <a:uLnTx/>
                <a:uFillTx/>
                <a:latin typeface="Calibri" panose="020F0502020204030204"/>
                <a:ea typeface="+mn-ea"/>
                <a:cs typeface="+mn-cs"/>
              </a:rPr>
              <a:t>WS3</a:t>
            </a:r>
            <a:r>
              <a:rPr kumimoji="0" lang="en-AU" sz="1050" i="0" u="none" strike="noStrike" kern="1200" cap="none" spc="0" normalizeH="0" baseline="0" noProof="0" dirty="0">
                <a:ln>
                  <a:noFill/>
                </a:ln>
                <a:effectLst/>
                <a:uLnTx/>
                <a:uFillTx/>
                <a:latin typeface="Calibri" panose="020F0502020204030204"/>
                <a:ea typeface="+mn-ea"/>
                <a:cs typeface="+mn-cs"/>
              </a:rPr>
              <a:t>	</a:t>
            </a:r>
            <a:r>
              <a:rPr kumimoji="0" lang="en-AU" sz="1050" b="1" i="0" u="none" strike="noStrike" kern="1200" cap="none" spc="0" normalizeH="0" baseline="0" noProof="0" dirty="0">
                <a:ln>
                  <a:noFill/>
                </a:ln>
                <a:solidFill>
                  <a:schemeClr val="accent1"/>
                </a:solidFill>
                <a:effectLst/>
                <a:uLnTx/>
                <a:uFillTx/>
                <a:latin typeface="Calibri" panose="020F0502020204030204"/>
                <a:ea typeface="+mn-ea"/>
                <a:cs typeface="+mn-cs"/>
              </a:rPr>
              <a:t>Broaden </a:t>
            </a:r>
            <a:r>
              <a:rPr lang="en-AU" sz="1050" b="1" dirty="0">
                <a:solidFill>
                  <a:schemeClr val="accent1"/>
                </a:solidFill>
                <a:latin typeface="Calibri" panose="020F0502020204030204"/>
              </a:rPr>
              <a:t>target market for recruitment </a:t>
            </a:r>
            <a:r>
              <a:rPr lang="en-AU" sz="1050" dirty="0">
                <a:latin typeface="Calibri" panose="020F0502020204030204"/>
              </a:rPr>
              <a:t>by </a:t>
            </a:r>
            <a:r>
              <a:rPr lang="en-AU" sz="1050" b="1" dirty="0">
                <a:solidFill>
                  <a:schemeClr val="tx2"/>
                </a:solidFill>
                <a:latin typeface="Calibri" panose="020F0502020204030204"/>
              </a:rPr>
              <a:t>exploring new and different approaches to attract and grow new talent pipelines 	</a:t>
            </a:r>
            <a:r>
              <a:rPr lang="en-AU" sz="1050" dirty="0">
                <a:latin typeface="Calibri" panose="020F0502020204030204"/>
              </a:rPr>
              <a:t>to</a:t>
            </a:r>
            <a:r>
              <a:rPr lang="en-AU" sz="1050" b="0" dirty="0">
                <a:latin typeface="Calibri" panose="020F0502020204030204"/>
              </a:rPr>
              <a:t> assist with future demand, surge capacity and workload using flexible contingent workforces in areas of high demand, such as the contact centre. For example </a:t>
            </a:r>
            <a:r>
              <a:rPr lang="en-AU" sz="1050" b="1" dirty="0">
                <a:solidFill>
                  <a:schemeClr val="tx2"/>
                </a:solidFill>
                <a:latin typeface="Calibri" panose="020F0502020204030204"/>
              </a:rPr>
              <a:t>an</a:t>
            </a:r>
            <a:r>
              <a:rPr lang="en-AU" sz="1050" b="1" dirty="0">
                <a:latin typeface="Calibri" panose="020F0502020204030204"/>
              </a:rPr>
              <a:t> </a:t>
            </a:r>
            <a:r>
              <a:rPr lang="en-AU" sz="1050" b="1" dirty="0">
                <a:solidFill>
                  <a:schemeClr val="tx2"/>
                </a:solidFill>
                <a:latin typeface="Calibri" panose="020F0502020204030204"/>
              </a:rPr>
              <a:t>early career program in the form of internships, cadetships, school pathway program, mentor programs or casual hub </a:t>
            </a:r>
            <a:r>
              <a:rPr lang="en-AU" sz="1050" b="0" dirty="0">
                <a:latin typeface="Calibri" panose="020F0502020204030204"/>
              </a:rPr>
              <a:t>in partnership with universities/vocational institutions</a:t>
            </a:r>
            <a:endParaRPr lang="en-AU" sz="1050" b="1" dirty="0">
              <a:latin typeface="Calibri" panose="020F0502020204030204"/>
              <a:cs typeface="Calibri"/>
            </a:endParaRPr>
          </a:p>
          <a:p>
            <a:pPr marL="447675" indent="-447675">
              <a:spcBef>
                <a:spcPts val="300"/>
              </a:spcBef>
              <a:buClr>
                <a:schemeClr val="tx1"/>
              </a:buClr>
              <a:tabLst>
                <a:tab pos="449263" algn="l"/>
              </a:tabLst>
              <a:defRPr/>
            </a:pPr>
            <a:r>
              <a:rPr lang="en-AU" sz="1050" b="1" dirty="0">
                <a:solidFill>
                  <a:schemeClr val="tx2"/>
                </a:solidFill>
                <a:latin typeface="Calibri" panose="020F0502020204030204"/>
                <a:sym typeface="Public Sans"/>
              </a:rPr>
              <a:t>WS4	</a:t>
            </a:r>
            <a:r>
              <a:rPr lang="en-US" sz="1050" b="1" dirty="0">
                <a:solidFill>
                  <a:schemeClr val="accent1"/>
                </a:solidFill>
                <a:latin typeface="Calibri" panose="020F0502020204030204"/>
                <a:sym typeface="Public Sans"/>
              </a:rPr>
              <a:t>Leverage partnerships with other regulators, authorities and agencies </a:t>
            </a:r>
            <a:r>
              <a:rPr lang="en-US" sz="1050" dirty="0">
                <a:latin typeface="Calibri" panose="020F0502020204030204"/>
                <a:sym typeface="Public Sans"/>
              </a:rPr>
              <a:t>to facilitate mobility, secondment and/or exchange program to access a broader workforce, lift capability and grow career experience, </a:t>
            </a:r>
            <a:r>
              <a:rPr lang="en-US" sz="1050" dirty="0">
                <a:latin typeface="Calibri" panose="020F0502020204030204"/>
              </a:rPr>
              <a:t>leveraging work in progress and learnings from </a:t>
            </a:r>
            <a:r>
              <a:rPr lang="en-US" sz="1050" dirty="0" smtClean="0">
                <a:latin typeface="Calibri" panose="020F0502020204030204"/>
              </a:rPr>
              <a:t>mentoring </a:t>
            </a:r>
            <a:r>
              <a:rPr lang="en-US" sz="1050" dirty="0">
                <a:latin typeface="Calibri" panose="020F0502020204030204"/>
              </a:rPr>
              <a:t>programs </a:t>
            </a:r>
            <a:r>
              <a:rPr lang="en-US" sz="1050" dirty="0" smtClean="0">
                <a:latin typeface="Calibri" panose="020F0502020204030204"/>
              </a:rPr>
              <a:t>currently in development, led by </a:t>
            </a:r>
            <a:r>
              <a:rPr lang="en-US" sz="1050" dirty="0">
                <a:latin typeface="Calibri" panose="020F0502020204030204"/>
              </a:rPr>
              <a:t>the APS Working Group</a:t>
            </a:r>
            <a:endParaRPr lang="en-AU" sz="1050" b="1" dirty="0">
              <a:latin typeface="Calibri" panose="020F0502020204030204"/>
              <a:cs typeface="Calibri"/>
            </a:endParaRPr>
          </a:p>
          <a:p>
            <a:pPr marL="447675" indent="-447675">
              <a:spcBef>
                <a:spcPts val="300"/>
              </a:spcBef>
              <a:buClr>
                <a:schemeClr val="tx1"/>
              </a:buClr>
              <a:tabLst>
                <a:tab pos="449263" algn="l"/>
              </a:tabLst>
              <a:defRPr/>
            </a:pPr>
            <a:r>
              <a:rPr lang="en-AU" sz="1050" b="1" dirty="0">
                <a:solidFill>
                  <a:schemeClr val="tx2"/>
                </a:solidFill>
                <a:latin typeface="Calibri" panose="020F0502020204030204"/>
              </a:rPr>
              <a:t>WS5</a:t>
            </a:r>
            <a:r>
              <a:rPr lang="en-AU" sz="1050" dirty="0">
                <a:latin typeface="Calibri" panose="020F0502020204030204"/>
              </a:rPr>
              <a:t>	</a:t>
            </a:r>
            <a:r>
              <a:rPr kumimoji="0" lang="en-AU" sz="1050" b="1" i="0" u="none" strike="noStrike" kern="1200" cap="none" spc="0" normalizeH="0" baseline="0" noProof="0" dirty="0">
                <a:ln>
                  <a:noFill/>
                </a:ln>
                <a:solidFill>
                  <a:schemeClr val="accent1"/>
                </a:solidFill>
                <a:effectLst/>
                <a:uLnTx/>
                <a:uFillTx/>
                <a:latin typeface="Calibri" panose="020F0502020204030204"/>
                <a:ea typeface="+mn-ea"/>
                <a:cs typeface="+mn-cs"/>
              </a:rPr>
              <a:t>Develop and activate a contemporary </a:t>
            </a:r>
            <a:r>
              <a:rPr lang="en-AU" sz="1050" b="1" dirty="0">
                <a:solidFill>
                  <a:schemeClr val="tx2"/>
                </a:solidFill>
                <a:latin typeface="Calibri" panose="020F0502020204030204"/>
              </a:rPr>
              <a:t>EVP </a:t>
            </a:r>
            <a:r>
              <a:rPr lang="en-AU" sz="1050" b="0" dirty="0">
                <a:latin typeface="Calibri" panose="020F0502020204030204"/>
              </a:rPr>
              <a:t>bringing to life the practical experiences and value of working in the Commission, what	this means and looks like -- articulating the Commission’s tangible and intangible value propositions, competitive advantage and 	differentiating factors. In turn, informing targeted recruitment, talent planning and reward and recognition activities</a:t>
            </a:r>
            <a:r>
              <a:rPr lang="en-AU" sz="1050" dirty="0">
                <a:latin typeface="Calibri" panose="020F0502020204030204"/>
              </a:rPr>
              <a:t> </a:t>
            </a:r>
            <a:endParaRPr lang="en-AU" sz="1050" dirty="0">
              <a:latin typeface="Calibri" panose="020F0502020204030204"/>
              <a:cs typeface="Calibri"/>
            </a:endParaRPr>
          </a:p>
          <a:p>
            <a:pPr marL="447675" indent="-447675">
              <a:spcBef>
                <a:spcPts val="300"/>
              </a:spcBef>
              <a:buClr>
                <a:schemeClr val="tx1"/>
              </a:buClr>
              <a:tabLst>
                <a:tab pos="449263" algn="l"/>
              </a:tabLst>
              <a:defRPr/>
            </a:pPr>
            <a:r>
              <a:rPr lang="en-US" sz="1050" b="1" dirty="0">
                <a:solidFill>
                  <a:schemeClr val="tx2"/>
                </a:solidFill>
                <a:latin typeface="Calibri" panose="020F0502020204030204"/>
              </a:rPr>
              <a:t>WS6</a:t>
            </a:r>
            <a:r>
              <a:rPr lang="en-US" sz="1050" dirty="0">
                <a:latin typeface="Calibri" panose="020F0502020204030204"/>
              </a:rPr>
              <a:t>	Establish an </a:t>
            </a:r>
            <a:r>
              <a:rPr lang="en-US" sz="1050" b="1" dirty="0">
                <a:solidFill>
                  <a:schemeClr val="tx2"/>
                </a:solidFill>
                <a:latin typeface="Calibri" panose="020F0502020204030204"/>
              </a:rPr>
              <a:t>informal mentoring program </a:t>
            </a:r>
            <a:r>
              <a:rPr lang="en-US" sz="1050" dirty="0">
                <a:latin typeface="Calibri" panose="020F0502020204030204"/>
              </a:rPr>
              <a:t>across service lines to enhance collaboration, knowledge sharing and mobility, leveraging work in progress and learnings from the existing mentoring programs in development across the APS Working Group</a:t>
            </a:r>
            <a:endParaRPr lang="en-US" sz="1050" dirty="0">
              <a:latin typeface="Calibri" panose="020F0502020204030204"/>
              <a:cs typeface="Calibri"/>
            </a:endParaRPr>
          </a:p>
          <a:p>
            <a:pPr marL="447675" indent="-447675">
              <a:spcBef>
                <a:spcPts val="300"/>
              </a:spcBef>
              <a:buClr>
                <a:schemeClr val="tx1"/>
              </a:buClr>
              <a:tabLst>
                <a:tab pos="449263" algn="l"/>
              </a:tabLst>
              <a:defRPr/>
            </a:pPr>
            <a:r>
              <a:rPr lang="en-US" sz="1050" b="1" dirty="0">
                <a:solidFill>
                  <a:schemeClr val="tx2"/>
                </a:solidFill>
                <a:latin typeface="Calibri" panose="020F0502020204030204"/>
              </a:rPr>
              <a:t>WS7</a:t>
            </a:r>
            <a:r>
              <a:rPr lang="en-US" sz="1050" b="1" dirty="0">
                <a:latin typeface="Calibri" panose="020F0502020204030204"/>
              </a:rPr>
              <a:t>	</a:t>
            </a:r>
            <a:r>
              <a:rPr lang="en-AU" sz="1050" b="1" dirty="0">
                <a:solidFill>
                  <a:schemeClr val="accent1"/>
                </a:solidFill>
                <a:latin typeface="Calibri" panose="020F0502020204030204"/>
              </a:rPr>
              <a:t>Enhance technology enabled distributed ways of working </a:t>
            </a:r>
            <a:r>
              <a:rPr lang="en-AU" sz="1050" dirty="0">
                <a:latin typeface="Calibri" panose="020F0502020204030204"/>
              </a:rPr>
              <a:t>supported by digital tools providing an opportunity for workers to connect, learn and collaborate across distributed workplaces and spaces, enabling greater collaboration and asynchronous ways of working</a:t>
            </a:r>
            <a:endParaRPr lang="en-AU" sz="1050" dirty="0">
              <a:latin typeface="Calibri" panose="020F0502020204030204"/>
              <a:cs typeface="Calibri"/>
            </a:endParaRPr>
          </a:p>
          <a:p>
            <a:pPr marL="447675" indent="-447675">
              <a:spcBef>
                <a:spcPts val="300"/>
              </a:spcBef>
              <a:buClr>
                <a:schemeClr val="tx1"/>
              </a:buClr>
              <a:tabLst>
                <a:tab pos="449263" algn="l"/>
              </a:tabLst>
              <a:defRPr/>
            </a:pPr>
            <a:r>
              <a:rPr lang="en-AU" sz="1050" b="1" dirty="0">
                <a:solidFill>
                  <a:schemeClr val="tx2"/>
                </a:solidFill>
                <a:latin typeface="Calibri" panose="020F0502020204030204"/>
              </a:rPr>
              <a:t>WS8</a:t>
            </a:r>
            <a:r>
              <a:rPr lang="en-AU" sz="1050" dirty="0">
                <a:latin typeface="Calibri" panose="020F0502020204030204"/>
              </a:rPr>
              <a:t>	</a:t>
            </a:r>
            <a:r>
              <a:rPr lang="en-GB" sz="1050" dirty="0">
                <a:latin typeface="Calibri" panose="020F0502020204030204"/>
              </a:rPr>
              <a:t>Develop </a:t>
            </a:r>
            <a:r>
              <a:rPr lang="en-GB" sz="1050" b="1" dirty="0">
                <a:solidFill>
                  <a:schemeClr val="tx2"/>
                </a:solidFill>
                <a:latin typeface="Calibri" panose="020F0502020204030204"/>
                <a:sym typeface="Helvetica Neue"/>
              </a:rPr>
              <a:t>strategic workforce </a:t>
            </a:r>
            <a:r>
              <a:rPr lang="en-GB" sz="1050" b="1" dirty="0">
                <a:solidFill>
                  <a:schemeClr val="tx2"/>
                </a:solidFill>
                <a:latin typeface="Calibri" panose="020F0502020204030204"/>
              </a:rPr>
              <a:t>capability</a:t>
            </a:r>
            <a:r>
              <a:rPr lang="en-GB" sz="1050" b="1" dirty="0">
                <a:latin typeface="Calibri" panose="020F0502020204030204"/>
              </a:rPr>
              <a:t>, </a:t>
            </a:r>
            <a:r>
              <a:rPr lang="en-GB" sz="1050" dirty="0">
                <a:latin typeface="Calibri" panose="020F0502020204030204"/>
              </a:rPr>
              <a:t>informed by deeper workforce analytics including workforce demand/supply modelling across workforce segments and critical roles to determine specific capacity and capability risks and mitigations. Start with data already available in the Commission and iteratively consider additional data collections to support further analysis overtime, including drawing on output of P7, C5</a:t>
            </a:r>
            <a:endParaRPr lang="en-GB" sz="1050" dirty="0">
              <a:latin typeface="Calibri" panose="020F0502020204030204"/>
              <a:cs typeface="Calibri"/>
            </a:endParaRPr>
          </a:p>
          <a:p>
            <a:pPr marL="447675" indent="-447675">
              <a:spcBef>
                <a:spcPts val="300"/>
              </a:spcBef>
              <a:buClr>
                <a:schemeClr val="tx1"/>
              </a:buClr>
              <a:tabLst>
                <a:tab pos="449263" algn="l"/>
              </a:tabLst>
              <a:defRPr/>
            </a:pPr>
            <a:r>
              <a:rPr lang="en-GB" sz="1050" b="1" dirty="0">
                <a:solidFill>
                  <a:schemeClr val="tx2"/>
                </a:solidFill>
                <a:latin typeface="Calibri" panose="020F0502020204030204"/>
                <a:sym typeface="Public Sans"/>
              </a:rPr>
              <a:t>WS9</a:t>
            </a:r>
            <a:r>
              <a:rPr lang="en-GB" sz="1050" dirty="0">
                <a:latin typeface="Calibri" panose="020F0502020204030204"/>
                <a:sym typeface="Public Sans"/>
              </a:rPr>
              <a:t>	</a:t>
            </a:r>
            <a:r>
              <a:rPr lang="en-US" sz="1050" b="1" dirty="0">
                <a:solidFill>
                  <a:schemeClr val="tx2"/>
                </a:solidFill>
                <a:latin typeface="Calibri" panose="020F0502020204030204"/>
                <a:sym typeface="Public Sans"/>
              </a:rPr>
              <a:t>Review external workforce contracts, </a:t>
            </a:r>
            <a:r>
              <a:rPr lang="en-US" sz="1050" dirty="0">
                <a:latin typeface="Calibri" panose="020F0502020204030204"/>
                <a:sym typeface="Public Sans"/>
              </a:rPr>
              <a:t>assess future needs and stagger end dates where possible, prioritising critical roles</a:t>
            </a:r>
            <a:endParaRPr lang="en-US" sz="1050" b="1" dirty="0">
              <a:solidFill>
                <a:schemeClr val="tx2"/>
              </a:solidFill>
              <a:latin typeface="Calibri" panose="020F0502020204030204"/>
              <a:cs typeface="Calibri"/>
            </a:endParaRPr>
          </a:p>
          <a:p>
            <a:pPr marL="447675" indent="-447675">
              <a:spcBef>
                <a:spcPts val="300"/>
              </a:spcBef>
              <a:buClr>
                <a:schemeClr val="tx1"/>
              </a:buClr>
              <a:tabLst>
                <a:tab pos="449263" algn="l"/>
              </a:tabLst>
              <a:defRPr/>
            </a:pPr>
            <a:r>
              <a:rPr lang="en-US" sz="1050" b="1" dirty="0">
                <a:solidFill>
                  <a:schemeClr val="tx2"/>
                </a:solidFill>
                <a:latin typeface="Calibri" panose="020F0502020204030204"/>
                <a:sym typeface="Public Sans"/>
              </a:rPr>
              <a:t>WS10	Undertake succession planning and talent mapping </a:t>
            </a:r>
            <a:r>
              <a:rPr lang="en-US" sz="1050" dirty="0">
                <a:latin typeface="Calibri" panose="020F0502020204030204"/>
                <a:sym typeface="Public Sans"/>
              </a:rPr>
              <a:t>at the branch or divisional level and above to ensure a future pipeline of talent.  </a:t>
            </a:r>
            <a:endParaRPr lang="en-AU" sz="1050" b="1" dirty="0">
              <a:solidFill>
                <a:schemeClr val="tx2"/>
              </a:solidFill>
              <a:latin typeface="Calibri" panose="020F0502020204030204"/>
              <a:cs typeface="Calibri"/>
            </a:endParaRPr>
          </a:p>
          <a:p>
            <a:pPr marL="180975" indent="-180975">
              <a:spcBef>
                <a:spcPts val="300"/>
              </a:spcBef>
              <a:buClr>
                <a:schemeClr val="tx1"/>
              </a:buClr>
              <a:buFont typeface="Arial" panose="020B0604020202020204" pitchFamily="34" charset="0"/>
              <a:buChar char="•"/>
              <a:tabLst>
                <a:tab pos="449263" algn="l"/>
              </a:tabLst>
              <a:defRPr/>
            </a:pPr>
            <a:endParaRPr lang="en-AU" sz="1050" b="1" dirty="0">
              <a:highlight>
                <a:srgbClr val="FFFF00"/>
              </a:highlight>
              <a:latin typeface="Calibri" panose="020F0502020204030204"/>
              <a:cs typeface="Calibri"/>
            </a:endParaRPr>
          </a:p>
        </p:txBody>
      </p:sp>
      <p:sp>
        <p:nvSpPr>
          <p:cNvPr id="12" name="Content Placeholder 5">
            <a:extLst>
              <a:ext uri="{FF2B5EF4-FFF2-40B4-BE49-F238E27FC236}">
                <a16:creationId xmlns:a16="http://schemas.microsoft.com/office/drawing/2014/main" id="{18EC1947-17F2-4493-B362-4A96C09F0673}"/>
              </a:ext>
            </a:extLst>
          </p:cNvPr>
          <p:cNvSpPr txBox="1">
            <a:spLocks/>
          </p:cNvSpPr>
          <p:nvPr/>
        </p:nvSpPr>
        <p:spPr>
          <a:xfrm>
            <a:off x="483556" y="1483891"/>
            <a:ext cx="8398375" cy="292926"/>
          </a:xfrm>
          <a:prstGeom prst="rect">
            <a:avLst/>
          </a:prstGeom>
          <a:solidFill>
            <a:schemeClr val="tx2"/>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14" name="Content Placeholder 5">
            <a:extLst>
              <a:ext uri="{FF2B5EF4-FFF2-40B4-BE49-F238E27FC236}">
                <a16:creationId xmlns:a16="http://schemas.microsoft.com/office/drawing/2014/main" id="{476F6408-E7B9-4341-B926-F922D0E13AEA}"/>
              </a:ext>
            </a:extLst>
          </p:cNvPr>
          <p:cNvSpPr txBox="1">
            <a:spLocks/>
          </p:cNvSpPr>
          <p:nvPr/>
        </p:nvSpPr>
        <p:spPr>
          <a:xfrm>
            <a:off x="8958132" y="1483891"/>
            <a:ext cx="801591" cy="292926"/>
          </a:xfrm>
          <a:prstGeom prst="rect">
            <a:avLst/>
          </a:prstGeom>
          <a:solidFill>
            <a:schemeClr val="tx2"/>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15" name="Content Placeholder 5">
            <a:extLst>
              <a:ext uri="{FF2B5EF4-FFF2-40B4-BE49-F238E27FC236}">
                <a16:creationId xmlns:a16="http://schemas.microsoft.com/office/drawing/2014/main" id="{F90D2420-6DF6-4ADB-AA8A-E14F72F5CAB1}"/>
              </a:ext>
            </a:extLst>
          </p:cNvPr>
          <p:cNvSpPr txBox="1">
            <a:spLocks/>
          </p:cNvSpPr>
          <p:nvPr/>
        </p:nvSpPr>
        <p:spPr>
          <a:xfrm>
            <a:off x="9898283" y="1483891"/>
            <a:ext cx="803702" cy="292926"/>
          </a:xfrm>
          <a:prstGeom prst="rect">
            <a:avLst/>
          </a:prstGeom>
          <a:solidFill>
            <a:schemeClr val="tx2"/>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16" name="Content Placeholder 5">
            <a:extLst>
              <a:ext uri="{FF2B5EF4-FFF2-40B4-BE49-F238E27FC236}">
                <a16:creationId xmlns:a16="http://schemas.microsoft.com/office/drawing/2014/main" id="{DA8FE764-95E7-4557-970E-8E2D86CA5A4C}"/>
              </a:ext>
            </a:extLst>
          </p:cNvPr>
          <p:cNvSpPr txBox="1">
            <a:spLocks/>
          </p:cNvSpPr>
          <p:nvPr/>
        </p:nvSpPr>
        <p:spPr>
          <a:xfrm>
            <a:off x="10840545" y="1483891"/>
            <a:ext cx="803702" cy="292926"/>
          </a:xfrm>
          <a:prstGeom prst="rect">
            <a:avLst/>
          </a:prstGeom>
          <a:solidFill>
            <a:schemeClr val="tx2"/>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17" name="Content Placeholder 5">
            <a:extLst>
              <a:ext uri="{FF2B5EF4-FFF2-40B4-BE49-F238E27FC236}">
                <a16:creationId xmlns:a16="http://schemas.microsoft.com/office/drawing/2014/main" id="{11C8C3C4-2AEF-45FC-B4B3-D1026224A8D6}"/>
              </a:ext>
            </a:extLst>
          </p:cNvPr>
          <p:cNvSpPr txBox="1">
            <a:spLocks/>
          </p:cNvSpPr>
          <p:nvPr/>
        </p:nvSpPr>
        <p:spPr>
          <a:xfrm>
            <a:off x="8958132" y="1845841"/>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18" name="Content Placeholder 5">
            <a:extLst>
              <a:ext uri="{FF2B5EF4-FFF2-40B4-BE49-F238E27FC236}">
                <a16:creationId xmlns:a16="http://schemas.microsoft.com/office/drawing/2014/main" id="{35349E5E-8BA6-409E-AC09-08F88803F737}"/>
              </a:ext>
            </a:extLst>
          </p:cNvPr>
          <p:cNvSpPr txBox="1">
            <a:spLocks/>
          </p:cNvSpPr>
          <p:nvPr/>
        </p:nvSpPr>
        <p:spPr>
          <a:xfrm>
            <a:off x="9898283" y="1845841"/>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19" name="Content Placeholder 5">
            <a:extLst>
              <a:ext uri="{FF2B5EF4-FFF2-40B4-BE49-F238E27FC236}">
                <a16:creationId xmlns:a16="http://schemas.microsoft.com/office/drawing/2014/main" id="{03CC3BA6-CD44-4052-9DC8-E9396A0592A3}"/>
              </a:ext>
            </a:extLst>
          </p:cNvPr>
          <p:cNvSpPr txBox="1">
            <a:spLocks/>
          </p:cNvSpPr>
          <p:nvPr/>
        </p:nvSpPr>
        <p:spPr>
          <a:xfrm>
            <a:off x="10840545" y="1845841"/>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p>
        </p:txBody>
      </p:sp>
      <p:sp>
        <p:nvSpPr>
          <p:cNvPr id="21" name="Content Placeholder 5">
            <a:extLst>
              <a:ext uri="{FF2B5EF4-FFF2-40B4-BE49-F238E27FC236}">
                <a16:creationId xmlns:a16="http://schemas.microsoft.com/office/drawing/2014/main" id="{C8F8A0E6-5457-4E6E-B4C3-DA370624EA96}"/>
              </a:ext>
            </a:extLst>
          </p:cNvPr>
          <p:cNvSpPr txBox="1">
            <a:spLocks/>
          </p:cNvSpPr>
          <p:nvPr/>
        </p:nvSpPr>
        <p:spPr>
          <a:xfrm>
            <a:off x="8958132" y="2563584"/>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23" name="Content Placeholder 5">
            <a:extLst>
              <a:ext uri="{FF2B5EF4-FFF2-40B4-BE49-F238E27FC236}">
                <a16:creationId xmlns:a16="http://schemas.microsoft.com/office/drawing/2014/main" id="{AFA0E8BB-398D-4493-9A62-810D88279A77}"/>
              </a:ext>
            </a:extLst>
          </p:cNvPr>
          <p:cNvSpPr txBox="1">
            <a:spLocks/>
          </p:cNvSpPr>
          <p:nvPr/>
        </p:nvSpPr>
        <p:spPr>
          <a:xfrm>
            <a:off x="9898283" y="2563584"/>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24" name="Content Placeholder 5">
            <a:extLst>
              <a:ext uri="{FF2B5EF4-FFF2-40B4-BE49-F238E27FC236}">
                <a16:creationId xmlns:a16="http://schemas.microsoft.com/office/drawing/2014/main" id="{94FCC7AB-2201-4C6A-AC60-3FAE7AC6CA97}"/>
              </a:ext>
            </a:extLst>
          </p:cNvPr>
          <p:cNvSpPr txBox="1">
            <a:spLocks/>
          </p:cNvSpPr>
          <p:nvPr/>
        </p:nvSpPr>
        <p:spPr>
          <a:xfrm>
            <a:off x="10840545" y="2563584"/>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endParaRPr lang="en-AU" sz="1050" b="0" dirty="0">
              <a:solidFill>
                <a:schemeClr val="tx1"/>
              </a:solidFill>
              <a:cs typeface="Calibri"/>
            </a:endParaRPr>
          </a:p>
        </p:txBody>
      </p:sp>
      <p:sp>
        <p:nvSpPr>
          <p:cNvPr id="29" name="Content Placeholder 5">
            <a:extLst>
              <a:ext uri="{FF2B5EF4-FFF2-40B4-BE49-F238E27FC236}">
                <a16:creationId xmlns:a16="http://schemas.microsoft.com/office/drawing/2014/main" id="{013459CC-4A87-41EB-81FE-9E19F55E5CF4}"/>
              </a:ext>
            </a:extLst>
          </p:cNvPr>
          <p:cNvSpPr txBox="1">
            <a:spLocks/>
          </p:cNvSpPr>
          <p:nvPr/>
        </p:nvSpPr>
        <p:spPr>
          <a:xfrm>
            <a:off x="8958132" y="3247865"/>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30" name="Content Placeholder 5">
            <a:extLst>
              <a:ext uri="{FF2B5EF4-FFF2-40B4-BE49-F238E27FC236}">
                <a16:creationId xmlns:a16="http://schemas.microsoft.com/office/drawing/2014/main" id="{84066496-2892-449D-905D-E37BA52BD053}"/>
              </a:ext>
            </a:extLst>
          </p:cNvPr>
          <p:cNvSpPr txBox="1">
            <a:spLocks/>
          </p:cNvSpPr>
          <p:nvPr/>
        </p:nvSpPr>
        <p:spPr>
          <a:xfrm>
            <a:off x="9898283" y="3247865"/>
            <a:ext cx="803702" cy="292926"/>
          </a:xfrm>
          <a:prstGeom prst="rect">
            <a:avLst/>
          </a:prstGeom>
          <a:solidFill>
            <a:srgbClr val="F1CEED"/>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31" name="Content Placeholder 5">
            <a:extLst>
              <a:ext uri="{FF2B5EF4-FFF2-40B4-BE49-F238E27FC236}">
                <a16:creationId xmlns:a16="http://schemas.microsoft.com/office/drawing/2014/main" id="{89DF7715-A526-47AA-92FD-A7B18D656515}"/>
              </a:ext>
            </a:extLst>
          </p:cNvPr>
          <p:cNvSpPr txBox="1">
            <a:spLocks/>
          </p:cNvSpPr>
          <p:nvPr/>
        </p:nvSpPr>
        <p:spPr>
          <a:xfrm>
            <a:off x="10840545" y="3247865"/>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3</a:t>
            </a:r>
          </a:p>
        </p:txBody>
      </p:sp>
      <p:sp>
        <p:nvSpPr>
          <p:cNvPr id="32" name="Content Placeholder 5">
            <a:extLst>
              <a:ext uri="{FF2B5EF4-FFF2-40B4-BE49-F238E27FC236}">
                <a16:creationId xmlns:a16="http://schemas.microsoft.com/office/drawing/2014/main" id="{F16ADA33-ECA3-49D8-9AF8-9DBEDD926AE6}"/>
              </a:ext>
            </a:extLst>
          </p:cNvPr>
          <p:cNvSpPr txBox="1">
            <a:spLocks/>
          </p:cNvSpPr>
          <p:nvPr/>
        </p:nvSpPr>
        <p:spPr>
          <a:xfrm>
            <a:off x="8958132" y="3908438"/>
            <a:ext cx="801591"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33" name="Content Placeholder 5">
            <a:extLst>
              <a:ext uri="{FF2B5EF4-FFF2-40B4-BE49-F238E27FC236}">
                <a16:creationId xmlns:a16="http://schemas.microsoft.com/office/drawing/2014/main" id="{FE7ED63B-386B-46D8-BD5F-C0B0A67BE64A}"/>
              </a:ext>
            </a:extLst>
          </p:cNvPr>
          <p:cNvSpPr txBox="1">
            <a:spLocks/>
          </p:cNvSpPr>
          <p:nvPr/>
        </p:nvSpPr>
        <p:spPr>
          <a:xfrm>
            <a:off x="9898283" y="3908438"/>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34" name="Content Placeholder 5">
            <a:extLst>
              <a:ext uri="{FF2B5EF4-FFF2-40B4-BE49-F238E27FC236}">
                <a16:creationId xmlns:a16="http://schemas.microsoft.com/office/drawing/2014/main" id="{F09A48AB-FBA0-43EF-AA98-B98BD3233D97}"/>
              </a:ext>
            </a:extLst>
          </p:cNvPr>
          <p:cNvSpPr txBox="1">
            <a:spLocks/>
          </p:cNvSpPr>
          <p:nvPr/>
        </p:nvSpPr>
        <p:spPr>
          <a:xfrm>
            <a:off x="10840545" y="3908438"/>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36" name="Content Placeholder 5">
            <a:extLst>
              <a:ext uri="{FF2B5EF4-FFF2-40B4-BE49-F238E27FC236}">
                <a16:creationId xmlns:a16="http://schemas.microsoft.com/office/drawing/2014/main" id="{3FFFBCD3-F9D3-40D3-812C-4CF624765756}"/>
              </a:ext>
            </a:extLst>
          </p:cNvPr>
          <p:cNvSpPr txBox="1">
            <a:spLocks/>
          </p:cNvSpPr>
          <p:nvPr/>
        </p:nvSpPr>
        <p:spPr>
          <a:xfrm>
            <a:off x="8958132" y="4407552"/>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37" name="Content Placeholder 5">
            <a:extLst>
              <a:ext uri="{FF2B5EF4-FFF2-40B4-BE49-F238E27FC236}">
                <a16:creationId xmlns:a16="http://schemas.microsoft.com/office/drawing/2014/main" id="{E4E62D05-B2B0-450E-9438-28F0FC1CCF07}"/>
              </a:ext>
            </a:extLst>
          </p:cNvPr>
          <p:cNvSpPr txBox="1">
            <a:spLocks/>
          </p:cNvSpPr>
          <p:nvPr/>
        </p:nvSpPr>
        <p:spPr>
          <a:xfrm>
            <a:off x="9898283" y="4407552"/>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38" name="Content Placeholder 5">
            <a:extLst>
              <a:ext uri="{FF2B5EF4-FFF2-40B4-BE49-F238E27FC236}">
                <a16:creationId xmlns:a16="http://schemas.microsoft.com/office/drawing/2014/main" id="{2939938E-57FD-4CB9-AF6D-2E08B6F8644C}"/>
              </a:ext>
            </a:extLst>
          </p:cNvPr>
          <p:cNvSpPr txBox="1">
            <a:spLocks/>
          </p:cNvSpPr>
          <p:nvPr/>
        </p:nvSpPr>
        <p:spPr>
          <a:xfrm>
            <a:off x="10840545" y="4407552"/>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39" name="Content Placeholder 5">
            <a:extLst>
              <a:ext uri="{FF2B5EF4-FFF2-40B4-BE49-F238E27FC236}">
                <a16:creationId xmlns:a16="http://schemas.microsoft.com/office/drawing/2014/main" id="{E1548810-E5E5-479B-ACB9-FFDB7CA88B51}"/>
              </a:ext>
            </a:extLst>
          </p:cNvPr>
          <p:cNvSpPr txBox="1">
            <a:spLocks/>
          </p:cNvSpPr>
          <p:nvPr/>
        </p:nvSpPr>
        <p:spPr>
          <a:xfrm>
            <a:off x="8958132" y="5164826"/>
            <a:ext cx="801591"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40" name="Content Placeholder 5">
            <a:extLst>
              <a:ext uri="{FF2B5EF4-FFF2-40B4-BE49-F238E27FC236}">
                <a16:creationId xmlns:a16="http://schemas.microsoft.com/office/drawing/2014/main" id="{3EE2DB1F-D70C-4988-99FB-EEAADA46CC43}"/>
              </a:ext>
            </a:extLst>
          </p:cNvPr>
          <p:cNvSpPr txBox="1">
            <a:spLocks/>
          </p:cNvSpPr>
          <p:nvPr/>
        </p:nvSpPr>
        <p:spPr>
          <a:xfrm>
            <a:off x="9898283" y="5164826"/>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41" name="Content Placeholder 5">
            <a:extLst>
              <a:ext uri="{FF2B5EF4-FFF2-40B4-BE49-F238E27FC236}">
                <a16:creationId xmlns:a16="http://schemas.microsoft.com/office/drawing/2014/main" id="{824F56CD-3443-4F96-8731-CD261931367F}"/>
              </a:ext>
            </a:extLst>
          </p:cNvPr>
          <p:cNvSpPr txBox="1">
            <a:spLocks/>
          </p:cNvSpPr>
          <p:nvPr/>
        </p:nvSpPr>
        <p:spPr>
          <a:xfrm>
            <a:off x="10840545" y="5164826"/>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42" name="Content Placeholder 5">
            <a:extLst>
              <a:ext uri="{FF2B5EF4-FFF2-40B4-BE49-F238E27FC236}">
                <a16:creationId xmlns:a16="http://schemas.microsoft.com/office/drawing/2014/main" id="{EFE81292-1AC0-4EBA-9403-A281367819B2}"/>
              </a:ext>
            </a:extLst>
          </p:cNvPr>
          <p:cNvSpPr txBox="1">
            <a:spLocks/>
          </p:cNvSpPr>
          <p:nvPr/>
        </p:nvSpPr>
        <p:spPr>
          <a:xfrm>
            <a:off x="8958132" y="5518595"/>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43" name="Content Placeholder 5">
            <a:extLst>
              <a:ext uri="{FF2B5EF4-FFF2-40B4-BE49-F238E27FC236}">
                <a16:creationId xmlns:a16="http://schemas.microsoft.com/office/drawing/2014/main" id="{2F2A9EDD-95C0-4B50-8EC5-AF2F54F7D631}"/>
              </a:ext>
            </a:extLst>
          </p:cNvPr>
          <p:cNvSpPr txBox="1">
            <a:spLocks/>
          </p:cNvSpPr>
          <p:nvPr/>
        </p:nvSpPr>
        <p:spPr>
          <a:xfrm>
            <a:off x="9898283" y="5518595"/>
            <a:ext cx="803702" cy="292926"/>
          </a:xfrm>
          <a:prstGeom prst="rect">
            <a:avLst/>
          </a:prstGeom>
          <a:solidFill>
            <a:schemeClr val="bg2">
              <a:lumMod val="9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Low</a:t>
            </a:r>
          </a:p>
        </p:txBody>
      </p:sp>
      <p:sp>
        <p:nvSpPr>
          <p:cNvPr id="44" name="Content Placeholder 5">
            <a:extLst>
              <a:ext uri="{FF2B5EF4-FFF2-40B4-BE49-F238E27FC236}">
                <a16:creationId xmlns:a16="http://schemas.microsoft.com/office/drawing/2014/main" id="{F4E71F76-C628-4FBA-89E9-E099F2533DC5}"/>
              </a:ext>
            </a:extLst>
          </p:cNvPr>
          <p:cNvSpPr txBox="1">
            <a:spLocks/>
          </p:cNvSpPr>
          <p:nvPr/>
        </p:nvSpPr>
        <p:spPr>
          <a:xfrm>
            <a:off x="10840545" y="5518595"/>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3</a:t>
            </a:r>
          </a:p>
        </p:txBody>
      </p:sp>
      <p:sp>
        <p:nvSpPr>
          <p:cNvPr id="47" name="Content Placeholder 5">
            <a:extLst>
              <a:ext uri="{FF2B5EF4-FFF2-40B4-BE49-F238E27FC236}">
                <a16:creationId xmlns:a16="http://schemas.microsoft.com/office/drawing/2014/main" id="{877D8E9E-BC52-45EE-AAD8-C95EA5D154B4}"/>
              </a:ext>
            </a:extLst>
          </p:cNvPr>
          <p:cNvSpPr txBox="1">
            <a:spLocks/>
          </p:cNvSpPr>
          <p:nvPr/>
        </p:nvSpPr>
        <p:spPr>
          <a:xfrm>
            <a:off x="8958132" y="5885196"/>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48" name="Content Placeholder 5">
            <a:extLst>
              <a:ext uri="{FF2B5EF4-FFF2-40B4-BE49-F238E27FC236}">
                <a16:creationId xmlns:a16="http://schemas.microsoft.com/office/drawing/2014/main" id="{3CB6F510-5595-4D74-AF3E-97DBEB5BD491}"/>
              </a:ext>
            </a:extLst>
          </p:cNvPr>
          <p:cNvSpPr txBox="1">
            <a:spLocks/>
          </p:cNvSpPr>
          <p:nvPr/>
        </p:nvSpPr>
        <p:spPr>
          <a:xfrm>
            <a:off x="9898283" y="5885196"/>
            <a:ext cx="803702"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49" name="Content Placeholder 5">
            <a:extLst>
              <a:ext uri="{FF2B5EF4-FFF2-40B4-BE49-F238E27FC236}">
                <a16:creationId xmlns:a16="http://schemas.microsoft.com/office/drawing/2014/main" id="{FA5F372E-8014-4F6B-B4C8-A338458F2205}"/>
              </a:ext>
            </a:extLst>
          </p:cNvPr>
          <p:cNvSpPr txBox="1">
            <a:spLocks/>
          </p:cNvSpPr>
          <p:nvPr/>
        </p:nvSpPr>
        <p:spPr>
          <a:xfrm>
            <a:off x="10840545" y="5885196"/>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50" name="Content Placeholder 5">
            <a:extLst>
              <a:ext uri="{FF2B5EF4-FFF2-40B4-BE49-F238E27FC236}">
                <a16:creationId xmlns:a16="http://schemas.microsoft.com/office/drawing/2014/main" id="{ED13283C-0976-4DC2-BA75-2DDFE3A5513E}"/>
              </a:ext>
            </a:extLst>
          </p:cNvPr>
          <p:cNvSpPr txBox="1">
            <a:spLocks/>
          </p:cNvSpPr>
          <p:nvPr/>
        </p:nvSpPr>
        <p:spPr>
          <a:xfrm>
            <a:off x="8958132" y="6196170"/>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1" name="Content Placeholder 5">
            <a:extLst>
              <a:ext uri="{FF2B5EF4-FFF2-40B4-BE49-F238E27FC236}">
                <a16:creationId xmlns:a16="http://schemas.microsoft.com/office/drawing/2014/main" id="{731E766A-C5C9-4DA5-B27D-3311CD162059}"/>
              </a:ext>
            </a:extLst>
          </p:cNvPr>
          <p:cNvSpPr txBox="1">
            <a:spLocks/>
          </p:cNvSpPr>
          <p:nvPr/>
        </p:nvSpPr>
        <p:spPr>
          <a:xfrm>
            <a:off x="9898283" y="6196170"/>
            <a:ext cx="803702"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2" name="Content Placeholder 5">
            <a:extLst>
              <a:ext uri="{FF2B5EF4-FFF2-40B4-BE49-F238E27FC236}">
                <a16:creationId xmlns:a16="http://schemas.microsoft.com/office/drawing/2014/main" id="{E768365F-0CE7-46B6-92A5-DD235AC5B810}"/>
              </a:ext>
            </a:extLst>
          </p:cNvPr>
          <p:cNvSpPr txBox="1">
            <a:spLocks/>
          </p:cNvSpPr>
          <p:nvPr/>
        </p:nvSpPr>
        <p:spPr>
          <a:xfrm>
            <a:off x="10840545" y="6262845"/>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p>
        </p:txBody>
      </p:sp>
      <p:sp>
        <p:nvSpPr>
          <p:cNvPr id="53" name="TextBox 52">
            <a:extLst>
              <a:ext uri="{FF2B5EF4-FFF2-40B4-BE49-F238E27FC236}">
                <a16:creationId xmlns:a16="http://schemas.microsoft.com/office/drawing/2014/main" id="{C23E9887-1603-4632-AA28-BD1AB7B94D31}"/>
              </a:ext>
            </a:extLst>
          </p:cNvPr>
          <p:cNvSpPr txBox="1"/>
          <p:nvPr/>
        </p:nvSpPr>
        <p:spPr>
          <a:xfrm>
            <a:off x="483556" y="6531127"/>
            <a:ext cx="11070269" cy="230832"/>
          </a:xfrm>
          <a:prstGeom prst="rect">
            <a:avLst/>
          </a:prstGeom>
          <a:no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sp>
        <p:nvSpPr>
          <p:cNvPr id="4" name="Slide Number Placeholder 3">
            <a:extLst>
              <a:ext uri="{FF2B5EF4-FFF2-40B4-BE49-F238E27FC236}">
                <a16:creationId xmlns:a16="http://schemas.microsoft.com/office/drawing/2014/main" id="{123B2433-9A38-5D17-E072-AD505A8C60A9}"/>
              </a:ext>
            </a:extLst>
          </p:cNvPr>
          <p:cNvSpPr>
            <a:spLocks noGrp="1"/>
          </p:cNvSpPr>
          <p:nvPr>
            <p:ph type="sldNum" sz="quarter" idx="12"/>
          </p:nvPr>
        </p:nvSpPr>
        <p:spPr/>
        <p:txBody>
          <a:bodyPr/>
          <a:lstStyle/>
          <a:p>
            <a:fld id="{C0F55C17-AF72-40D4-ADBD-B5505DEBF9BA}" type="slidenum">
              <a:rPr lang="en-AU" smtClean="0"/>
              <a:t>28</a:t>
            </a:fld>
            <a:endParaRPr lang="en-US" dirty="0"/>
          </a:p>
        </p:txBody>
      </p:sp>
      <p:sp>
        <p:nvSpPr>
          <p:cNvPr id="55" name="Content Placeholder 5">
            <a:extLst>
              <a:ext uri="{FF2B5EF4-FFF2-40B4-BE49-F238E27FC236}">
                <a16:creationId xmlns:a16="http://schemas.microsoft.com/office/drawing/2014/main" id="{22274F6F-80CE-471D-A780-E27852DEE0F8}"/>
              </a:ext>
            </a:extLst>
          </p:cNvPr>
          <p:cNvSpPr txBox="1">
            <a:spLocks/>
          </p:cNvSpPr>
          <p:nvPr/>
        </p:nvSpPr>
        <p:spPr>
          <a:xfrm>
            <a:off x="8958132" y="4814175"/>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6" name="Content Placeholder 5">
            <a:extLst>
              <a:ext uri="{FF2B5EF4-FFF2-40B4-BE49-F238E27FC236}">
                <a16:creationId xmlns:a16="http://schemas.microsoft.com/office/drawing/2014/main" id="{A92A8E33-5C76-4C66-9F52-0CE626C771E8}"/>
              </a:ext>
            </a:extLst>
          </p:cNvPr>
          <p:cNvSpPr txBox="1">
            <a:spLocks/>
          </p:cNvSpPr>
          <p:nvPr/>
        </p:nvSpPr>
        <p:spPr>
          <a:xfrm>
            <a:off x="9898283" y="4814175"/>
            <a:ext cx="803702"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7" name="Content Placeholder 5">
            <a:extLst>
              <a:ext uri="{FF2B5EF4-FFF2-40B4-BE49-F238E27FC236}">
                <a16:creationId xmlns:a16="http://schemas.microsoft.com/office/drawing/2014/main" id="{D507ED54-CFA5-4175-BF1C-586AEC1828EC}"/>
              </a:ext>
            </a:extLst>
          </p:cNvPr>
          <p:cNvSpPr txBox="1">
            <a:spLocks/>
          </p:cNvSpPr>
          <p:nvPr/>
        </p:nvSpPr>
        <p:spPr>
          <a:xfrm>
            <a:off x="10840545" y="4814175"/>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2" name="Footer Placeholder 1">
            <a:extLst>
              <a:ext uri="{FF2B5EF4-FFF2-40B4-BE49-F238E27FC236}">
                <a16:creationId xmlns:a16="http://schemas.microsoft.com/office/drawing/2014/main" id="{15A8EF18-A151-2A75-FECA-8939E9385CB8}"/>
              </a:ext>
            </a:extLst>
          </p:cNvPr>
          <p:cNvSpPr>
            <a:spLocks noGrp="1"/>
          </p:cNvSpPr>
          <p:nvPr>
            <p:ph type="ftr" sz="quarter" idx="11"/>
          </p:nvPr>
        </p:nvSpPr>
        <p:spPr>
          <a:xfrm>
            <a:off x="1104668" y="6665008"/>
            <a:ext cx="6783813" cy="180000"/>
          </a:xfrm>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8242884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5">
            <a:extLst>
              <a:ext uri="{FF2B5EF4-FFF2-40B4-BE49-F238E27FC236}">
                <a16:creationId xmlns:a16="http://schemas.microsoft.com/office/drawing/2014/main" id="{08EDB83A-0BF8-4A02-AE97-73B6CF18A1A4}"/>
              </a:ext>
            </a:extLst>
          </p:cNvPr>
          <p:cNvSpPr txBox="1">
            <a:spLocks/>
          </p:cNvSpPr>
          <p:nvPr/>
        </p:nvSpPr>
        <p:spPr>
          <a:xfrm>
            <a:off x="8954591" y="1495149"/>
            <a:ext cx="801591" cy="292926"/>
          </a:xfrm>
          <a:prstGeom prst="rect">
            <a:avLst/>
          </a:prstGeom>
          <a:solidFill>
            <a:srgbClr val="BA2E9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25" name="Content Placeholder 5">
            <a:extLst>
              <a:ext uri="{FF2B5EF4-FFF2-40B4-BE49-F238E27FC236}">
                <a16:creationId xmlns:a16="http://schemas.microsoft.com/office/drawing/2014/main" id="{9F81A817-69AB-4348-9DDE-069D51300B4A}"/>
              </a:ext>
            </a:extLst>
          </p:cNvPr>
          <p:cNvSpPr txBox="1">
            <a:spLocks/>
          </p:cNvSpPr>
          <p:nvPr/>
        </p:nvSpPr>
        <p:spPr>
          <a:xfrm>
            <a:off x="9889961" y="1495149"/>
            <a:ext cx="803702" cy="292926"/>
          </a:xfrm>
          <a:prstGeom prst="rect">
            <a:avLst/>
          </a:prstGeom>
          <a:solidFill>
            <a:srgbClr val="BA2E9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26" name="Content Placeholder 5">
            <a:extLst>
              <a:ext uri="{FF2B5EF4-FFF2-40B4-BE49-F238E27FC236}">
                <a16:creationId xmlns:a16="http://schemas.microsoft.com/office/drawing/2014/main" id="{6A4F61DB-7BF7-4B32-ABC5-5A0221E755C1}"/>
              </a:ext>
            </a:extLst>
          </p:cNvPr>
          <p:cNvSpPr txBox="1">
            <a:spLocks/>
          </p:cNvSpPr>
          <p:nvPr/>
        </p:nvSpPr>
        <p:spPr>
          <a:xfrm>
            <a:off x="10840541" y="1495149"/>
            <a:ext cx="803702" cy="292926"/>
          </a:xfrm>
          <a:prstGeom prst="rect">
            <a:avLst/>
          </a:prstGeom>
          <a:solidFill>
            <a:srgbClr val="BA2E9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27" name="Content Placeholder 5">
            <a:extLst>
              <a:ext uri="{FF2B5EF4-FFF2-40B4-BE49-F238E27FC236}">
                <a16:creationId xmlns:a16="http://schemas.microsoft.com/office/drawing/2014/main" id="{F35493B2-8470-4242-8463-F4AC387ECF7B}"/>
              </a:ext>
            </a:extLst>
          </p:cNvPr>
          <p:cNvSpPr txBox="1">
            <a:spLocks/>
          </p:cNvSpPr>
          <p:nvPr/>
        </p:nvSpPr>
        <p:spPr>
          <a:xfrm>
            <a:off x="8954591" y="1889162"/>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8" name="Content Placeholder 5">
            <a:extLst>
              <a:ext uri="{FF2B5EF4-FFF2-40B4-BE49-F238E27FC236}">
                <a16:creationId xmlns:a16="http://schemas.microsoft.com/office/drawing/2014/main" id="{B3254106-C051-4F89-845D-21E4F81832CA}"/>
              </a:ext>
            </a:extLst>
          </p:cNvPr>
          <p:cNvSpPr txBox="1">
            <a:spLocks/>
          </p:cNvSpPr>
          <p:nvPr/>
        </p:nvSpPr>
        <p:spPr>
          <a:xfrm>
            <a:off x="9889961" y="1889162"/>
            <a:ext cx="803702"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a:t>
            </a:r>
          </a:p>
        </p:txBody>
      </p:sp>
      <p:sp>
        <p:nvSpPr>
          <p:cNvPr id="29" name="Content Placeholder 5">
            <a:extLst>
              <a:ext uri="{FF2B5EF4-FFF2-40B4-BE49-F238E27FC236}">
                <a16:creationId xmlns:a16="http://schemas.microsoft.com/office/drawing/2014/main" id="{4C3535A6-DBAC-4ED3-8269-4F840D002BD0}"/>
              </a:ext>
            </a:extLst>
          </p:cNvPr>
          <p:cNvSpPr txBox="1">
            <a:spLocks/>
          </p:cNvSpPr>
          <p:nvPr/>
        </p:nvSpPr>
        <p:spPr>
          <a:xfrm>
            <a:off x="10840541" y="1889162"/>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5" name="Content Placeholder 5">
            <a:extLst>
              <a:ext uri="{FF2B5EF4-FFF2-40B4-BE49-F238E27FC236}">
                <a16:creationId xmlns:a16="http://schemas.microsoft.com/office/drawing/2014/main" id="{98E3461A-B728-4CA1-B76B-4A0B011D75F2}"/>
              </a:ext>
            </a:extLst>
          </p:cNvPr>
          <p:cNvSpPr txBox="1">
            <a:spLocks/>
          </p:cNvSpPr>
          <p:nvPr/>
        </p:nvSpPr>
        <p:spPr>
          <a:xfrm>
            <a:off x="500380" y="1506386"/>
            <a:ext cx="8350743" cy="292926"/>
          </a:xfrm>
          <a:prstGeom prst="rect">
            <a:avLst/>
          </a:prstGeom>
          <a:solidFill>
            <a:srgbClr val="BA2E9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18" name="Google Shape;2325;p209">
            <a:extLst>
              <a:ext uri="{FF2B5EF4-FFF2-40B4-BE49-F238E27FC236}">
                <a16:creationId xmlns:a16="http://schemas.microsoft.com/office/drawing/2014/main" id="{C57C786F-C48E-458F-9B4F-8E4AD14D8201}"/>
              </a:ext>
            </a:extLst>
          </p:cNvPr>
          <p:cNvSpPr/>
          <p:nvPr/>
        </p:nvSpPr>
        <p:spPr>
          <a:xfrm>
            <a:off x="4567181" y="2043944"/>
            <a:ext cx="121112" cy="445099"/>
          </a:xfrm>
          <a:prstGeom prst="chevron">
            <a:avLst>
              <a:gd name="adj" fmla="val 50000"/>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endParaRPr kumimoji="0" sz="900" b="0" i="0" u="none" strike="noStrike" kern="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sym typeface="Arial"/>
            </a:endParaRPr>
          </a:p>
        </p:txBody>
      </p:sp>
      <p:sp>
        <p:nvSpPr>
          <p:cNvPr id="19" name="Google Shape;2328;p209">
            <a:extLst>
              <a:ext uri="{FF2B5EF4-FFF2-40B4-BE49-F238E27FC236}">
                <a16:creationId xmlns:a16="http://schemas.microsoft.com/office/drawing/2014/main" id="{7D1C6166-88C3-4AD3-87CC-9AF92E3DB371}"/>
              </a:ext>
            </a:extLst>
          </p:cNvPr>
          <p:cNvSpPr/>
          <p:nvPr/>
        </p:nvSpPr>
        <p:spPr>
          <a:xfrm>
            <a:off x="514983" y="1797802"/>
            <a:ext cx="8328945" cy="4929176"/>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a:spcBef>
                <a:spcPts val="300"/>
              </a:spcBef>
              <a:buClr>
                <a:schemeClr val="tx1"/>
              </a:buClr>
              <a:tabLst>
                <a:tab pos="360363" algn="l"/>
              </a:tabLst>
              <a:defRPr/>
            </a:pPr>
            <a:r>
              <a:rPr lang="en-AU" sz="1000" b="1" dirty="0">
                <a:solidFill>
                  <a:schemeClr val="accent3"/>
                </a:solidFill>
              </a:rPr>
              <a:t>C1</a:t>
            </a:r>
            <a:r>
              <a:rPr lang="en-AU" sz="1000" b="1" dirty="0"/>
              <a:t>	</a:t>
            </a:r>
            <a:r>
              <a:rPr lang="en-AU" sz="1000" b="0" dirty="0"/>
              <a:t>Develop a </a:t>
            </a:r>
            <a:r>
              <a:rPr lang="en-AU" sz="1000" b="1" dirty="0">
                <a:solidFill>
                  <a:schemeClr val="accent3"/>
                </a:solidFill>
              </a:rPr>
              <a:t>‘One Commission’ core capabilities program for all staff</a:t>
            </a:r>
            <a:r>
              <a:rPr lang="en-AU" sz="1000" b="0" dirty="0"/>
              <a:t>, that operates as the first iterative step to </a:t>
            </a:r>
            <a:r>
              <a:rPr lang="en-AU" sz="1000" b="1" dirty="0"/>
              <a:t>C2, </a:t>
            </a:r>
            <a:r>
              <a:rPr lang="en-AU" sz="1000" b="0" dirty="0"/>
              <a:t>leveraging the shared 	knowledge, capability and resources internally and </a:t>
            </a:r>
            <a:r>
              <a:rPr lang="en-AU" sz="1000" b="0" dirty="0" smtClean="0"/>
              <a:t>externally </a:t>
            </a:r>
            <a:r>
              <a:rPr lang="en-AU" sz="1000" b="0" dirty="0"/>
              <a:t>across our broader regulatory community and disability sector to support capability 	development across a core set of foundational competencies. Core capabilities can be anchored in </a:t>
            </a:r>
            <a:r>
              <a:rPr lang="en-AU" sz="1000" b="0" dirty="0" smtClean="0"/>
              <a:t>targeted learning programs and </a:t>
            </a:r>
            <a:r>
              <a:rPr lang="en-AU" sz="1000" b="0" dirty="0"/>
              <a:t>other 	opportunities </a:t>
            </a:r>
            <a:r>
              <a:rPr lang="en-AU" sz="1000" dirty="0"/>
              <a:t>such as Induction and </a:t>
            </a:r>
            <a:r>
              <a:rPr lang="en-AU" sz="1000" dirty="0" smtClean="0"/>
              <a:t>on boarding. </a:t>
            </a:r>
            <a:r>
              <a:rPr lang="en-AU" sz="1000" dirty="0"/>
              <a:t>Core competencies include:</a:t>
            </a:r>
          </a:p>
          <a:p>
            <a:pPr>
              <a:spcBef>
                <a:spcPts val="300"/>
              </a:spcBef>
              <a:buClr>
                <a:schemeClr val="tx1"/>
              </a:buClr>
              <a:tabLst>
                <a:tab pos="360363" algn="l"/>
              </a:tabLst>
              <a:defRPr/>
            </a:pPr>
            <a:endParaRPr lang="en-AU" sz="1000" b="1" dirty="0">
              <a:solidFill>
                <a:schemeClr val="accent3"/>
              </a:solidFill>
            </a:endParaRPr>
          </a:p>
          <a:p>
            <a:pPr>
              <a:spcBef>
                <a:spcPts val="300"/>
              </a:spcBef>
              <a:buClr>
                <a:schemeClr val="tx1"/>
              </a:buClr>
              <a:tabLst>
                <a:tab pos="360363" algn="l"/>
              </a:tabLst>
              <a:defRPr/>
            </a:pPr>
            <a:endParaRPr lang="en-AU" sz="1000" b="1" dirty="0">
              <a:solidFill>
                <a:schemeClr val="accent3"/>
              </a:solidFill>
            </a:endParaRPr>
          </a:p>
          <a:p>
            <a:pPr>
              <a:spcBef>
                <a:spcPts val="300"/>
              </a:spcBef>
              <a:buClr>
                <a:schemeClr val="tx1"/>
              </a:buClr>
              <a:tabLst>
                <a:tab pos="360363" algn="l"/>
              </a:tabLst>
              <a:defRPr/>
            </a:pPr>
            <a:endParaRPr lang="en-AU" sz="1000" b="1" dirty="0">
              <a:solidFill>
                <a:schemeClr val="accent3"/>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000" b="1" dirty="0">
              <a:solidFill>
                <a:schemeClr val="accent3"/>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000" b="1" dirty="0">
              <a:solidFill>
                <a:schemeClr val="accent3"/>
              </a:solidFill>
            </a:endParaRPr>
          </a:p>
          <a:p>
            <a:pPr marR="0" lvl="0" algn="l" defTabSz="898525" rtl="0" eaLnBrk="1" fontAlgn="auto" latinLnBrk="0" hangingPunct="1">
              <a:lnSpc>
                <a:spcPct val="100000"/>
              </a:lnSpc>
              <a:spcBef>
                <a:spcPts val="0"/>
              </a:spcBef>
              <a:spcAft>
                <a:spcPts val="0"/>
              </a:spcAft>
              <a:buClrTx/>
              <a:buSzTx/>
              <a:buFontTx/>
              <a:buNone/>
              <a:tabLst>
                <a:tab pos="357188" algn="l"/>
              </a:tabLst>
              <a:defRPr/>
            </a:pPr>
            <a:endParaRPr lang="en-AU" sz="1000" b="1" dirty="0">
              <a:solidFill>
                <a:schemeClr val="accent3"/>
              </a:solidFill>
            </a:endParaRPr>
          </a:p>
          <a:p>
            <a:pPr marR="0" lvl="0" algn="l" defTabSz="898525" rtl="0" eaLnBrk="1" fontAlgn="auto" latinLnBrk="0" hangingPunct="1">
              <a:lnSpc>
                <a:spcPct val="100000"/>
              </a:lnSpc>
              <a:spcBef>
                <a:spcPts val="0"/>
              </a:spcBef>
              <a:spcAft>
                <a:spcPts val="0"/>
              </a:spcAft>
              <a:buClrTx/>
              <a:buSzTx/>
              <a:buFontTx/>
              <a:buNone/>
              <a:tabLst>
                <a:tab pos="357188" algn="l"/>
              </a:tabLst>
              <a:defRPr/>
            </a:pPr>
            <a:r>
              <a:rPr lang="en-AU" sz="1000" b="1" dirty="0">
                <a:solidFill>
                  <a:schemeClr val="accent3"/>
                </a:solidFill>
              </a:rPr>
              <a:t>C2</a:t>
            </a:r>
            <a:r>
              <a:rPr lang="en-AU" sz="1000" b="1" dirty="0"/>
              <a:t> 	</a:t>
            </a:r>
            <a:r>
              <a:rPr lang="en-AU" sz="1000" dirty="0"/>
              <a:t>Develop an organisation-wide c</a:t>
            </a:r>
            <a:r>
              <a:rPr lang="en-AU" sz="1000" b="0" dirty="0"/>
              <a:t>ore </a:t>
            </a:r>
            <a:r>
              <a:rPr lang="en-AU" sz="1000" b="1" dirty="0">
                <a:solidFill>
                  <a:schemeClr val="accent3"/>
                </a:solidFill>
              </a:rPr>
              <a:t>capability framework, </a:t>
            </a:r>
            <a:r>
              <a:rPr lang="en-AU" sz="1000" dirty="0"/>
              <a:t>drawing on the org wide capability analysis </a:t>
            </a:r>
            <a:r>
              <a:rPr lang="en-AU" sz="1000" dirty="0" smtClean="0"/>
              <a:t>(recently completed), </a:t>
            </a:r>
            <a:r>
              <a:rPr lang="en-AU" sz="1000" dirty="0"/>
              <a:t>leveraging 	</a:t>
            </a:r>
            <a:r>
              <a:rPr lang="en-AU" sz="1000" b="1" dirty="0">
                <a:solidFill>
                  <a:schemeClr val="accent3"/>
                </a:solidFill>
              </a:rPr>
              <a:t>established external training </a:t>
            </a:r>
            <a:r>
              <a:rPr lang="en-AU" sz="1000" b="0" dirty="0"/>
              <a:t>and coordinated learning and development opportunities to build capability including design of an </a:t>
            </a:r>
            <a:r>
              <a:rPr lang="en-AU" sz="1000" b="1" dirty="0">
                <a:solidFill>
                  <a:schemeClr val="accent3"/>
                </a:solidFill>
              </a:rPr>
              <a:t>ongoing 	learning and development program </a:t>
            </a:r>
            <a:r>
              <a:rPr lang="en-AU" sz="1000" dirty="0"/>
              <a:t>including on-demand micro-learning</a:t>
            </a:r>
            <a:endParaRPr lang="en-AU" sz="1000" dirty="0">
              <a:cs typeface="Calibri"/>
            </a:endParaRPr>
          </a:p>
          <a:p>
            <a:pPr>
              <a:spcBef>
                <a:spcPts val="300"/>
              </a:spcBef>
              <a:buClr>
                <a:schemeClr val="tx1"/>
              </a:buClr>
              <a:tabLst>
                <a:tab pos="360363" algn="l"/>
              </a:tabLst>
              <a:defRPr/>
            </a:pPr>
            <a:r>
              <a:rPr lang="en-AU" sz="1000" b="1" dirty="0">
                <a:solidFill>
                  <a:schemeClr val="accent3"/>
                </a:solidFill>
              </a:rPr>
              <a:t>C3	</a:t>
            </a:r>
            <a:r>
              <a:rPr lang="en-AU" sz="1000" dirty="0"/>
              <a:t>Implement protective training time </a:t>
            </a:r>
            <a:r>
              <a:rPr lang="en-AU" sz="1000" b="1" dirty="0">
                <a:solidFill>
                  <a:schemeClr val="accent3"/>
                </a:solidFill>
              </a:rPr>
              <a:t>for upskilling and training employees </a:t>
            </a:r>
            <a:r>
              <a:rPr lang="en-AU" sz="1000" dirty="0"/>
              <a:t>that is consistent and accessible to all employees across the 	Commission 	and is aligned to individual professional development plans. This could include: formal training courses, non-compulsory learning sessions, 	opportunities to attend industry forums, webcasts and leverage industry offerings</a:t>
            </a:r>
            <a:endParaRPr lang="en-AU" sz="1000" dirty="0">
              <a:cs typeface="Calibri"/>
            </a:endParaRPr>
          </a:p>
          <a:p>
            <a:pPr>
              <a:spcBef>
                <a:spcPts val="300"/>
              </a:spcBef>
              <a:buClr>
                <a:schemeClr val="tx1"/>
              </a:buClr>
              <a:tabLst>
                <a:tab pos="360363" algn="l"/>
              </a:tabLst>
              <a:defRPr/>
            </a:pPr>
            <a:r>
              <a:rPr lang="en-AU" sz="1000" b="1" dirty="0">
                <a:solidFill>
                  <a:schemeClr val="accent3"/>
                </a:solidFill>
              </a:rPr>
              <a:t>C4	Enable on-the-job capability and cross-skilling </a:t>
            </a:r>
            <a:r>
              <a:rPr lang="en-AU" sz="1000" dirty="0"/>
              <a:t>through job sharing, shadowing and secondments. This could be done by creating a register of 	interest, regular conversations with staff, professional development plans</a:t>
            </a:r>
            <a:endParaRPr lang="en-AU" sz="1000" dirty="0">
              <a:cs typeface="Calibri"/>
            </a:endParaRPr>
          </a:p>
          <a:p>
            <a:pPr>
              <a:spcBef>
                <a:spcPts val="300"/>
              </a:spcBef>
              <a:buClr>
                <a:schemeClr val="tx1"/>
              </a:buClr>
              <a:tabLst>
                <a:tab pos="360363" algn="l"/>
              </a:tabLst>
              <a:defRPr/>
            </a:pPr>
            <a:r>
              <a:rPr lang="en-AU" sz="1000" b="1" dirty="0">
                <a:solidFill>
                  <a:schemeClr val="accent3"/>
                </a:solidFill>
              </a:rPr>
              <a:t>C5</a:t>
            </a:r>
            <a:r>
              <a:rPr lang="en-AU" sz="1000" b="1" dirty="0"/>
              <a:t>	</a:t>
            </a:r>
            <a:r>
              <a:rPr lang="en-AU" sz="1000" dirty="0"/>
              <a:t>Consider </a:t>
            </a:r>
            <a:r>
              <a:rPr lang="en-AU" sz="1000" b="1" dirty="0">
                <a:solidFill>
                  <a:schemeClr val="accent3"/>
                </a:solidFill>
              </a:rPr>
              <a:t>mapping roles</a:t>
            </a:r>
            <a:r>
              <a:rPr lang="en-AU" sz="1000" dirty="0"/>
              <a:t> to the </a:t>
            </a:r>
            <a:r>
              <a:rPr lang="en-AU" sz="1000" dirty="0">
                <a:hlinkClick r:id="rId3"/>
              </a:rPr>
              <a:t>APS Job Family Framework </a:t>
            </a:r>
            <a:r>
              <a:rPr lang="en-AU" sz="1000" dirty="0"/>
              <a:t>to enable the ability to undertake workforce segmentation as a first step to developing job 	architecture, leveraging the resources and work of the APS Workforce Planning Community of Practice Job Family Framework Hub</a:t>
            </a:r>
            <a:endParaRPr lang="en-AU" sz="1000" dirty="0">
              <a:cs typeface="Calibri"/>
            </a:endParaRPr>
          </a:p>
          <a:p>
            <a:pPr>
              <a:spcBef>
                <a:spcPts val="300"/>
              </a:spcBef>
              <a:buClr>
                <a:schemeClr val="tx1"/>
              </a:buClr>
              <a:tabLst>
                <a:tab pos="360363" algn="l"/>
              </a:tabLst>
              <a:defRPr/>
            </a:pPr>
            <a:r>
              <a:rPr lang="en-AU" sz="1000" b="1" dirty="0">
                <a:solidFill>
                  <a:schemeClr val="accent3"/>
                </a:solidFill>
              </a:rPr>
              <a:t>C6	</a:t>
            </a:r>
            <a:r>
              <a:rPr lang="en-AU" sz="1000" dirty="0"/>
              <a:t>Dual track </a:t>
            </a:r>
            <a:r>
              <a:rPr lang="en-AU" sz="1000" b="1" dirty="0">
                <a:solidFill>
                  <a:schemeClr val="accent3"/>
                </a:solidFill>
              </a:rPr>
              <a:t>leadership development</a:t>
            </a:r>
            <a:r>
              <a:rPr lang="en-AU" sz="1000" dirty="0">
                <a:solidFill>
                  <a:schemeClr val="accent3"/>
                </a:solidFill>
              </a:rPr>
              <a:t> </a:t>
            </a:r>
            <a:r>
              <a:rPr lang="en-AU" sz="1000" dirty="0"/>
              <a:t>(technical and managerial) delivering across all levels (Executive to emerging front line leaders) Integrating 	both formal and informal learning opportunities whilst incrementally and consistently building leadership capability at each level including 	emerging leaders. Commencing with </a:t>
            </a:r>
            <a:r>
              <a:rPr kumimoji="0" lang="en-AU" sz="1000" b="1" i="0" u="none" strike="noStrike" kern="1200" cap="none" spc="0" normalizeH="0" baseline="0" noProof="0" dirty="0">
                <a:ln>
                  <a:noFill/>
                </a:ln>
                <a:solidFill>
                  <a:schemeClr val="accent3"/>
                </a:solidFill>
                <a:effectLst/>
                <a:uLnTx/>
                <a:uFillTx/>
                <a:ea typeface="+mn-ea"/>
                <a:cs typeface="+mn-cs"/>
              </a:rPr>
              <a:t>fundamentals of supervision and leadership training </a:t>
            </a:r>
            <a:r>
              <a:rPr kumimoji="0" lang="en-AU" sz="1000" i="0" u="none" strike="noStrike" kern="1200" cap="none" spc="0" normalizeH="0" baseline="0" noProof="0" dirty="0">
                <a:ln>
                  <a:noFill/>
                </a:ln>
                <a:effectLst/>
                <a:uLnTx/>
                <a:uFillTx/>
                <a:ea typeface="+mn-ea"/>
                <a:cs typeface="+mn-cs"/>
              </a:rPr>
              <a:t>encompassing</a:t>
            </a:r>
            <a:r>
              <a:rPr kumimoji="0" lang="en-AU" sz="1000" b="1" i="0" u="none" strike="noStrike" kern="1200" cap="none" spc="0" normalizeH="0" baseline="0" noProof="0" dirty="0">
                <a:ln>
                  <a:noFill/>
                </a:ln>
                <a:solidFill>
                  <a:schemeClr val="accent3"/>
                </a:solidFill>
                <a:effectLst/>
                <a:uLnTx/>
                <a:uFillTx/>
                <a:ea typeface="+mn-ea"/>
                <a:cs typeface="+mn-cs"/>
              </a:rPr>
              <a:t> </a:t>
            </a:r>
            <a:r>
              <a:rPr kumimoji="0" lang="en-AU" sz="1000" i="0" u="none" strike="noStrike" kern="1200" cap="none" spc="0" normalizeH="0" baseline="0" noProof="0" dirty="0">
                <a:ln>
                  <a:noFill/>
                </a:ln>
                <a:effectLst/>
                <a:uLnTx/>
                <a:uFillTx/>
                <a:ea typeface="+mn-ea"/>
                <a:cs typeface="+mn-cs"/>
              </a:rPr>
              <a:t>a</a:t>
            </a:r>
            <a:r>
              <a:rPr kumimoji="0" lang="en-AU" sz="1000" b="1" i="0" u="none" strike="noStrike" kern="1200" cap="none" spc="0" normalizeH="0" baseline="0" noProof="0" dirty="0">
                <a:ln>
                  <a:noFill/>
                </a:ln>
                <a:solidFill>
                  <a:schemeClr val="accent3"/>
                </a:solidFill>
                <a:effectLst/>
                <a:uLnTx/>
                <a:uFillTx/>
                <a:ea typeface="+mn-ea"/>
                <a:cs typeface="+mn-cs"/>
              </a:rPr>
              <a:t> </a:t>
            </a:r>
            <a:r>
              <a:rPr lang="en-AU" sz="1000" dirty="0"/>
              <a:t>capability uplift of all leaders, to 	both manage and lead hybrid teams effectively driving an engaged and innovative workforce</a:t>
            </a:r>
            <a:endParaRPr lang="en-AU" sz="1000" b="0" dirty="0">
              <a:cs typeface="Calibri"/>
            </a:endParaRPr>
          </a:p>
          <a:p>
            <a:pPr>
              <a:spcBef>
                <a:spcPts val="300"/>
              </a:spcBef>
              <a:buClr>
                <a:schemeClr val="tx1"/>
              </a:buClr>
              <a:tabLst>
                <a:tab pos="360363" algn="l"/>
              </a:tabLst>
              <a:defRPr/>
            </a:pPr>
            <a:r>
              <a:rPr lang="en-AU" sz="1000" b="1" dirty="0">
                <a:solidFill>
                  <a:schemeClr val="accent3"/>
                </a:solidFill>
              </a:rPr>
              <a:t>C7</a:t>
            </a:r>
            <a:r>
              <a:rPr lang="en-AU" sz="1000" b="1" dirty="0"/>
              <a:t> 	</a:t>
            </a:r>
            <a:r>
              <a:rPr lang="en-AU" sz="1000" b="1" dirty="0">
                <a:solidFill>
                  <a:schemeClr val="accent3"/>
                </a:solidFill>
              </a:rPr>
              <a:t>Design targeted recruitment programs to </a:t>
            </a:r>
            <a:r>
              <a:rPr lang="en-AU" sz="1000" b="0" dirty="0"/>
              <a:t>attract graduates into priority and critical roles such as those roles contributing to complex case 	management, and business and data analytics, supporting the Commission to build the right skills for the future</a:t>
            </a:r>
            <a:r>
              <a:rPr lang="en-AU" sz="1000" dirty="0"/>
              <a:t> </a:t>
            </a:r>
            <a:endParaRPr lang="en-AU" sz="1000" b="0" dirty="0">
              <a:cs typeface="Calibri"/>
            </a:endParaRPr>
          </a:p>
          <a:p>
            <a:pPr marL="361950" indent="-361950">
              <a:spcBef>
                <a:spcPts val="300"/>
              </a:spcBef>
              <a:buClr>
                <a:schemeClr val="tx1"/>
              </a:buClr>
              <a:tabLst>
                <a:tab pos="360363" algn="l"/>
              </a:tabLst>
              <a:defRPr/>
            </a:pPr>
            <a:r>
              <a:rPr lang="en-AU" sz="1000" b="1" dirty="0">
                <a:solidFill>
                  <a:schemeClr val="accent3"/>
                </a:solidFill>
              </a:rPr>
              <a:t>C8	</a:t>
            </a:r>
            <a:r>
              <a:rPr lang="en-AU" sz="1000" dirty="0"/>
              <a:t>Implement and embed the </a:t>
            </a:r>
            <a:r>
              <a:rPr lang="en-AU" sz="1000" b="1" dirty="0">
                <a:solidFill>
                  <a:schemeClr val="accent3"/>
                </a:solidFill>
              </a:rPr>
              <a:t>70/20/10 L&amp;D framework </a:t>
            </a:r>
            <a:r>
              <a:rPr lang="en-AU" sz="1000" dirty="0"/>
              <a:t>into development planning (PDP conversations, coaching conversations), incorporating 70% on the job training, 20% individual learning and 10% formal learning, consolidating </a:t>
            </a:r>
            <a:r>
              <a:rPr lang="en-AU" sz="1000" dirty="0" smtClean="0"/>
              <a:t>employee </a:t>
            </a:r>
            <a:r>
              <a:rPr lang="en-AU" sz="1000" dirty="0"/>
              <a:t>formal learning into day-to-day experience supporting employees to develop the right skills and capabilities</a:t>
            </a:r>
            <a:endParaRPr lang="en-AU" sz="1000" dirty="0">
              <a:cs typeface="Calibri"/>
            </a:endParaRPr>
          </a:p>
          <a:p>
            <a:pPr>
              <a:lnSpc>
                <a:spcPct val="100000"/>
              </a:lnSpc>
              <a:spcBef>
                <a:spcPts val="300"/>
              </a:spcBef>
              <a:buClr>
                <a:schemeClr val="tx1"/>
              </a:buClr>
              <a:tabLst>
                <a:tab pos="180975" algn="l"/>
              </a:tabLst>
              <a:defRPr/>
            </a:pPr>
            <a:endParaRPr lang="en-AU" sz="1000" b="0" dirty="0"/>
          </a:p>
          <a:p>
            <a:pPr marL="180975" indent="-180975">
              <a:lnSpc>
                <a:spcPct val="100000"/>
              </a:lnSpc>
              <a:spcBef>
                <a:spcPts val="300"/>
              </a:spcBef>
              <a:buClr>
                <a:schemeClr val="tx1"/>
              </a:buClr>
              <a:buFont typeface="Arial" panose="020B0604020202020204" pitchFamily="34" charset="0"/>
              <a:buChar char="•"/>
              <a:tabLst>
                <a:tab pos="180975" algn="l"/>
              </a:tabLst>
              <a:defRPr/>
            </a:pPr>
            <a:endParaRPr lang="en-AU" sz="1000" b="0" dirty="0">
              <a:solidFill>
                <a:prstClr val="black"/>
              </a:solidFill>
            </a:endParaRPr>
          </a:p>
          <a:p>
            <a:pPr marL="180975" indent="-180975">
              <a:spcBef>
                <a:spcPts val="300"/>
              </a:spcBef>
              <a:buClr>
                <a:schemeClr val="tx1"/>
              </a:buClr>
              <a:buFont typeface="Arial" panose="020B0604020202020204" pitchFamily="34" charset="0"/>
              <a:buChar char="•"/>
              <a:tabLst>
                <a:tab pos="449263" algn="l"/>
              </a:tabLst>
              <a:defRPr/>
            </a:pPr>
            <a:endParaRPr lang="en-AU" sz="1050" b="1" dirty="0">
              <a:solidFill>
                <a:prstClr val="black"/>
              </a:solidFill>
              <a:highlight>
                <a:srgbClr val="FFFF00"/>
              </a:highlight>
            </a:endParaRPr>
          </a:p>
        </p:txBody>
      </p:sp>
      <p:sp>
        <p:nvSpPr>
          <p:cNvPr id="22" name="TextBox 21">
            <a:extLst>
              <a:ext uri="{FF2B5EF4-FFF2-40B4-BE49-F238E27FC236}">
                <a16:creationId xmlns:a16="http://schemas.microsoft.com/office/drawing/2014/main" id="{0B0CCF30-0ABD-4927-B83A-3197BC363C12}"/>
              </a:ext>
            </a:extLst>
          </p:cNvPr>
          <p:cNvSpPr txBox="1"/>
          <p:nvPr/>
        </p:nvSpPr>
        <p:spPr>
          <a:xfrm>
            <a:off x="2627220" y="2439629"/>
            <a:ext cx="2442869" cy="1069524"/>
          </a:xfrm>
          <a:prstGeom prst="rect">
            <a:avLst/>
          </a:prstGeom>
          <a:noFill/>
        </p:spPr>
        <p:txBody>
          <a:bodyPr wrap="square">
            <a:spAutoFit/>
          </a:bodyPr>
          <a:lstStyle/>
          <a:p>
            <a:pPr marL="182562">
              <a:spcBef>
                <a:spcPts val="300"/>
              </a:spcBef>
              <a:buClr>
                <a:schemeClr val="tx1"/>
              </a:buClr>
              <a:tabLst>
                <a:tab pos="355600" algn="l"/>
              </a:tabLst>
              <a:defRPr/>
            </a:pPr>
            <a:r>
              <a:rPr lang="en-AU" sz="850" b="1" dirty="0">
                <a:cs typeface="Calibri Light"/>
              </a:rPr>
              <a:t>Regulation and Risk </a:t>
            </a:r>
          </a:p>
          <a:p>
            <a:pPr marL="355600" indent="-173038">
              <a:spcBef>
                <a:spcPts val="300"/>
              </a:spcBef>
              <a:buClr>
                <a:schemeClr val="tx1"/>
              </a:buClr>
              <a:buFontTx/>
              <a:buChar char="-"/>
              <a:tabLst>
                <a:tab pos="355600" algn="l"/>
              </a:tabLst>
              <a:defRPr/>
            </a:pPr>
            <a:r>
              <a:rPr lang="en-AU" sz="850" dirty="0">
                <a:cs typeface="Calibri Light"/>
              </a:rPr>
              <a:t>Understands the application of regulation </a:t>
            </a:r>
          </a:p>
          <a:p>
            <a:pPr marL="355600" indent="-173038">
              <a:spcBef>
                <a:spcPts val="300"/>
              </a:spcBef>
              <a:buClr>
                <a:schemeClr val="tx1"/>
              </a:buClr>
              <a:buFontTx/>
              <a:buChar char="-"/>
              <a:tabLst>
                <a:tab pos="355600" algn="l"/>
              </a:tabLst>
              <a:defRPr/>
            </a:pPr>
            <a:r>
              <a:rPr lang="en-AU" sz="850" dirty="0">
                <a:cs typeface="Calibri Light"/>
              </a:rPr>
              <a:t>Understands relevant legislation</a:t>
            </a:r>
          </a:p>
          <a:p>
            <a:pPr marL="355600" indent="-173038">
              <a:spcBef>
                <a:spcPts val="300"/>
              </a:spcBef>
              <a:buClr>
                <a:schemeClr val="tx1"/>
              </a:buClr>
              <a:buFontTx/>
              <a:buChar char="-"/>
              <a:tabLst>
                <a:tab pos="355600" algn="l"/>
              </a:tabLst>
              <a:defRPr/>
            </a:pPr>
            <a:r>
              <a:rPr lang="en-AU" sz="850" dirty="0">
                <a:cs typeface="Calibri Light"/>
              </a:rPr>
              <a:t>Understands the disability sector</a:t>
            </a:r>
          </a:p>
          <a:p>
            <a:pPr marL="355600" indent="-173038">
              <a:spcBef>
                <a:spcPts val="300"/>
              </a:spcBef>
              <a:buClr>
                <a:schemeClr val="tx1"/>
              </a:buClr>
              <a:buFontTx/>
              <a:buChar char="-"/>
              <a:tabLst>
                <a:tab pos="355600" algn="l"/>
              </a:tabLst>
              <a:defRPr/>
            </a:pPr>
            <a:r>
              <a:rPr lang="en-AU" sz="850" dirty="0">
                <a:cs typeface="Calibri Light"/>
              </a:rPr>
              <a:t>Applies critical thinking </a:t>
            </a:r>
          </a:p>
          <a:p>
            <a:pPr marL="355600" indent="-173038">
              <a:spcBef>
                <a:spcPts val="300"/>
              </a:spcBef>
              <a:buClr>
                <a:schemeClr val="tx1"/>
              </a:buClr>
              <a:buFontTx/>
              <a:buChar char="-"/>
              <a:tabLst>
                <a:tab pos="355600" algn="l"/>
              </a:tabLst>
              <a:defRPr/>
            </a:pPr>
            <a:r>
              <a:rPr lang="en-AU" sz="850" dirty="0">
                <a:cs typeface="Calibri Light"/>
              </a:rPr>
              <a:t>Understands risk management </a:t>
            </a:r>
          </a:p>
        </p:txBody>
      </p:sp>
      <p:sp>
        <p:nvSpPr>
          <p:cNvPr id="23" name="TextBox 22">
            <a:extLst>
              <a:ext uri="{FF2B5EF4-FFF2-40B4-BE49-F238E27FC236}">
                <a16:creationId xmlns:a16="http://schemas.microsoft.com/office/drawing/2014/main" id="{7F3079FD-4686-4DD1-8374-6E3D0581260F}"/>
              </a:ext>
            </a:extLst>
          </p:cNvPr>
          <p:cNvSpPr txBox="1"/>
          <p:nvPr/>
        </p:nvSpPr>
        <p:spPr>
          <a:xfrm>
            <a:off x="711238" y="2467351"/>
            <a:ext cx="2163998" cy="1161857"/>
          </a:xfrm>
          <a:prstGeom prst="rect">
            <a:avLst/>
          </a:prstGeom>
          <a:noFill/>
        </p:spPr>
        <p:txBody>
          <a:bodyPr wrap="square">
            <a:spAutoFit/>
          </a:bodyPr>
          <a:lstStyle/>
          <a:p>
            <a:pPr marL="182562">
              <a:spcBef>
                <a:spcPts val="300"/>
              </a:spcBef>
              <a:buClr>
                <a:schemeClr val="tx1"/>
              </a:buClr>
              <a:tabLst>
                <a:tab pos="355600" algn="l"/>
              </a:tabLst>
              <a:defRPr/>
            </a:pPr>
            <a:r>
              <a:rPr lang="en-AU" sz="850" b="1" dirty="0">
                <a:cs typeface="Calibri Light"/>
              </a:rPr>
              <a:t>Consumer Centricity </a:t>
            </a:r>
            <a:endParaRPr lang="en-AU" sz="850" dirty="0">
              <a:cs typeface="Calibri Light"/>
            </a:endParaRPr>
          </a:p>
          <a:p>
            <a:pPr marL="355600" indent="-173038">
              <a:spcBef>
                <a:spcPts val="300"/>
              </a:spcBef>
              <a:buClr>
                <a:schemeClr val="tx1"/>
              </a:buClr>
              <a:buFontTx/>
              <a:buChar char="-"/>
              <a:tabLst>
                <a:tab pos="355600" algn="l"/>
              </a:tabLst>
              <a:defRPr/>
            </a:pPr>
            <a:r>
              <a:rPr lang="en-AU" sz="850" dirty="0">
                <a:cs typeface="Calibri Light"/>
              </a:rPr>
              <a:t>Acts with empathy and demonstrates resilience</a:t>
            </a:r>
          </a:p>
          <a:p>
            <a:pPr marL="355600" indent="-173038">
              <a:spcBef>
                <a:spcPts val="300"/>
              </a:spcBef>
              <a:buClr>
                <a:schemeClr val="tx1"/>
              </a:buClr>
              <a:buFontTx/>
              <a:buChar char="-"/>
              <a:tabLst>
                <a:tab pos="355600" algn="l"/>
              </a:tabLst>
              <a:defRPr/>
            </a:pPr>
            <a:r>
              <a:rPr lang="en-AU" sz="850" dirty="0">
                <a:cs typeface="Calibri Light"/>
              </a:rPr>
              <a:t>Understands the operations of the commission</a:t>
            </a:r>
          </a:p>
          <a:p>
            <a:pPr marL="355600" indent="-173038">
              <a:spcBef>
                <a:spcPts val="300"/>
              </a:spcBef>
              <a:buClr>
                <a:schemeClr val="tx1"/>
              </a:buClr>
              <a:buFontTx/>
              <a:buChar char="-"/>
              <a:tabLst>
                <a:tab pos="355600" algn="l"/>
              </a:tabLst>
              <a:defRPr/>
            </a:pPr>
            <a:r>
              <a:rPr lang="en-AU" sz="850" dirty="0">
                <a:cs typeface="Calibri Light"/>
              </a:rPr>
              <a:t>Deals with consumers respectively </a:t>
            </a:r>
          </a:p>
          <a:p>
            <a:pPr marL="355600" indent="-173038">
              <a:spcBef>
                <a:spcPts val="300"/>
              </a:spcBef>
              <a:buClr>
                <a:schemeClr val="tx1"/>
              </a:buClr>
              <a:buFontTx/>
              <a:buChar char="-"/>
              <a:tabLst>
                <a:tab pos="355600" algn="l"/>
              </a:tabLst>
              <a:defRPr/>
            </a:pPr>
            <a:endParaRPr lang="en-AU" sz="850" dirty="0">
              <a:cs typeface="Calibri Light"/>
            </a:endParaRPr>
          </a:p>
        </p:txBody>
      </p:sp>
      <p:sp>
        <p:nvSpPr>
          <p:cNvPr id="24" name="TextBox 23">
            <a:extLst>
              <a:ext uri="{FF2B5EF4-FFF2-40B4-BE49-F238E27FC236}">
                <a16:creationId xmlns:a16="http://schemas.microsoft.com/office/drawing/2014/main" id="{8EC4C2D4-4D61-49F5-9167-410DD46C71AD}"/>
              </a:ext>
            </a:extLst>
          </p:cNvPr>
          <p:cNvSpPr txBox="1"/>
          <p:nvPr/>
        </p:nvSpPr>
        <p:spPr>
          <a:xfrm>
            <a:off x="4773916" y="2430527"/>
            <a:ext cx="2026768" cy="1031051"/>
          </a:xfrm>
          <a:prstGeom prst="rect">
            <a:avLst/>
          </a:prstGeom>
          <a:noFill/>
        </p:spPr>
        <p:txBody>
          <a:bodyPr wrap="square">
            <a:spAutoFit/>
          </a:bodyPr>
          <a:lstStyle/>
          <a:p>
            <a:pPr marL="182562">
              <a:spcBef>
                <a:spcPts val="300"/>
              </a:spcBef>
              <a:buClr>
                <a:schemeClr val="tx1"/>
              </a:buClr>
              <a:tabLst>
                <a:tab pos="355600" algn="l"/>
              </a:tabLst>
              <a:defRPr/>
            </a:pPr>
            <a:r>
              <a:rPr lang="en-AU" sz="850" b="1" dirty="0">
                <a:cs typeface="Calibri Light"/>
              </a:rPr>
              <a:t>Data and digital </a:t>
            </a:r>
          </a:p>
          <a:p>
            <a:pPr marL="355600" indent="-173038">
              <a:spcBef>
                <a:spcPts val="300"/>
              </a:spcBef>
              <a:buClr>
                <a:schemeClr val="tx1"/>
              </a:buClr>
              <a:buFontTx/>
              <a:buChar char="-"/>
              <a:tabLst>
                <a:tab pos="355600" algn="l"/>
              </a:tabLst>
              <a:defRPr/>
            </a:pPr>
            <a:r>
              <a:rPr lang="en-US" sz="850" dirty="0">
                <a:cs typeface="Calibri Light"/>
              </a:rPr>
              <a:t>Intelligence led, technology enabled decision making</a:t>
            </a:r>
          </a:p>
          <a:p>
            <a:pPr marL="355600" indent="-173038">
              <a:spcBef>
                <a:spcPts val="300"/>
              </a:spcBef>
              <a:buClr>
                <a:schemeClr val="tx1"/>
              </a:buClr>
              <a:buFontTx/>
              <a:buChar char="-"/>
              <a:tabLst>
                <a:tab pos="355600" algn="l"/>
              </a:tabLst>
              <a:defRPr/>
            </a:pPr>
            <a:r>
              <a:rPr lang="en-AU" sz="850" dirty="0">
                <a:cs typeface="Calibri Light"/>
              </a:rPr>
              <a:t>Provides data driven insights</a:t>
            </a:r>
          </a:p>
          <a:p>
            <a:pPr marL="355600" indent="-173038">
              <a:spcBef>
                <a:spcPts val="300"/>
              </a:spcBef>
              <a:buClr>
                <a:schemeClr val="tx1"/>
              </a:buClr>
              <a:buFontTx/>
              <a:buChar char="-"/>
              <a:tabLst>
                <a:tab pos="355600" algn="l"/>
              </a:tabLst>
              <a:defRPr/>
            </a:pPr>
            <a:r>
              <a:rPr lang="en-AU" sz="850" dirty="0">
                <a:cs typeface="Calibri Light"/>
              </a:rPr>
              <a:t>Seeks opportunities to innovate </a:t>
            </a:r>
          </a:p>
          <a:p>
            <a:pPr marL="355600" indent="-173038">
              <a:spcBef>
                <a:spcPts val="300"/>
              </a:spcBef>
              <a:buClr>
                <a:schemeClr val="tx1"/>
              </a:buClr>
              <a:buFontTx/>
              <a:buChar char="-"/>
              <a:tabLst>
                <a:tab pos="355600" algn="l"/>
              </a:tabLst>
              <a:defRPr/>
            </a:pPr>
            <a:r>
              <a:rPr lang="en-AU" sz="850" dirty="0">
                <a:cs typeface="Calibri Light"/>
              </a:rPr>
              <a:t>Leverages digital channels </a:t>
            </a:r>
          </a:p>
        </p:txBody>
      </p:sp>
      <p:sp>
        <p:nvSpPr>
          <p:cNvPr id="30" name="TextBox 29">
            <a:extLst>
              <a:ext uri="{FF2B5EF4-FFF2-40B4-BE49-F238E27FC236}">
                <a16:creationId xmlns:a16="http://schemas.microsoft.com/office/drawing/2014/main" id="{F5063A64-B918-4090-802A-EFB818040719}"/>
              </a:ext>
            </a:extLst>
          </p:cNvPr>
          <p:cNvSpPr txBox="1"/>
          <p:nvPr/>
        </p:nvSpPr>
        <p:spPr>
          <a:xfrm>
            <a:off x="6480449" y="2362287"/>
            <a:ext cx="2526167" cy="1408078"/>
          </a:xfrm>
          <a:prstGeom prst="rect">
            <a:avLst/>
          </a:prstGeom>
          <a:noFill/>
        </p:spPr>
        <p:txBody>
          <a:bodyPr wrap="square">
            <a:spAutoFit/>
          </a:bodyPr>
          <a:lstStyle/>
          <a:p>
            <a:pPr marL="182562">
              <a:spcBef>
                <a:spcPts val="300"/>
              </a:spcBef>
              <a:buClr>
                <a:schemeClr val="tx1"/>
              </a:buClr>
              <a:tabLst>
                <a:tab pos="355600" algn="l"/>
              </a:tabLst>
              <a:defRPr/>
            </a:pPr>
            <a:r>
              <a:rPr lang="en-AU" sz="850" b="1" dirty="0">
                <a:cs typeface="Calibri Light"/>
              </a:rPr>
              <a:t>Leadership</a:t>
            </a:r>
          </a:p>
          <a:p>
            <a:pPr marL="355600" indent="-173038">
              <a:spcBef>
                <a:spcPts val="300"/>
              </a:spcBef>
              <a:buClr>
                <a:schemeClr val="tx1"/>
              </a:buClr>
              <a:buFontTx/>
              <a:buChar char="-"/>
              <a:tabLst>
                <a:tab pos="355600" algn="l"/>
              </a:tabLst>
              <a:defRPr/>
            </a:pPr>
            <a:r>
              <a:rPr lang="en-AU" sz="850" dirty="0">
                <a:cs typeface="Calibri Light"/>
              </a:rPr>
              <a:t>Lead and motivates others </a:t>
            </a:r>
          </a:p>
          <a:p>
            <a:pPr marL="355600" indent="-173038">
              <a:spcBef>
                <a:spcPts val="300"/>
              </a:spcBef>
              <a:buClr>
                <a:schemeClr val="tx1"/>
              </a:buClr>
              <a:buFontTx/>
              <a:buChar char="-"/>
              <a:tabLst>
                <a:tab pos="355600" algn="l"/>
              </a:tabLst>
              <a:defRPr/>
            </a:pPr>
            <a:r>
              <a:rPr lang="en-AU" sz="850" dirty="0">
                <a:cs typeface="Calibri Light"/>
              </a:rPr>
              <a:t>Promotes a sense of purpose and wellbeing</a:t>
            </a:r>
          </a:p>
          <a:p>
            <a:pPr marL="355600" indent="-173038">
              <a:spcBef>
                <a:spcPts val="300"/>
              </a:spcBef>
              <a:buClr>
                <a:schemeClr val="tx1"/>
              </a:buClr>
              <a:buFontTx/>
              <a:buChar char="-"/>
              <a:tabLst>
                <a:tab pos="355600" algn="l"/>
              </a:tabLst>
              <a:defRPr/>
            </a:pPr>
            <a:r>
              <a:rPr lang="en-AU" sz="850" dirty="0">
                <a:cs typeface="Calibri Light"/>
              </a:rPr>
              <a:t>Role models cultural principles</a:t>
            </a:r>
          </a:p>
          <a:p>
            <a:pPr marL="355600" indent="-173038">
              <a:spcBef>
                <a:spcPts val="300"/>
              </a:spcBef>
              <a:buClr>
                <a:schemeClr val="tx1"/>
              </a:buClr>
              <a:buFontTx/>
              <a:buChar char="-"/>
              <a:tabLst>
                <a:tab pos="355600" algn="l"/>
              </a:tabLst>
              <a:defRPr/>
            </a:pPr>
            <a:r>
              <a:rPr lang="en-AU" sz="850" dirty="0">
                <a:cs typeface="Calibri Light"/>
              </a:rPr>
              <a:t>Leads and manages self</a:t>
            </a:r>
          </a:p>
          <a:p>
            <a:pPr marL="355600" indent="-173038">
              <a:spcBef>
                <a:spcPts val="300"/>
              </a:spcBef>
              <a:buClr>
                <a:schemeClr val="tx1"/>
              </a:buClr>
              <a:buFontTx/>
              <a:buChar char="-"/>
              <a:tabLst>
                <a:tab pos="355600" algn="l"/>
              </a:tabLst>
              <a:defRPr/>
            </a:pPr>
            <a:r>
              <a:rPr lang="en-AU" sz="850" dirty="0">
                <a:cs typeface="Calibri Light"/>
              </a:rPr>
              <a:t>Prioritises effectively </a:t>
            </a:r>
          </a:p>
          <a:p>
            <a:pPr marL="355600" indent="-173038">
              <a:spcBef>
                <a:spcPts val="300"/>
              </a:spcBef>
              <a:buClr>
                <a:schemeClr val="tx1"/>
              </a:buClr>
              <a:buFontTx/>
              <a:buChar char="-"/>
              <a:tabLst>
                <a:tab pos="355600" algn="l"/>
              </a:tabLst>
              <a:defRPr/>
            </a:pPr>
            <a:r>
              <a:rPr lang="en-AU" sz="850" dirty="0">
                <a:cs typeface="Calibri Light"/>
              </a:rPr>
              <a:t>Brings a growth mindset</a:t>
            </a:r>
          </a:p>
          <a:p>
            <a:pPr marL="355600" indent="-173038">
              <a:spcBef>
                <a:spcPts val="300"/>
              </a:spcBef>
              <a:buClr>
                <a:schemeClr val="tx1"/>
              </a:buClr>
              <a:buFontTx/>
              <a:buChar char="-"/>
              <a:tabLst>
                <a:tab pos="355600" algn="l"/>
              </a:tabLst>
              <a:defRPr/>
            </a:pPr>
            <a:endParaRPr lang="en-AU" sz="850" dirty="0">
              <a:cs typeface="Calibri Light"/>
            </a:endParaRPr>
          </a:p>
        </p:txBody>
      </p:sp>
      <p:sp>
        <p:nvSpPr>
          <p:cNvPr id="37" name="Title 4">
            <a:extLst>
              <a:ext uri="{FF2B5EF4-FFF2-40B4-BE49-F238E27FC236}">
                <a16:creationId xmlns:a16="http://schemas.microsoft.com/office/drawing/2014/main" id="{476152BE-31A1-4450-9AB5-3736373A272B}"/>
              </a:ext>
            </a:extLst>
          </p:cNvPr>
          <p:cNvSpPr>
            <a:spLocks noGrp="1"/>
          </p:cNvSpPr>
          <p:nvPr>
            <p:ph type="title"/>
          </p:nvPr>
        </p:nvSpPr>
        <p:spPr>
          <a:xfrm>
            <a:off x="1659481" y="281777"/>
            <a:ext cx="6992824" cy="1376364"/>
          </a:xfrm>
        </p:spPr>
        <p:txBody>
          <a:bodyPr>
            <a:noAutofit/>
          </a:bodyPr>
          <a:lstStyle/>
          <a:p>
            <a:r>
              <a:rPr lang="en-US" dirty="0">
                <a:solidFill>
                  <a:srgbClr val="BA2E96"/>
                </a:solidFill>
              </a:rPr>
              <a:t>Pillar: Capability </a:t>
            </a:r>
            <a:endParaRPr lang="en-AU" dirty="0">
              <a:solidFill>
                <a:srgbClr val="BA2E96"/>
              </a:solidFill>
            </a:endParaRPr>
          </a:p>
        </p:txBody>
      </p:sp>
      <p:sp>
        <p:nvSpPr>
          <p:cNvPr id="32" name="Content Placeholder 5">
            <a:extLst>
              <a:ext uri="{FF2B5EF4-FFF2-40B4-BE49-F238E27FC236}">
                <a16:creationId xmlns:a16="http://schemas.microsoft.com/office/drawing/2014/main" id="{83CF25B9-4AB0-41A0-91F0-6E180EE9D655}"/>
              </a:ext>
            </a:extLst>
          </p:cNvPr>
          <p:cNvSpPr txBox="1">
            <a:spLocks/>
          </p:cNvSpPr>
          <p:nvPr/>
        </p:nvSpPr>
        <p:spPr>
          <a:xfrm>
            <a:off x="8954591" y="3862465"/>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36" name="Content Placeholder 5">
            <a:extLst>
              <a:ext uri="{FF2B5EF4-FFF2-40B4-BE49-F238E27FC236}">
                <a16:creationId xmlns:a16="http://schemas.microsoft.com/office/drawing/2014/main" id="{14821422-E372-46F6-A0C0-9480C4635C9E}"/>
              </a:ext>
            </a:extLst>
          </p:cNvPr>
          <p:cNvSpPr txBox="1">
            <a:spLocks/>
          </p:cNvSpPr>
          <p:nvPr/>
        </p:nvSpPr>
        <p:spPr>
          <a:xfrm>
            <a:off x="10840541" y="3862465"/>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9" name="Content Placeholder 5">
            <a:extLst>
              <a:ext uri="{FF2B5EF4-FFF2-40B4-BE49-F238E27FC236}">
                <a16:creationId xmlns:a16="http://schemas.microsoft.com/office/drawing/2014/main" id="{B3648B47-E5D4-4E08-94E8-35D71FF06033}"/>
              </a:ext>
            </a:extLst>
          </p:cNvPr>
          <p:cNvSpPr txBox="1">
            <a:spLocks/>
          </p:cNvSpPr>
          <p:nvPr/>
        </p:nvSpPr>
        <p:spPr>
          <a:xfrm>
            <a:off x="8954591" y="4477695"/>
            <a:ext cx="801591" cy="280803"/>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41" name="Content Placeholder 5">
            <a:extLst>
              <a:ext uri="{FF2B5EF4-FFF2-40B4-BE49-F238E27FC236}">
                <a16:creationId xmlns:a16="http://schemas.microsoft.com/office/drawing/2014/main" id="{3716B62E-D3DC-48CD-AF89-F1E938CDA1E3}"/>
              </a:ext>
            </a:extLst>
          </p:cNvPr>
          <p:cNvSpPr txBox="1">
            <a:spLocks/>
          </p:cNvSpPr>
          <p:nvPr/>
        </p:nvSpPr>
        <p:spPr>
          <a:xfrm>
            <a:off x="9889961" y="4477695"/>
            <a:ext cx="803702" cy="280803"/>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42" name="Content Placeholder 5">
            <a:extLst>
              <a:ext uri="{FF2B5EF4-FFF2-40B4-BE49-F238E27FC236}">
                <a16:creationId xmlns:a16="http://schemas.microsoft.com/office/drawing/2014/main" id="{6FDD46D9-0191-438D-89AE-3EE29313E1F6}"/>
              </a:ext>
            </a:extLst>
          </p:cNvPr>
          <p:cNvSpPr txBox="1">
            <a:spLocks/>
          </p:cNvSpPr>
          <p:nvPr/>
        </p:nvSpPr>
        <p:spPr>
          <a:xfrm>
            <a:off x="10840541" y="4470164"/>
            <a:ext cx="803702" cy="280803"/>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44" name="Content Placeholder 5">
            <a:extLst>
              <a:ext uri="{FF2B5EF4-FFF2-40B4-BE49-F238E27FC236}">
                <a16:creationId xmlns:a16="http://schemas.microsoft.com/office/drawing/2014/main" id="{0C960B15-77F0-4B29-8B8F-E93B42F431AE}"/>
              </a:ext>
            </a:extLst>
          </p:cNvPr>
          <p:cNvSpPr txBox="1">
            <a:spLocks/>
          </p:cNvSpPr>
          <p:nvPr/>
        </p:nvSpPr>
        <p:spPr>
          <a:xfrm>
            <a:off x="9889961" y="4806884"/>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49" name="Content Placeholder 5">
            <a:extLst>
              <a:ext uri="{FF2B5EF4-FFF2-40B4-BE49-F238E27FC236}">
                <a16:creationId xmlns:a16="http://schemas.microsoft.com/office/drawing/2014/main" id="{63FB1E42-0B52-4AB5-AB9E-FB8D87E47781}"/>
              </a:ext>
            </a:extLst>
          </p:cNvPr>
          <p:cNvSpPr txBox="1">
            <a:spLocks/>
          </p:cNvSpPr>
          <p:nvPr/>
        </p:nvSpPr>
        <p:spPr>
          <a:xfrm>
            <a:off x="8954591" y="5184441"/>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a:t>
            </a:r>
          </a:p>
        </p:txBody>
      </p:sp>
      <p:sp>
        <p:nvSpPr>
          <p:cNvPr id="50" name="Content Placeholder 5">
            <a:extLst>
              <a:ext uri="{FF2B5EF4-FFF2-40B4-BE49-F238E27FC236}">
                <a16:creationId xmlns:a16="http://schemas.microsoft.com/office/drawing/2014/main" id="{73667B45-F316-49A0-B4A0-A1BF2B45BECC}"/>
              </a:ext>
            </a:extLst>
          </p:cNvPr>
          <p:cNvSpPr txBox="1">
            <a:spLocks/>
          </p:cNvSpPr>
          <p:nvPr/>
        </p:nvSpPr>
        <p:spPr>
          <a:xfrm>
            <a:off x="9889961" y="5184441"/>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1" name="Content Placeholder 5">
            <a:extLst>
              <a:ext uri="{FF2B5EF4-FFF2-40B4-BE49-F238E27FC236}">
                <a16:creationId xmlns:a16="http://schemas.microsoft.com/office/drawing/2014/main" id="{DC65E996-6A96-43B5-9110-B662687DD6AD}"/>
              </a:ext>
            </a:extLst>
          </p:cNvPr>
          <p:cNvSpPr txBox="1">
            <a:spLocks/>
          </p:cNvSpPr>
          <p:nvPr/>
        </p:nvSpPr>
        <p:spPr>
          <a:xfrm>
            <a:off x="10840541" y="517509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 2</a:t>
            </a:r>
          </a:p>
        </p:txBody>
      </p:sp>
      <p:sp>
        <p:nvSpPr>
          <p:cNvPr id="52" name="Content Placeholder 5">
            <a:extLst>
              <a:ext uri="{FF2B5EF4-FFF2-40B4-BE49-F238E27FC236}">
                <a16:creationId xmlns:a16="http://schemas.microsoft.com/office/drawing/2014/main" id="{DAC49846-F44C-455E-ADCC-D47633AF4B78}"/>
              </a:ext>
            </a:extLst>
          </p:cNvPr>
          <p:cNvSpPr txBox="1">
            <a:spLocks/>
          </p:cNvSpPr>
          <p:nvPr/>
        </p:nvSpPr>
        <p:spPr>
          <a:xfrm>
            <a:off x="8954591" y="5824258"/>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a:t>
            </a:r>
          </a:p>
        </p:txBody>
      </p:sp>
      <p:sp>
        <p:nvSpPr>
          <p:cNvPr id="53" name="Content Placeholder 5">
            <a:extLst>
              <a:ext uri="{FF2B5EF4-FFF2-40B4-BE49-F238E27FC236}">
                <a16:creationId xmlns:a16="http://schemas.microsoft.com/office/drawing/2014/main" id="{67F756CB-C2E0-4785-957D-5E8453D2ABD9}"/>
              </a:ext>
            </a:extLst>
          </p:cNvPr>
          <p:cNvSpPr txBox="1">
            <a:spLocks/>
          </p:cNvSpPr>
          <p:nvPr/>
        </p:nvSpPr>
        <p:spPr>
          <a:xfrm>
            <a:off x="9889961" y="5824258"/>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4" name="Content Placeholder 5">
            <a:extLst>
              <a:ext uri="{FF2B5EF4-FFF2-40B4-BE49-F238E27FC236}">
                <a16:creationId xmlns:a16="http://schemas.microsoft.com/office/drawing/2014/main" id="{A5D03AC2-5E45-426A-BFFA-3130F6DEC562}"/>
              </a:ext>
            </a:extLst>
          </p:cNvPr>
          <p:cNvSpPr txBox="1">
            <a:spLocks/>
          </p:cNvSpPr>
          <p:nvPr/>
        </p:nvSpPr>
        <p:spPr>
          <a:xfrm>
            <a:off x="10840541" y="5824258"/>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3</a:t>
            </a:r>
          </a:p>
        </p:txBody>
      </p:sp>
      <p:sp>
        <p:nvSpPr>
          <p:cNvPr id="55" name="Content Placeholder 5">
            <a:extLst>
              <a:ext uri="{FF2B5EF4-FFF2-40B4-BE49-F238E27FC236}">
                <a16:creationId xmlns:a16="http://schemas.microsoft.com/office/drawing/2014/main" id="{B9B9FE82-932B-47D2-85E7-00E5F0973496}"/>
              </a:ext>
            </a:extLst>
          </p:cNvPr>
          <p:cNvSpPr txBox="1">
            <a:spLocks/>
          </p:cNvSpPr>
          <p:nvPr/>
        </p:nvSpPr>
        <p:spPr>
          <a:xfrm>
            <a:off x="8954591" y="6212576"/>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a:t>
            </a:r>
          </a:p>
        </p:txBody>
      </p:sp>
      <p:sp>
        <p:nvSpPr>
          <p:cNvPr id="56" name="Content Placeholder 5">
            <a:extLst>
              <a:ext uri="{FF2B5EF4-FFF2-40B4-BE49-F238E27FC236}">
                <a16:creationId xmlns:a16="http://schemas.microsoft.com/office/drawing/2014/main" id="{983D41F0-19F0-42A6-8C09-12D3F4260A1F}"/>
              </a:ext>
            </a:extLst>
          </p:cNvPr>
          <p:cNvSpPr txBox="1">
            <a:spLocks/>
          </p:cNvSpPr>
          <p:nvPr/>
        </p:nvSpPr>
        <p:spPr>
          <a:xfrm>
            <a:off x="9889961" y="621257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7" name="Content Placeholder 5">
            <a:extLst>
              <a:ext uri="{FF2B5EF4-FFF2-40B4-BE49-F238E27FC236}">
                <a16:creationId xmlns:a16="http://schemas.microsoft.com/office/drawing/2014/main" id="{B4ED6AAA-395C-4D7F-9268-7EE3CC433521}"/>
              </a:ext>
            </a:extLst>
          </p:cNvPr>
          <p:cNvSpPr txBox="1">
            <a:spLocks/>
          </p:cNvSpPr>
          <p:nvPr/>
        </p:nvSpPr>
        <p:spPr>
          <a:xfrm>
            <a:off x="10840541" y="621257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3</a:t>
            </a:r>
          </a:p>
        </p:txBody>
      </p:sp>
      <p:sp>
        <p:nvSpPr>
          <p:cNvPr id="58" name="Content Placeholder 5">
            <a:extLst>
              <a:ext uri="{FF2B5EF4-FFF2-40B4-BE49-F238E27FC236}">
                <a16:creationId xmlns:a16="http://schemas.microsoft.com/office/drawing/2014/main" id="{3DC5756A-E79E-4A93-9975-FB4F7DA3D997}"/>
              </a:ext>
            </a:extLst>
          </p:cNvPr>
          <p:cNvSpPr txBox="1">
            <a:spLocks/>
          </p:cNvSpPr>
          <p:nvPr/>
        </p:nvSpPr>
        <p:spPr>
          <a:xfrm>
            <a:off x="8954591" y="4811538"/>
            <a:ext cx="801591" cy="280803"/>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60" name="Content Placeholder 5">
            <a:extLst>
              <a:ext uri="{FF2B5EF4-FFF2-40B4-BE49-F238E27FC236}">
                <a16:creationId xmlns:a16="http://schemas.microsoft.com/office/drawing/2014/main" id="{8B993EDB-BB1F-494D-8C11-6CE678B7BB76}"/>
              </a:ext>
            </a:extLst>
          </p:cNvPr>
          <p:cNvSpPr txBox="1">
            <a:spLocks/>
          </p:cNvSpPr>
          <p:nvPr/>
        </p:nvSpPr>
        <p:spPr>
          <a:xfrm>
            <a:off x="10840541" y="4819007"/>
            <a:ext cx="803702" cy="280803"/>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pic>
        <p:nvPicPr>
          <p:cNvPr id="61" name="Picture 60">
            <a:extLst>
              <a:ext uri="{FF2B5EF4-FFF2-40B4-BE49-F238E27FC236}">
                <a16:creationId xmlns:a16="http://schemas.microsoft.com/office/drawing/2014/main" id="{7092ED46-08B4-4E1B-9751-BB45093E0867}"/>
              </a:ext>
            </a:extLst>
          </p:cNvPr>
          <p:cNvPicPr>
            <a:picLocks noChangeAspect="1"/>
          </p:cNvPicPr>
          <p:nvPr/>
        </p:nvPicPr>
        <p:blipFill>
          <a:blip r:embed="rId4"/>
          <a:stretch>
            <a:fillRect/>
          </a:stretch>
        </p:blipFill>
        <p:spPr>
          <a:xfrm>
            <a:off x="498644" y="469356"/>
            <a:ext cx="920338" cy="818540"/>
          </a:xfrm>
          <a:prstGeom prst="rect">
            <a:avLst/>
          </a:prstGeom>
        </p:spPr>
      </p:pic>
      <p:sp>
        <p:nvSpPr>
          <p:cNvPr id="62" name="Content Placeholder 5">
            <a:extLst>
              <a:ext uri="{FF2B5EF4-FFF2-40B4-BE49-F238E27FC236}">
                <a16:creationId xmlns:a16="http://schemas.microsoft.com/office/drawing/2014/main" id="{07F62AFA-3713-4242-99E6-8FB9E0958E35}"/>
              </a:ext>
            </a:extLst>
          </p:cNvPr>
          <p:cNvSpPr txBox="1">
            <a:spLocks/>
          </p:cNvSpPr>
          <p:nvPr/>
        </p:nvSpPr>
        <p:spPr>
          <a:xfrm>
            <a:off x="9889961" y="3857143"/>
            <a:ext cx="803702"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67" name="Content Placeholder 5">
            <a:extLst>
              <a:ext uri="{FF2B5EF4-FFF2-40B4-BE49-F238E27FC236}">
                <a16:creationId xmlns:a16="http://schemas.microsoft.com/office/drawing/2014/main" id="{0967EBDA-D4D1-418C-89D7-8A06D6D65D48}"/>
              </a:ext>
            </a:extLst>
          </p:cNvPr>
          <p:cNvSpPr txBox="1">
            <a:spLocks/>
          </p:cNvSpPr>
          <p:nvPr/>
        </p:nvSpPr>
        <p:spPr>
          <a:xfrm>
            <a:off x="8954591" y="3441345"/>
            <a:ext cx="801591" cy="280803"/>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68" name="Content Placeholder 5">
            <a:extLst>
              <a:ext uri="{FF2B5EF4-FFF2-40B4-BE49-F238E27FC236}">
                <a16:creationId xmlns:a16="http://schemas.microsoft.com/office/drawing/2014/main" id="{BAAA8797-37E0-4B33-8ED7-C229730972D2}"/>
              </a:ext>
            </a:extLst>
          </p:cNvPr>
          <p:cNvSpPr txBox="1">
            <a:spLocks/>
          </p:cNvSpPr>
          <p:nvPr/>
        </p:nvSpPr>
        <p:spPr>
          <a:xfrm>
            <a:off x="9889961" y="3441345"/>
            <a:ext cx="803702" cy="280803"/>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69" name="Content Placeholder 5">
            <a:extLst>
              <a:ext uri="{FF2B5EF4-FFF2-40B4-BE49-F238E27FC236}">
                <a16:creationId xmlns:a16="http://schemas.microsoft.com/office/drawing/2014/main" id="{6AE83A98-D0B8-4D85-BEA6-47E185311CD8}"/>
              </a:ext>
            </a:extLst>
          </p:cNvPr>
          <p:cNvSpPr txBox="1">
            <a:spLocks/>
          </p:cNvSpPr>
          <p:nvPr/>
        </p:nvSpPr>
        <p:spPr>
          <a:xfrm>
            <a:off x="10840541" y="3433814"/>
            <a:ext cx="803702" cy="280803"/>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46" name="TextBox 45">
            <a:extLst>
              <a:ext uri="{FF2B5EF4-FFF2-40B4-BE49-F238E27FC236}">
                <a16:creationId xmlns:a16="http://schemas.microsoft.com/office/drawing/2014/main" id="{235A85C6-6BBD-4557-981D-C782CAFA3E47}"/>
              </a:ext>
            </a:extLst>
          </p:cNvPr>
          <p:cNvSpPr txBox="1"/>
          <p:nvPr/>
        </p:nvSpPr>
        <p:spPr>
          <a:xfrm>
            <a:off x="866756" y="6647471"/>
            <a:ext cx="11070269" cy="230832"/>
          </a:xfrm>
          <a:prstGeom prst="rect">
            <a:avLst/>
          </a:prstGeom>
          <a:no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sp>
        <p:nvSpPr>
          <p:cNvPr id="7" name="Slide Number Placeholder 6">
            <a:extLst>
              <a:ext uri="{FF2B5EF4-FFF2-40B4-BE49-F238E27FC236}">
                <a16:creationId xmlns:a16="http://schemas.microsoft.com/office/drawing/2014/main" id="{3DB717BF-C0FA-57C7-0768-AC15CA95E9BF}"/>
              </a:ext>
            </a:extLst>
          </p:cNvPr>
          <p:cNvSpPr>
            <a:spLocks noGrp="1"/>
          </p:cNvSpPr>
          <p:nvPr>
            <p:ph type="sldNum" sz="quarter" idx="12"/>
          </p:nvPr>
        </p:nvSpPr>
        <p:spPr/>
        <p:txBody>
          <a:bodyPr/>
          <a:lstStyle/>
          <a:p>
            <a:fld id="{C0F55C17-AF72-40D4-ADBD-B5505DEBF9BA}" type="slidenum">
              <a:rPr lang="en-AU" smtClean="0"/>
              <a:t>29</a:t>
            </a:fld>
            <a:endParaRPr lang="en-US" dirty="0"/>
          </a:p>
        </p:txBody>
      </p:sp>
    </p:spTree>
    <p:extLst>
      <p:ext uri="{BB962C8B-B14F-4D97-AF65-F5344CB8AC3E}">
        <p14:creationId xmlns:p14="http://schemas.microsoft.com/office/powerpoint/2010/main" val="121160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lstStyle/>
          <a:p>
            <a:r>
              <a:rPr lang="en-AU" dirty="0"/>
              <a:t>1. Executive summary</a:t>
            </a:r>
          </a:p>
        </p:txBody>
      </p:sp>
      <p:sp>
        <p:nvSpPr>
          <p:cNvPr id="5" name="Slide Number Placeholder 4">
            <a:extLst>
              <a:ext uri="{FF2B5EF4-FFF2-40B4-BE49-F238E27FC236}">
                <a16:creationId xmlns:a16="http://schemas.microsoft.com/office/drawing/2014/main" id="{759B817D-BEB7-ACF1-648D-860E67B29969}"/>
              </a:ext>
            </a:extLst>
          </p:cNvPr>
          <p:cNvSpPr>
            <a:spLocks noGrp="1"/>
          </p:cNvSpPr>
          <p:nvPr>
            <p:ph type="sldNum" sz="quarter" idx="12"/>
          </p:nvPr>
        </p:nvSpPr>
        <p:spPr/>
        <p:txBody>
          <a:bodyPr/>
          <a:lstStyle/>
          <a:p>
            <a:fld id="{C0F55C17-AF72-40D4-ADBD-B5505DEBF9BA}" type="slidenum">
              <a:rPr lang="en-AU" smtClean="0"/>
              <a:pPr/>
              <a:t>3</a:t>
            </a:fld>
            <a:endParaRPr lang="en-US" dirty="0"/>
          </a:p>
        </p:txBody>
      </p:sp>
    </p:spTree>
    <p:extLst>
      <p:ext uri="{BB962C8B-B14F-4D97-AF65-F5344CB8AC3E}">
        <p14:creationId xmlns:p14="http://schemas.microsoft.com/office/powerpoint/2010/main" val="32039466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512680"/>
            <a:ext cx="8370198" cy="1376364"/>
          </a:xfrm>
        </p:spPr>
        <p:txBody>
          <a:bodyPr anchor="t" anchorCtr="0">
            <a:noAutofit/>
          </a:bodyPr>
          <a:lstStyle/>
          <a:p>
            <a:pPr>
              <a:lnSpc>
                <a:spcPct val="100000"/>
              </a:lnSpc>
            </a:pPr>
            <a:r>
              <a:rPr lang="en-US" sz="2400" dirty="0">
                <a:solidFill>
                  <a:schemeClr val="tx2"/>
                </a:solidFill>
              </a:rPr>
              <a:t>As the Commission continues scaling it also needs to leverage diverse sourcing strategies to deliver on its role and purpose</a:t>
            </a:r>
            <a:endParaRPr lang="en-AU" sz="2400" dirty="0">
              <a:solidFill>
                <a:schemeClr val="tx2"/>
              </a:solidFill>
            </a:endParaRPr>
          </a:p>
        </p:txBody>
      </p:sp>
      <p:sp>
        <p:nvSpPr>
          <p:cNvPr id="7" name="Slide Number Placeholder 6">
            <a:extLst>
              <a:ext uri="{FF2B5EF4-FFF2-40B4-BE49-F238E27FC236}">
                <a16:creationId xmlns:a16="http://schemas.microsoft.com/office/drawing/2014/main" id="{EB0FFF8A-1B57-A7E6-8BF3-2F0CCFC46FAA}"/>
              </a:ext>
            </a:extLst>
          </p:cNvPr>
          <p:cNvSpPr>
            <a:spLocks noGrp="1"/>
          </p:cNvSpPr>
          <p:nvPr>
            <p:ph type="sldNum" sz="quarter" idx="12"/>
          </p:nvPr>
        </p:nvSpPr>
        <p:spPr>
          <a:xfrm>
            <a:off x="11190304" y="6356350"/>
            <a:ext cx="362274" cy="180000"/>
          </a:xfrm>
        </p:spPr>
        <p:txBody>
          <a:bodyPr/>
          <a:lstStyle/>
          <a:p>
            <a:fld id="{C0F55C17-AF72-40D4-ADBD-B5505DEBF9BA}" type="slidenum">
              <a:rPr lang="en-AU" smtClean="0"/>
              <a:t>30</a:t>
            </a:fld>
            <a:endParaRPr lang="en-US" dirty="0"/>
          </a:p>
        </p:txBody>
      </p:sp>
      <p:sp>
        <p:nvSpPr>
          <p:cNvPr id="2" name="Footer Placeholder 1">
            <a:extLst>
              <a:ext uri="{FF2B5EF4-FFF2-40B4-BE49-F238E27FC236}">
                <a16:creationId xmlns:a16="http://schemas.microsoft.com/office/drawing/2014/main" id="{257BCD7E-9489-52EC-D3DC-C396497F021A}"/>
              </a:ext>
            </a:extLst>
          </p:cNvPr>
          <p:cNvSpPr>
            <a:spLocks noGrp="1"/>
          </p:cNvSpPr>
          <p:nvPr>
            <p:ph type="ftr" sz="quarter" idx="11"/>
          </p:nvPr>
        </p:nvSpPr>
        <p:spPr>
          <a:xfrm>
            <a:off x="1031950" y="6365386"/>
            <a:ext cx="6783813" cy="180000"/>
          </a:xfrm>
        </p:spPr>
        <p:txBody>
          <a:bodyPr/>
          <a:lstStyle/>
          <a:p>
            <a:pPr algn="ctr"/>
            <a:r>
              <a:rPr lang="en-AU" smtClean="0"/>
              <a:t>NDIS Commission Workforce Plan 2023-2028</a:t>
            </a:r>
            <a:endParaRPr lang="en-US" dirty="0"/>
          </a:p>
        </p:txBody>
      </p:sp>
      <p:sp>
        <p:nvSpPr>
          <p:cNvPr id="103" name="TextBox 102">
            <a:extLst>
              <a:ext uri="{FF2B5EF4-FFF2-40B4-BE49-F238E27FC236}">
                <a16:creationId xmlns:a16="http://schemas.microsoft.com/office/drawing/2014/main" id="{B52990D7-E920-498C-8830-67E94DF89CAF}"/>
              </a:ext>
            </a:extLst>
          </p:cNvPr>
          <p:cNvSpPr txBox="1"/>
          <p:nvPr/>
        </p:nvSpPr>
        <p:spPr>
          <a:xfrm>
            <a:off x="4234997" y="10872987"/>
            <a:ext cx="7448712" cy="553998"/>
          </a:xfrm>
          <a:prstGeom prst="rect">
            <a:avLst/>
          </a:prstGeom>
          <a:noFill/>
        </p:spPr>
        <p:txBody>
          <a:bodyPr wrap="square" rtlCol="0">
            <a:spAutoFit/>
          </a:bodyPr>
          <a:lstStyle/>
          <a:p>
            <a:r>
              <a:rPr lang="en-US" sz="1000" dirty="0"/>
              <a:t>The Commission needs: </a:t>
            </a:r>
            <a:r>
              <a:rPr lang="en-US" sz="1000" b="1" dirty="0"/>
              <a:t>a sustainable workforce approach</a:t>
            </a:r>
            <a:r>
              <a:rPr lang="en-US" sz="1000" dirty="0"/>
              <a:t> that enables collaboration; to invest in developing the right </a:t>
            </a:r>
            <a:r>
              <a:rPr lang="en-US" sz="1000" b="1" dirty="0"/>
              <a:t>capabilities</a:t>
            </a:r>
            <a:r>
              <a:rPr lang="en-US" sz="1000" dirty="0"/>
              <a:t> and providing </a:t>
            </a:r>
            <a:r>
              <a:rPr lang="en-US" sz="1000" b="1" dirty="0"/>
              <a:t>growth for its people</a:t>
            </a:r>
            <a:r>
              <a:rPr lang="en-US" sz="1000" dirty="0"/>
              <a:t>; to empower its people to be high </a:t>
            </a:r>
            <a:r>
              <a:rPr lang="en-US" sz="1000" b="1" dirty="0"/>
              <a:t>performing</a:t>
            </a:r>
            <a:r>
              <a:rPr lang="en-US" sz="1000" dirty="0"/>
              <a:t>; and to invest in how it delivers on its vision for a </a:t>
            </a:r>
            <a:r>
              <a:rPr lang="en-US" sz="1000" b="1" dirty="0"/>
              <a:t>diverse, inclusive and healthy workforce</a:t>
            </a:r>
            <a:r>
              <a:rPr lang="en-US" sz="1000" dirty="0"/>
              <a:t>.</a:t>
            </a:r>
          </a:p>
        </p:txBody>
      </p:sp>
      <p:sp>
        <p:nvSpPr>
          <p:cNvPr id="147" name="Content Placeholder 16">
            <a:extLst>
              <a:ext uri="{FF2B5EF4-FFF2-40B4-BE49-F238E27FC236}">
                <a16:creationId xmlns:a16="http://schemas.microsoft.com/office/drawing/2014/main" id="{3B3B2015-B7FA-4CD0-B8C6-65681F8B3D15}"/>
              </a:ext>
            </a:extLst>
          </p:cNvPr>
          <p:cNvSpPr txBox="1">
            <a:spLocks/>
          </p:cNvSpPr>
          <p:nvPr/>
        </p:nvSpPr>
        <p:spPr bwMode="auto">
          <a:xfrm>
            <a:off x="2701920" y="2582434"/>
            <a:ext cx="3626355" cy="307777"/>
          </a:xfrm>
          <a:prstGeom prst="rect">
            <a:avLst/>
          </a:prstGeom>
          <a:solidFill>
            <a:schemeClr val="accent3"/>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148" name="Content Placeholder 16">
            <a:extLst>
              <a:ext uri="{FF2B5EF4-FFF2-40B4-BE49-F238E27FC236}">
                <a16:creationId xmlns:a16="http://schemas.microsoft.com/office/drawing/2014/main" id="{1C2315F0-E2EC-4F8B-904B-7BF2B5F91AA2}"/>
              </a:ext>
            </a:extLst>
          </p:cNvPr>
          <p:cNvSpPr txBox="1">
            <a:spLocks/>
          </p:cNvSpPr>
          <p:nvPr/>
        </p:nvSpPr>
        <p:spPr bwMode="auto">
          <a:xfrm>
            <a:off x="503832" y="2461724"/>
            <a:ext cx="2199263" cy="215444"/>
          </a:xfrm>
          <a:prstGeom prst="rect">
            <a:avLst/>
          </a:prstGeom>
          <a:solidFill>
            <a:schemeClr val="accent3"/>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Regulatory capability </a:t>
            </a:r>
          </a:p>
        </p:txBody>
      </p:sp>
      <p:sp>
        <p:nvSpPr>
          <p:cNvPr id="145" name="Content Placeholder 16">
            <a:extLst>
              <a:ext uri="{FF2B5EF4-FFF2-40B4-BE49-F238E27FC236}">
                <a16:creationId xmlns:a16="http://schemas.microsoft.com/office/drawing/2014/main" id="{E03ABBD9-0F89-4F4B-8336-9999EC8B1627}"/>
              </a:ext>
            </a:extLst>
          </p:cNvPr>
          <p:cNvSpPr txBox="1">
            <a:spLocks/>
          </p:cNvSpPr>
          <p:nvPr/>
        </p:nvSpPr>
        <p:spPr bwMode="auto">
          <a:xfrm>
            <a:off x="2701920" y="3266969"/>
            <a:ext cx="3626355" cy="307777"/>
          </a:xfrm>
          <a:prstGeom prst="rect">
            <a:avLst/>
          </a:prstGeom>
          <a:solidFill>
            <a:schemeClr val="accent5"/>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146" name="Content Placeholder 16">
            <a:extLst>
              <a:ext uri="{FF2B5EF4-FFF2-40B4-BE49-F238E27FC236}">
                <a16:creationId xmlns:a16="http://schemas.microsoft.com/office/drawing/2014/main" id="{8757FD54-F9B7-47EA-9B60-BFFED7F6EDAE}"/>
              </a:ext>
            </a:extLst>
          </p:cNvPr>
          <p:cNvSpPr txBox="1">
            <a:spLocks/>
          </p:cNvSpPr>
          <p:nvPr/>
        </p:nvSpPr>
        <p:spPr bwMode="auto">
          <a:xfrm>
            <a:off x="503832" y="3146259"/>
            <a:ext cx="2199263" cy="215444"/>
          </a:xfrm>
          <a:prstGeom prst="rect">
            <a:avLst/>
          </a:prstGeom>
          <a:solidFill>
            <a:schemeClr val="accent5"/>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Risk capability </a:t>
            </a:r>
          </a:p>
        </p:txBody>
      </p:sp>
      <p:sp>
        <p:nvSpPr>
          <p:cNvPr id="143" name="Content Placeholder 16">
            <a:extLst>
              <a:ext uri="{FF2B5EF4-FFF2-40B4-BE49-F238E27FC236}">
                <a16:creationId xmlns:a16="http://schemas.microsoft.com/office/drawing/2014/main" id="{4B284A3C-B823-40DD-91E5-BCC105B297FB}"/>
              </a:ext>
            </a:extLst>
          </p:cNvPr>
          <p:cNvSpPr txBox="1">
            <a:spLocks/>
          </p:cNvSpPr>
          <p:nvPr/>
        </p:nvSpPr>
        <p:spPr bwMode="auto">
          <a:xfrm>
            <a:off x="2701920" y="3956658"/>
            <a:ext cx="3626355" cy="307777"/>
          </a:xfrm>
          <a:prstGeom prst="rect">
            <a:avLst/>
          </a:prstGeom>
          <a:solidFill>
            <a:schemeClr val="accent4"/>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144" name="Content Placeholder 16">
            <a:extLst>
              <a:ext uri="{FF2B5EF4-FFF2-40B4-BE49-F238E27FC236}">
                <a16:creationId xmlns:a16="http://schemas.microsoft.com/office/drawing/2014/main" id="{486B9BE8-6885-4FE5-BD49-FCA2A2B19D49}"/>
              </a:ext>
            </a:extLst>
          </p:cNvPr>
          <p:cNvSpPr txBox="1">
            <a:spLocks/>
          </p:cNvSpPr>
          <p:nvPr/>
        </p:nvSpPr>
        <p:spPr bwMode="auto">
          <a:xfrm>
            <a:off x="503832" y="3835948"/>
            <a:ext cx="2199263" cy="215444"/>
          </a:xfrm>
          <a:prstGeom prst="rect">
            <a:avLst/>
          </a:prstGeom>
          <a:solidFill>
            <a:schemeClr val="accent4"/>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Data and Digital capability </a:t>
            </a:r>
          </a:p>
        </p:txBody>
      </p:sp>
      <p:sp>
        <p:nvSpPr>
          <p:cNvPr id="141" name="Content Placeholder 16">
            <a:extLst>
              <a:ext uri="{FF2B5EF4-FFF2-40B4-BE49-F238E27FC236}">
                <a16:creationId xmlns:a16="http://schemas.microsoft.com/office/drawing/2014/main" id="{42EA4C48-5B8D-4544-B11F-1D49030159CC}"/>
              </a:ext>
            </a:extLst>
          </p:cNvPr>
          <p:cNvSpPr txBox="1">
            <a:spLocks/>
          </p:cNvSpPr>
          <p:nvPr/>
        </p:nvSpPr>
        <p:spPr bwMode="auto">
          <a:xfrm>
            <a:off x="2701920" y="4655525"/>
            <a:ext cx="3626355" cy="307777"/>
          </a:xfrm>
          <a:prstGeom prst="rect">
            <a:avLst/>
          </a:prstGeom>
          <a:solidFill>
            <a:schemeClr val="accent1"/>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dirty="0"/>
          </a:p>
        </p:txBody>
      </p:sp>
      <p:sp>
        <p:nvSpPr>
          <p:cNvPr id="142" name="Content Placeholder 16">
            <a:extLst>
              <a:ext uri="{FF2B5EF4-FFF2-40B4-BE49-F238E27FC236}">
                <a16:creationId xmlns:a16="http://schemas.microsoft.com/office/drawing/2014/main" id="{033D28A4-0B15-4795-A3BE-BA9B99E80EB9}"/>
              </a:ext>
            </a:extLst>
          </p:cNvPr>
          <p:cNvSpPr txBox="1">
            <a:spLocks/>
          </p:cNvSpPr>
          <p:nvPr/>
        </p:nvSpPr>
        <p:spPr bwMode="auto">
          <a:xfrm>
            <a:off x="503832" y="4542435"/>
            <a:ext cx="2199263" cy="215444"/>
          </a:xfrm>
          <a:prstGeom prst="rect">
            <a:avLst/>
          </a:prstGeom>
          <a:solidFill>
            <a:schemeClr val="accent1"/>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Leadership capability </a:t>
            </a:r>
          </a:p>
        </p:txBody>
      </p:sp>
      <p:sp>
        <p:nvSpPr>
          <p:cNvPr id="139" name="Content Placeholder 16">
            <a:extLst>
              <a:ext uri="{FF2B5EF4-FFF2-40B4-BE49-F238E27FC236}">
                <a16:creationId xmlns:a16="http://schemas.microsoft.com/office/drawing/2014/main" id="{DD004354-779C-4EC3-AD94-F3B3271920A6}"/>
              </a:ext>
            </a:extLst>
          </p:cNvPr>
          <p:cNvSpPr txBox="1">
            <a:spLocks/>
          </p:cNvSpPr>
          <p:nvPr/>
        </p:nvSpPr>
        <p:spPr bwMode="auto">
          <a:xfrm>
            <a:off x="2701920" y="5362416"/>
            <a:ext cx="3626355" cy="307777"/>
          </a:xfrm>
          <a:prstGeom prst="rect">
            <a:avLst/>
          </a:prstGeom>
          <a:solidFill>
            <a:schemeClr val="accent6"/>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140" name="Content Placeholder 16">
            <a:extLst>
              <a:ext uri="{FF2B5EF4-FFF2-40B4-BE49-F238E27FC236}">
                <a16:creationId xmlns:a16="http://schemas.microsoft.com/office/drawing/2014/main" id="{DA005057-4F01-44B7-9C45-D39AD8146BA8}"/>
              </a:ext>
            </a:extLst>
          </p:cNvPr>
          <p:cNvSpPr txBox="1">
            <a:spLocks/>
          </p:cNvSpPr>
          <p:nvPr/>
        </p:nvSpPr>
        <p:spPr bwMode="auto">
          <a:xfrm>
            <a:off x="503832" y="5241706"/>
            <a:ext cx="2199263" cy="215444"/>
          </a:xfrm>
          <a:prstGeom prst="rect">
            <a:avLst/>
          </a:prstGeom>
          <a:solidFill>
            <a:schemeClr val="accent6"/>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Consumer centric capability  </a:t>
            </a:r>
          </a:p>
        </p:txBody>
      </p:sp>
      <p:sp>
        <p:nvSpPr>
          <p:cNvPr id="163" name="TextBox 162">
            <a:extLst>
              <a:ext uri="{FF2B5EF4-FFF2-40B4-BE49-F238E27FC236}">
                <a16:creationId xmlns:a16="http://schemas.microsoft.com/office/drawing/2014/main" id="{77F49C5D-4FEE-4C0E-AA73-C1CCDFD753E7}"/>
              </a:ext>
            </a:extLst>
          </p:cNvPr>
          <p:cNvSpPr txBox="1"/>
          <p:nvPr/>
        </p:nvSpPr>
        <p:spPr>
          <a:xfrm>
            <a:off x="505675" y="1482774"/>
            <a:ext cx="11196799" cy="338554"/>
          </a:xfrm>
          <a:prstGeom prst="rect">
            <a:avLst/>
          </a:prstGeom>
          <a:solidFill>
            <a:schemeClr val="accent1"/>
          </a:solidFill>
        </p:spPr>
        <p:txBody>
          <a:bodyPr wrap="square">
            <a:spAutoFit/>
          </a:bodyPr>
          <a:lstStyle/>
          <a:p>
            <a:pPr algn="l"/>
            <a:r>
              <a:rPr lang="en-US" sz="800" dirty="0">
                <a:solidFill>
                  <a:schemeClr val="bg1"/>
                </a:solidFill>
              </a:rPr>
              <a:t>Please note: This is a high-level assessment that would be enhanced through further detailed analysis. The critical capabilities shown arose out of consultation and have been aligned to the occupations contained within the labour market scan (see slide </a:t>
            </a:r>
            <a:r>
              <a:rPr lang="en-US" sz="800" dirty="0" smtClean="0">
                <a:solidFill>
                  <a:schemeClr val="bg1"/>
                </a:solidFill>
              </a:rPr>
              <a:t>13)  </a:t>
            </a:r>
            <a:r>
              <a:rPr lang="en-US" sz="800" dirty="0">
                <a:solidFill>
                  <a:schemeClr val="bg1"/>
                </a:solidFill>
              </a:rPr>
              <a:t>drawn from the Australian Skills Classification. The table below is not intended to be exhaustive but represents the skills and capabilities where no-regrets investments could be made in the near term. </a:t>
            </a:r>
          </a:p>
        </p:txBody>
      </p:sp>
      <p:sp>
        <p:nvSpPr>
          <p:cNvPr id="43" name="Content Placeholder 16">
            <a:extLst>
              <a:ext uri="{FF2B5EF4-FFF2-40B4-BE49-F238E27FC236}">
                <a16:creationId xmlns:a16="http://schemas.microsoft.com/office/drawing/2014/main" id="{D14A43C7-B8B1-4E7A-A4F8-4188827BC213}"/>
              </a:ext>
            </a:extLst>
          </p:cNvPr>
          <p:cNvSpPr txBox="1">
            <a:spLocks/>
          </p:cNvSpPr>
          <p:nvPr/>
        </p:nvSpPr>
        <p:spPr bwMode="auto">
          <a:xfrm>
            <a:off x="503832" y="2670316"/>
            <a:ext cx="2199263" cy="215444"/>
          </a:xfrm>
          <a:prstGeom prst="rect">
            <a:avLst/>
          </a:prstGeom>
          <a:solidFill>
            <a:schemeClr val="accent3">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Inspectors, Regulatory Officers</a:t>
            </a:r>
          </a:p>
        </p:txBody>
      </p:sp>
      <p:sp>
        <p:nvSpPr>
          <p:cNvPr id="44" name="Content Placeholder 16">
            <a:extLst>
              <a:ext uri="{FF2B5EF4-FFF2-40B4-BE49-F238E27FC236}">
                <a16:creationId xmlns:a16="http://schemas.microsoft.com/office/drawing/2014/main" id="{2ABF48F3-ED2A-4D99-A6EA-2C3A6FD36FCE}"/>
              </a:ext>
            </a:extLst>
          </p:cNvPr>
          <p:cNvSpPr txBox="1">
            <a:spLocks/>
          </p:cNvSpPr>
          <p:nvPr/>
        </p:nvSpPr>
        <p:spPr bwMode="auto">
          <a:xfrm>
            <a:off x="505038" y="2883903"/>
            <a:ext cx="2199263" cy="215444"/>
          </a:xfrm>
          <a:prstGeom prst="rect">
            <a:avLst/>
          </a:prstGeom>
          <a:solidFill>
            <a:schemeClr val="accent3">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Judicial and Legal Professionals</a:t>
            </a:r>
          </a:p>
        </p:txBody>
      </p:sp>
      <p:sp>
        <p:nvSpPr>
          <p:cNvPr id="45" name="Content Placeholder 16">
            <a:extLst>
              <a:ext uri="{FF2B5EF4-FFF2-40B4-BE49-F238E27FC236}">
                <a16:creationId xmlns:a16="http://schemas.microsoft.com/office/drawing/2014/main" id="{342A91EF-57FE-4A86-8D2A-F5221CF99AB8}"/>
              </a:ext>
            </a:extLst>
          </p:cNvPr>
          <p:cNvSpPr txBox="1">
            <a:spLocks/>
          </p:cNvSpPr>
          <p:nvPr/>
        </p:nvSpPr>
        <p:spPr bwMode="auto">
          <a:xfrm>
            <a:off x="502657" y="3356307"/>
            <a:ext cx="2199263" cy="215444"/>
          </a:xfrm>
          <a:prstGeom prst="rect">
            <a:avLst/>
          </a:prstGeom>
          <a:solidFill>
            <a:schemeClr val="accent5">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Intelligence and Policy Analyst, Investigators</a:t>
            </a:r>
          </a:p>
        </p:txBody>
      </p:sp>
      <p:sp>
        <p:nvSpPr>
          <p:cNvPr id="46" name="Content Placeholder 16">
            <a:extLst>
              <a:ext uri="{FF2B5EF4-FFF2-40B4-BE49-F238E27FC236}">
                <a16:creationId xmlns:a16="http://schemas.microsoft.com/office/drawing/2014/main" id="{E30DA2E2-4EB8-4A01-A157-F0AF1E09018F}"/>
              </a:ext>
            </a:extLst>
          </p:cNvPr>
          <p:cNvSpPr txBox="1">
            <a:spLocks/>
          </p:cNvSpPr>
          <p:nvPr/>
        </p:nvSpPr>
        <p:spPr bwMode="auto">
          <a:xfrm>
            <a:off x="503832" y="3569703"/>
            <a:ext cx="2199263" cy="215444"/>
          </a:xfrm>
          <a:prstGeom prst="rect">
            <a:avLst/>
          </a:prstGeom>
          <a:solidFill>
            <a:schemeClr val="accent5">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Contract, Program, Project Admin</a:t>
            </a:r>
          </a:p>
        </p:txBody>
      </p:sp>
      <p:sp>
        <p:nvSpPr>
          <p:cNvPr id="47" name="Content Placeholder 16">
            <a:extLst>
              <a:ext uri="{FF2B5EF4-FFF2-40B4-BE49-F238E27FC236}">
                <a16:creationId xmlns:a16="http://schemas.microsoft.com/office/drawing/2014/main" id="{3FAF5D57-3C6F-4942-A836-F24BE3F5366C}"/>
              </a:ext>
            </a:extLst>
          </p:cNvPr>
          <p:cNvSpPr txBox="1">
            <a:spLocks/>
          </p:cNvSpPr>
          <p:nvPr/>
        </p:nvSpPr>
        <p:spPr bwMode="auto">
          <a:xfrm>
            <a:off x="502657" y="4050840"/>
            <a:ext cx="2199263" cy="215444"/>
          </a:xfrm>
          <a:prstGeom prst="rect">
            <a:avLst/>
          </a:prstGeom>
          <a:solidFill>
            <a:schemeClr val="accent4">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Data Analyst</a:t>
            </a:r>
          </a:p>
        </p:txBody>
      </p:sp>
      <p:sp>
        <p:nvSpPr>
          <p:cNvPr id="49" name="Content Placeholder 16">
            <a:extLst>
              <a:ext uri="{FF2B5EF4-FFF2-40B4-BE49-F238E27FC236}">
                <a16:creationId xmlns:a16="http://schemas.microsoft.com/office/drawing/2014/main" id="{3753DCBD-0C21-4DEA-B611-62F4A9B285D9}"/>
              </a:ext>
            </a:extLst>
          </p:cNvPr>
          <p:cNvSpPr txBox="1">
            <a:spLocks/>
          </p:cNvSpPr>
          <p:nvPr/>
        </p:nvSpPr>
        <p:spPr bwMode="auto">
          <a:xfrm>
            <a:off x="502657" y="4753640"/>
            <a:ext cx="2199263" cy="215444"/>
          </a:xfrm>
          <a:prstGeom prst="rect">
            <a:avLst/>
          </a:prstGeom>
          <a:solidFill>
            <a:schemeClr val="tx2">
              <a:lumMod val="20000"/>
              <a:lumOff val="8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Health and Welfare Manager</a:t>
            </a:r>
          </a:p>
        </p:txBody>
      </p:sp>
      <p:sp>
        <p:nvSpPr>
          <p:cNvPr id="50" name="Content Placeholder 16">
            <a:extLst>
              <a:ext uri="{FF2B5EF4-FFF2-40B4-BE49-F238E27FC236}">
                <a16:creationId xmlns:a16="http://schemas.microsoft.com/office/drawing/2014/main" id="{F0C5E4CA-B007-465B-A9D2-C78DA5987365}"/>
              </a:ext>
            </a:extLst>
          </p:cNvPr>
          <p:cNvSpPr txBox="1">
            <a:spLocks/>
          </p:cNvSpPr>
          <p:nvPr/>
        </p:nvSpPr>
        <p:spPr bwMode="auto">
          <a:xfrm>
            <a:off x="502657" y="4971004"/>
            <a:ext cx="2199263" cy="215444"/>
          </a:xfrm>
          <a:prstGeom prst="rect">
            <a:avLst/>
          </a:prstGeom>
          <a:solidFill>
            <a:schemeClr val="tx2">
              <a:lumMod val="20000"/>
              <a:lumOff val="8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Change Management</a:t>
            </a:r>
          </a:p>
        </p:txBody>
      </p:sp>
      <p:sp>
        <p:nvSpPr>
          <p:cNvPr id="51" name="Content Placeholder 16">
            <a:extLst>
              <a:ext uri="{FF2B5EF4-FFF2-40B4-BE49-F238E27FC236}">
                <a16:creationId xmlns:a16="http://schemas.microsoft.com/office/drawing/2014/main" id="{8B8D2977-51E5-449C-BB9C-F97A50E0D239}"/>
              </a:ext>
            </a:extLst>
          </p:cNvPr>
          <p:cNvSpPr txBox="1">
            <a:spLocks/>
          </p:cNvSpPr>
          <p:nvPr/>
        </p:nvSpPr>
        <p:spPr bwMode="auto">
          <a:xfrm>
            <a:off x="502656" y="5452120"/>
            <a:ext cx="2199263" cy="215444"/>
          </a:xfrm>
          <a:prstGeom prst="rect">
            <a:avLst/>
          </a:prstGeom>
          <a:solidFill>
            <a:schemeClr val="accent6">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Policy and Planning Manager</a:t>
            </a:r>
          </a:p>
        </p:txBody>
      </p:sp>
      <p:sp>
        <p:nvSpPr>
          <p:cNvPr id="52" name="Content Placeholder 16">
            <a:extLst>
              <a:ext uri="{FF2B5EF4-FFF2-40B4-BE49-F238E27FC236}">
                <a16:creationId xmlns:a16="http://schemas.microsoft.com/office/drawing/2014/main" id="{939218BD-0934-492B-8160-6B3230494FEA}"/>
              </a:ext>
            </a:extLst>
          </p:cNvPr>
          <p:cNvSpPr txBox="1">
            <a:spLocks/>
          </p:cNvSpPr>
          <p:nvPr/>
        </p:nvSpPr>
        <p:spPr bwMode="auto">
          <a:xfrm>
            <a:off x="502655" y="5663930"/>
            <a:ext cx="2199263" cy="215444"/>
          </a:xfrm>
          <a:prstGeom prst="rect">
            <a:avLst/>
          </a:prstGeom>
          <a:solidFill>
            <a:schemeClr val="accent6">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Community Worker</a:t>
            </a:r>
          </a:p>
        </p:txBody>
      </p:sp>
      <p:sp>
        <p:nvSpPr>
          <p:cNvPr id="56" name="Content Placeholder 16">
            <a:extLst>
              <a:ext uri="{FF2B5EF4-FFF2-40B4-BE49-F238E27FC236}">
                <a16:creationId xmlns:a16="http://schemas.microsoft.com/office/drawing/2014/main" id="{201760F6-E377-4A3E-938F-46972C98DF7C}"/>
              </a:ext>
            </a:extLst>
          </p:cNvPr>
          <p:cNvSpPr txBox="1">
            <a:spLocks/>
          </p:cNvSpPr>
          <p:nvPr/>
        </p:nvSpPr>
        <p:spPr bwMode="auto">
          <a:xfrm>
            <a:off x="502654" y="5878308"/>
            <a:ext cx="2199263" cy="215444"/>
          </a:xfrm>
          <a:prstGeom prst="rect">
            <a:avLst/>
          </a:prstGeom>
          <a:solidFill>
            <a:schemeClr val="accent6">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Contact and Call Centre Workers</a:t>
            </a:r>
          </a:p>
        </p:txBody>
      </p:sp>
      <p:sp>
        <p:nvSpPr>
          <p:cNvPr id="60" name="Content Placeholder 16">
            <a:extLst>
              <a:ext uri="{FF2B5EF4-FFF2-40B4-BE49-F238E27FC236}">
                <a16:creationId xmlns:a16="http://schemas.microsoft.com/office/drawing/2014/main" id="{4A11117F-7B35-409D-A938-2FFE4DD01EFD}"/>
              </a:ext>
            </a:extLst>
          </p:cNvPr>
          <p:cNvSpPr txBox="1">
            <a:spLocks/>
          </p:cNvSpPr>
          <p:nvPr/>
        </p:nvSpPr>
        <p:spPr bwMode="auto">
          <a:xfrm>
            <a:off x="502657" y="4268054"/>
            <a:ext cx="2199263" cy="215444"/>
          </a:xfrm>
          <a:prstGeom prst="rect">
            <a:avLst/>
          </a:prstGeom>
          <a:solidFill>
            <a:schemeClr val="accent4">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Information Officer</a:t>
            </a:r>
          </a:p>
        </p:txBody>
      </p:sp>
      <p:sp>
        <p:nvSpPr>
          <p:cNvPr id="80" name="Content Placeholder 16">
            <a:extLst>
              <a:ext uri="{FF2B5EF4-FFF2-40B4-BE49-F238E27FC236}">
                <a16:creationId xmlns:a16="http://schemas.microsoft.com/office/drawing/2014/main" id="{CC11A737-DF71-4782-B090-293FF642DB5D}"/>
              </a:ext>
            </a:extLst>
          </p:cNvPr>
          <p:cNvSpPr txBox="1">
            <a:spLocks/>
          </p:cNvSpPr>
          <p:nvPr/>
        </p:nvSpPr>
        <p:spPr bwMode="auto">
          <a:xfrm>
            <a:off x="2965039" y="1889045"/>
            <a:ext cx="963781" cy="4204708"/>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n-GB" sz="1100" b="1" dirty="0"/>
              <a:t>Buy</a:t>
            </a:r>
          </a:p>
          <a:p>
            <a:pPr marL="0" lvl="1" indent="-54277" algn="ctr" defTabSz="891697" fontAlgn="base">
              <a:spcBef>
                <a:spcPct val="0"/>
              </a:spcBef>
              <a:spcAft>
                <a:spcPts val="85"/>
              </a:spcAft>
            </a:pPr>
            <a:r>
              <a:rPr lang="en-AU" sz="700" dirty="0">
                <a:latin typeface="+mj-lt"/>
                <a:ea typeface="Arial"/>
                <a:cs typeface="Arial"/>
                <a:sym typeface="Arial"/>
              </a:rPr>
              <a:t>f</a:t>
            </a:r>
            <a:r>
              <a:rPr lang="en-AU" sz="700" b="0" i="0" u="none" strike="noStrike" cap="none" dirty="0">
                <a:latin typeface="+mj-lt"/>
                <a:ea typeface="Arial"/>
                <a:cs typeface="Arial"/>
                <a:sym typeface="Arial"/>
              </a:rPr>
              <a:t>rom outside the organisation</a:t>
            </a:r>
            <a:endParaRPr lang="en-GB" sz="1000" b="1" dirty="0"/>
          </a:p>
        </p:txBody>
      </p:sp>
      <p:sp>
        <p:nvSpPr>
          <p:cNvPr id="81" name="Content Placeholder 16">
            <a:extLst>
              <a:ext uri="{FF2B5EF4-FFF2-40B4-BE49-F238E27FC236}">
                <a16:creationId xmlns:a16="http://schemas.microsoft.com/office/drawing/2014/main" id="{7A3AA526-E50E-47D4-835A-E011818D77F4}"/>
              </a:ext>
            </a:extLst>
          </p:cNvPr>
          <p:cNvSpPr txBox="1">
            <a:spLocks/>
          </p:cNvSpPr>
          <p:nvPr/>
        </p:nvSpPr>
        <p:spPr bwMode="auto">
          <a:xfrm>
            <a:off x="3988973" y="1889045"/>
            <a:ext cx="963781" cy="4204708"/>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n-GB" sz="1100" b="1" dirty="0"/>
              <a:t>Borrow</a:t>
            </a:r>
            <a:endParaRPr lang="en-GB" sz="800" b="1" dirty="0"/>
          </a:p>
          <a:p>
            <a:pPr marL="0" lvl="1" indent="-54277" algn="ctr" defTabSz="891697" fontAlgn="base">
              <a:spcBef>
                <a:spcPct val="0"/>
              </a:spcBef>
              <a:spcAft>
                <a:spcPts val="85"/>
              </a:spcAft>
            </a:pPr>
            <a:r>
              <a:rPr lang="en-AU" sz="700" dirty="0"/>
              <a:t>from industry and partnerships, agencies, vendors and students</a:t>
            </a:r>
            <a:endParaRPr lang="en-GB" sz="700" b="1" dirty="0"/>
          </a:p>
        </p:txBody>
      </p:sp>
      <p:sp>
        <p:nvSpPr>
          <p:cNvPr id="82" name="Content Placeholder 16">
            <a:extLst>
              <a:ext uri="{FF2B5EF4-FFF2-40B4-BE49-F238E27FC236}">
                <a16:creationId xmlns:a16="http://schemas.microsoft.com/office/drawing/2014/main" id="{FE23BFD2-7EE6-4D8C-B991-30037F0E2463}"/>
              </a:ext>
            </a:extLst>
          </p:cNvPr>
          <p:cNvSpPr txBox="1">
            <a:spLocks/>
          </p:cNvSpPr>
          <p:nvPr/>
        </p:nvSpPr>
        <p:spPr bwMode="auto">
          <a:xfrm>
            <a:off x="5016409" y="1889045"/>
            <a:ext cx="963781" cy="4204708"/>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n-GB" sz="1100" b="1" dirty="0"/>
              <a:t>Build</a:t>
            </a:r>
          </a:p>
          <a:p>
            <a:pPr marL="0" lvl="1" indent="-54277" algn="ctr" defTabSz="891697" fontAlgn="base">
              <a:spcBef>
                <a:spcPct val="0"/>
              </a:spcBef>
              <a:spcAft>
                <a:spcPts val="85"/>
              </a:spcAft>
            </a:pPr>
            <a:r>
              <a:rPr lang="en-AU" sz="700" dirty="0"/>
              <a:t>an internal talent pipeline by investing in the uplift of capabilities and skills</a:t>
            </a:r>
          </a:p>
          <a:p>
            <a:pPr marL="0" lvl="1" indent="-54277" algn="ctr" defTabSz="891697" fontAlgn="base">
              <a:spcBef>
                <a:spcPct val="0"/>
              </a:spcBef>
              <a:spcAft>
                <a:spcPts val="85"/>
              </a:spcAft>
            </a:pPr>
            <a:endParaRPr lang="en-GB" sz="1100" b="1" dirty="0"/>
          </a:p>
        </p:txBody>
      </p:sp>
      <p:sp>
        <p:nvSpPr>
          <p:cNvPr id="168" name="Google Shape;5317;p333">
            <a:extLst>
              <a:ext uri="{FF2B5EF4-FFF2-40B4-BE49-F238E27FC236}">
                <a16:creationId xmlns:a16="http://schemas.microsoft.com/office/drawing/2014/main" id="{A913BE96-264F-4A4F-8771-3C2FB5902113}"/>
              </a:ext>
            </a:extLst>
          </p:cNvPr>
          <p:cNvSpPr/>
          <p:nvPr/>
        </p:nvSpPr>
        <p:spPr>
          <a:xfrm>
            <a:off x="3337340" y="3299752"/>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69" name="Google Shape;5317;p333">
            <a:extLst>
              <a:ext uri="{FF2B5EF4-FFF2-40B4-BE49-F238E27FC236}">
                <a16:creationId xmlns:a16="http://schemas.microsoft.com/office/drawing/2014/main" id="{D8226D79-9611-4B01-B16C-5C9B2FCD23C8}"/>
              </a:ext>
            </a:extLst>
          </p:cNvPr>
          <p:cNvSpPr/>
          <p:nvPr/>
        </p:nvSpPr>
        <p:spPr>
          <a:xfrm>
            <a:off x="5385890" y="3299752"/>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3" name="Google Shape;5321;p333">
            <a:extLst>
              <a:ext uri="{FF2B5EF4-FFF2-40B4-BE49-F238E27FC236}">
                <a16:creationId xmlns:a16="http://schemas.microsoft.com/office/drawing/2014/main" id="{76D863DA-881F-4616-A44C-07277C273E5D}"/>
              </a:ext>
            </a:extLst>
          </p:cNvPr>
          <p:cNvSpPr/>
          <p:nvPr/>
        </p:nvSpPr>
        <p:spPr>
          <a:xfrm>
            <a:off x="4358453" y="4684120"/>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4" name="Google Shape;5321;p333">
            <a:extLst>
              <a:ext uri="{FF2B5EF4-FFF2-40B4-BE49-F238E27FC236}">
                <a16:creationId xmlns:a16="http://schemas.microsoft.com/office/drawing/2014/main" id="{A63DDD99-40DA-4189-AB5E-971C5D43571B}"/>
              </a:ext>
            </a:extLst>
          </p:cNvPr>
          <p:cNvSpPr/>
          <p:nvPr/>
        </p:nvSpPr>
        <p:spPr>
          <a:xfrm>
            <a:off x="3337340" y="4686830"/>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5" name="Google Shape;5317;p333">
            <a:extLst>
              <a:ext uri="{FF2B5EF4-FFF2-40B4-BE49-F238E27FC236}">
                <a16:creationId xmlns:a16="http://schemas.microsoft.com/office/drawing/2014/main" id="{54C5D613-7D9B-46FB-81C5-77C039C551FD}"/>
              </a:ext>
            </a:extLst>
          </p:cNvPr>
          <p:cNvSpPr/>
          <p:nvPr/>
        </p:nvSpPr>
        <p:spPr>
          <a:xfrm>
            <a:off x="5385890" y="4688961"/>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8" name="Google Shape;5321;p333">
            <a:extLst>
              <a:ext uri="{FF2B5EF4-FFF2-40B4-BE49-F238E27FC236}">
                <a16:creationId xmlns:a16="http://schemas.microsoft.com/office/drawing/2014/main" id="{0CBE2357-C61F-497C-B9A7-B64797FA7A27}"/>
              </a:ext>
            </a:extLst>
          </p:cNvPr>
          <p:cNvSpPr/>
          <p:nvPr/>
        </p:nvSpPr>
        <p:spPr>
          <a:xfrm>
            <a:off x="4358453" y="5398769"/>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9" name="Google Shape;5321;p333">
            <a:extLst>
              <a:ext uri="{FF2B5EF4-FFF2-40B4-BE49-F238E27FC236}">
                <a16:creationId xmlns:a16="http://schemas.microsoft.com/office/drawing/2014/main" id="{6DF7ADC0-1483-4746-A8A1-157119B373E0}"/>
              </a:ext>
            </a:extLst>
          </p:cNvPr>
          <p:cNvSpPr/>
          <p:nvPr/>
        </p:nvSpPr>
        <p:spPr>
          <a:xfrm>
            <a:off x="3337340" y="5401479"/>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80" name="Google Shape;5317;p333">
            <a:extLst>
              <a:ext uri="{FF2B5EF4-FFF2-40B4-BE49-F238E27FC236}">
                <a16:creationId xmlns:a16="http://schemas.microsoft.com/office/drawing/2014/main" id="{920867A1-E0B6-49E5-A4FB-505635CA5BA9}"/>
              </a:ext>
            </a:extLst>
          </p:cNvPr>
          <p:cNvSpPr/>
          <p:nvPr/>
        </p:nvSpPr>
        <p:spPr>
          <a:xfrm>
            <a:off x="5385890" y="5403610"/>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64" name="Google Shape;5321;p333">
            <a:extLst>
              <a:ext uri="{FF2B5EF4-FFF2-40B4-BE49-F238E27FC236}">
                <a16:creationId xmlns:a16="http://schemas.microsoft.com/office/drawing/2014/main" id="{6BC057F8-9814-4EEC-9C66-313D7F161318}"/>
              </a:ext>
            </a:extLst>
          </p:cNvPr>
          <p:cNvSpPr/>
          <p:nvPr/>
        </p:nvSpPr>
        <p:spPr>
          <a:xfrm>
            <a:off x="5383362" y="3985035"/>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65" name="Google Shape;5317;p333">
            <a:extLst>
              <a:ext uri="{FF2B5EF4-FFF2-40B4-BE49-F238E27FC236}">
                <a16:creationId xmlns:a16="http://schemas.microsoft.com/office/drawing/2014/main" id="{1FFDCC9F-9811-4AF1-A4F5-207AC1D7B96F}"/>
              </a:ext>
            </a:extLst>
          </p:cNvPr>
          <p:cNvSpPr/>
          <p:nvPr/>
        </p:nvSpPr>
        <p:spPr>
          <a:xfrm>
            <a:off x="3337340" y="3977851"/>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67" name="Google Shape;5321;p333">
            <a:extLst>
              <a:ext uri="{FF2B5EF4-FFF2-40B4-BE49-F238E27FC236}">
                <a16:creationId xmlns:a16="http://schemas.microsoft.com/office/drawing/2014/main" id="{F2657C83-F1F7-4503-91B7-926247318670}"/>
              </a:ext>
            </a:extLst>
          </p:cNvPr>
          <p:cNvSpPr/>
          <p:nvPr/>
        </p:nvSpPr>
        <p:spPr>
          <a:xfrm>
            <a:off x="4358453" y="3985035"/>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73" name="TextBox 72">
            <a:extLst>
              <a:ext uri="{FF2B5EF4-FFF2-40B4-BE49-F238E27FC236}">
                <a16:creationId xmlns:a16="http://schemas.microsoft.com/office/drawing/2014/main" id="{E1C1DEA4-2F53-486A-BF71-B4697241756D}"/>
              </a:ext>
            </a:extLst>
          </p:cNvPr>
          <p:cNvSpPr txBox="1"/>
          <p:nvPr/>
        </p:nvSpPr>
        <p:spPr>
          <a:xfrm>
            <a:off x="1488280" y="5658580"/>
            <a:ext cx="5040151" cy="369332"/>
          </a:xfrm>
          <a:prstGeom prst="rect">
            <a:avLst/>
          </a:prstGeom>
          <a:noFill/>
        </p:spPr>
        <p:txBody>
          <a:bodyPr wrap="square">
            <a:spAutoFit/>
          </a:bodyPr>
          <a:lstStyle/>
          <a:p>
            <a:r>
              <a:rPr lang="en-AU" b="0" dirty="0">
                <a:effectLst/>
              </a:rPr>
              <a:t> </a:t>
            </a:r>
            <a:endParaRPr lang="en-AU" dirty="0"/>
          </a:p>
        </p:txBody>
      </p:sp>
      <p:sp>
        <p:nvSpPr>
          <p:cNvPr id="74" name="Content Placeholder 16">
            <a:extLst>
              <a:ext uri="{FF2B5EF4-FFF2-40B4-BE49-F238E27FC236}">
                <a16:creationId xmlns:a16="http://schemas.microsoft.com/office/drawing/2014/main" id="{709F5EC3-6E29-4E52-AA3E-B5CC794B704D}"/>
              </a:ext>
            </a:extLst>
          </p:cNvPr>
          <p:cNvSpPr txBox="1">
            <a:spLocks/>
          </p:cNvSpPr>
          <p:nvPr/>
        </p:nvSpPr>
        <p:spPr bwMode="auto">
          <a:xfrm>
            <a:off x="6326993" y="2242833"/>
            <a:ext cx="5375481" cy="3850919"/>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n-GB" sz="1100" b="1" dirty="0"/>
              <a:t>Assumptions</a:t>
            </a:r>
          </a:p>
          <a:p>
            <a:pPr marL="0" lvl="1" indent="-54277" algn="ctr" defTabSz="891697" fontAlgn="base">
              <a:spcBef>
                <a:spcPct val="0"/>
              </a:spcBef>
              <a:spcAft>
                <a:spcPts val="85"/>
              </a:spcAft>
            </a:pPr>
            <a:endParaRPr lang="en-GB" sz="1100" b="1" dirty="0"/>
          </a:p>
        </p:txBody>
      </p:sp>
      <p:sp>
        <p:nvSpPr>
          <p:cNvPr id="4" name="TextBox 3">
            <a:extLst>
              <a:ext uri="{FF2B5EF4-FFF2-40B4-BE49-F238E27FC236}">
                <a16:creationId xmlns:a16="http://schemas.microsoft.com/office/drawing/2014/main" id="{0842F1E7-6438-4361-B933-9328A807AB38}"/>
              </a:ext>
            </a:extLst>
          </p:cNvPr>
          <p:cNvSpPr txBox="1"/>
          <p:nvPr/>
        </p:nvSpPr>
        <p:spPr>
          <a:xfrm>
            <a:off x="6346965" y="2502006"/>
            <a:ext cx="5389547" cy="707886"/>
          </a:xfrm>
          <a:prstGeom prst="rect">
            <a:avLst/>
          </a:prstGeom>
          <a:noFill/>
        </p:spPr>
        <p:txBody>
          <a:bodyPr wrap="square" lIns="46800" rIns="46800" rtlCol="0">
            <a:spAutoFit/>
          </a:bodyPr>
          <a:lstStyle/>
          <a:p>
            <a:pPr marL="177800" indent="-177800">
              <a:buFont typeface="Arial" panose="020B0604020202020204" pitchFamily="34" charset="0"/>
              <a:buChar char="•"/>
            </a:pPr>
            <a:r>
              <a:rPr lang="en-US" sz="800" b="1" dirty="0">
                <a:solidFill>
                  <a:schemeClr val="accent3"/>
                </a:solidFill>
              </a:rPr>
              <a:t>Regulatory capability </a:t>
            </a:r>
            <a:r>
              <a:rPr lang="en-US" sz="800" dirty="0"/>
              <a:t>is a core and critical part of the Commission’s purpose. Building this capability over time will ensure there are career </a:t>
            </a:r>
            <a:r>
              <a:rPr lang="en-US" sz="800" dirty="0" smtClean="0"/>
              <a:t>pathways, but the Commission will also need to have a sustained </a:t>
            </a:r>
            <a:r>
              <a:rPr lang="en-US" sz="800" dirty="0"/>
              <a:t>focus on retention and maturity of the capability over </a:t>
            </a:r>
            <a:r>
              <a:rPr lang="en-US" sz="800" dirty="0" smtClean="0"/>
              <a:t>time. </a:t>
            </a:r>
          </a:p>
          <a:p>
            <a:pPr marL="177800" indent="-177800">
              <a:buFont typeface="Arial" panose="020B0604020202020204" pitchFamily="34" charset="0"/>
              <a:buChar char="•"/>
            </a:pPr>
            <a:r>
              <a:rPr lang="en-US" sz="800" dirty="0" smtClean="0"/>
              <a:t>At </a:t>
            </a:r>
            <a:r>
              <a:rPr lang="en-US" sz="800" dirty="0"/>
              <a:t>times, there may be a need to supplement the build approach with buying from the market; either to bolster capacity and/or fresh thinking. This may also help to boost capacity in the short term.</a:t>
            </a:r>
            <a:endParaRPr lang="en-AU" sz="800" dirty="0"/>
          </a:p>
        </p:txBody>
      </p:sp>
      <p:sp>
        <p:nvSpPr>
          <p:cNvPr id="63" name="TextBox 62">
            <a:extLst>
              <a:ext uri="{FF2B5EF4-FFF2-40B4-BE49-F238E27FC236}">
                <a16:creationId xmlns:a16="http://schemas.microsoft.com/office/drawing/2014/main" id="{03FAA121-571B-4347-8357-71E8A8AC3B57}"/>
              </a:ext>
            </a:extLst>
          </p:cNvPr>
          <p:cNvSpPr txBox="1"/>
          <p:nvPr/>
        </p:nvSpPr>
        <p:spPr>
          <a:xfrm>
            <a:off x="6343159" y="3252762"/>
            <a:ext cx="5317494" cy="623248"/>
          </a:xfrm>
          <a:prstGeom prst="rect">
            <a:avLst/>
          </a:prstGeom>
          <a:noFill/>
        </p:spPr>
        <p:txBody>
          <a:bodyPr wrap="square" lIns="46800" rIns="46800" rtlCol="0">
            <a:spAutoFit/>
          </a:bodyPr>
          <a:lstStyle/>
          <a:p>
            <a:pPr marL="177800" indent="-177800">
              <a:buFont typeface="Arial" panose="020B0604020202020204" pitchFamily="34" charset="0"/>
              <a:buChar char="•"/>
            </a:pPr>
            <a:r>
              <a:rPr lang="en-US" sz="800" dirty="0"/>
              <a:t>Aspects of the </a:t>
            </a:r>
            <a:r>
              <a:rPr lang="en-US" sz="800" b="1" dirty="0">
                <a:solidFill>
                  <a:schemeClr val="accent5"/>
                </a:solidFill>
              </a:rPr>
              <a:t>risk capability </a:t>
            </a:r>
            <a:r>
              <a:rPr lang="en-US" sz="800" dirty="0"/>
              <a:t>of the Commission </a:t>
            </a:r>
            <a:r>
              <a:rPr lang="en-US" sz="800" dirty="0" smtClean="0"/>
              <a:t>will </a:t>
            </a:r>
            <a:r>
              <a:rPr lang="en-US" sz="800" dirty="0"/>
              <a:t>not require </a:t>
            </a:r>
            <a:r>
              <a:rPr lang="en-US" sz="800" dirty="0" smtClean="0"/>
              <a:t>Commission-specific </a:t>
            </a:r>
            <a:r>
              <a:rPr lang="en-US" sz="800" dirty="0"/>
              <a:t>knowledge, such as project administration, and may easily be bought from the market.</a:t>
            </a:r>
            <a:endParaRPr lang="en-AU" sz="800" dirty="0"/>
          </a:p>
          <a:p>
            <a:pPr marL="177800" indent="-177800">
              <a:spcBef>
                <a:spcPts val="300"/>
              </a:spcBef>
              <a:buFont typeface="Arial" panose="020B0604020202020204" pitchFamily="34" charset="0"/>
              <a:buChar char="•"/>
            </a:pPr>
            <a:r>
              <a:rPr lang="en-AU" sz="800" dirty="0"/>
              <a:t>Some roles will benefit from a build approach to create a consistent methodology and practice that can support the delivery of consistent experiences for NDIS participants and providers.</a:t>
            </a:r>
            <a:endParaRPr lang="en-US" sz="800" dirty="0"/>
          </a:p>
        </p:txBody>
      </p:sp>
      <p:sp>
        <p:nvSpPr>
          <p:cNvPr id="84" name="TextBox 83">
            <a:extLst>
              <a:ext uri="{FF2B5EF4-FFF2-40B4-BE49-F238E27FC236}">
                <a16:creationId xmlns:a16="http://schemas.microsoft.com/office/drawing/2014/main" id="{F6BE9C13-FC95-45F7-95E2-C212E43C9532}"/>
              </a:ext>
            </a:extLst>
          </p:cNvPr>
          <p:cNvSpPr txBox="1"/>
          <p:nvPr/>
        </p:nvSpPr>
        <p:spPr>
          <a:xfrm>
            <a:off x="6347200" y="3899262"/>
            <a:ext cx="5317494" cy="746358"/>
          </a:xfrm>
          <a:prstGeom prst="rect">
            <a:avLst/>
          </a:prstGeom>
          <a:noFill/>
        </p:spPr>
        <p:txBody>
          <a:bodyPr wrap="square" lIns="46800" rIns="46800" rtlCol="0">
            <a:spAutoFit/>
          </a:bodyPr>
          <a:lstStyle/>
          <a:p>
            <a:pPr marL="177800" indent="-177800">
              <a:buFont typeface="Arial" panose="020B0604020202020204" pitchFamily="34" charset="0"/>
              <a:buChar char="•"/>
            </a:pPr>
            <a:r>
              <a:rPr lang="en-US" sz="800" b="1" dirty="0">
                <a:solidFill>
                  <a:schemeClr val="accent4"/>
                </a:solidFill>
              </a:rPr>
              <a:t>Data capability </a:t>
            </a:r>
            <a:r>
              <a:rPr lang="en-US" sz="800" dirty="0"/>
              <a:t>is in high demand in the market. </a:t>
            </a:r>
            <a:r>
              <a:rPr lang="en-US" sz="800" dirty="0" smtClean="0"/>
              <a:t>Being </a:t>
            </a:r>
            <a:r>
              <a:rPr lang="en-US" sz="800" dirty="0"/>
              <a:t>able to immediately buy or borrow will enable immediate support to the Commission around backlogs, establishing foundational data capability and other key priorities to implementing the Digital and Data </a:t>
            </a:r>
            <a:r>
              <a:rPr lang="en-US" sz="800" dirty="0" smtClean="0"/>
              <a:t>Roadmap</a:t>
            </a:r>
            <a:endParaRPr lang="en-US" sz="800" dirty="0"/>
          </a:p>
          <a:p>
            <a:pPr marL="177800" indent="-177800">
              <a:spcBef>
                <a:spcPts val="300"/>
              </a:spcBef>
              <a:buFont typeface="Arial" panose="020B0604020202020204" pitchFamily="34" charset="0"/>
              <a:buChar char="•"/>
            </a:pPr>
            <a:r>
              <a:rPr lang="en-US" sz="800" dirty="0"/>
              <a:t>However, over time, investing in building </a:t>
            </a:r>
            <a:r>
              <a:rPr lang="en-US" sz="800" dirty="0" smtClean="0"/>
              <a:t>specialist </a:t>
            </a:r>
            <a:r>
              <a:rPr lang="en-US" sz="800" dirty="0"/>
              <a:t>data analysts that can overlay data capability with the specific investigative skills required by the Commission will be impactful to operations.</a:t>
            </a:r>
          </a:p>
        </p:txBody>
      </p:sp>
      <p:sp>
        <p:nvSpPr>
          <p:cNvPr id="165" name="Google Shape;5321;p333">
            <a:extLst>
              <a:ext uri="{FF2B5EF4-FFF2-40B4-BE49-F238E27FC236}">
                <a16:creationId xmlns:a16="http://schemas.microsoft.com/office/drawing/2014/main" id="{99A3C311-DBF2-45E0-8C8A-D1C7A8E0917F}"/>
              </a:ext>
            </a:extLst>
          </p:cNvPr>
          <p:cNvSpPr/>
          <p:nvPr/>
        </p:nvSpPr>
        <p:spPr>
          <a:xfrm>
            <a:off x="3337340" y="2615469"/>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57" name="Google Shape;5313;p333">
            <a:extLst>
              <a:ext uri="{FF2B5EF4-FFF2-40B4-BE49-F238E27FC236}">
                <a16:creationId xmlns:a16="http://schemas.microsoft.com/office/drawing/2014/main" id="{6FCB63C9-5CED-4E7E-8BE3-F43B7DF30F91}"/>
              </a:ext>
            </a:extLst>
          </p:cNvPr>
          <p:cNvSpPr/>
          <p:nvPr/>
        </p:nvSpPr>
        <p:spPr>
          <a:xfrm>
            <a:off x="5393458" y="2612757"/>
            <a:ext cx="224819" cy="248400"/>
          </a:xfrm>
          <a:custGeom>
            <a:avLst/>
            <a:gdLst/>
            <a:ahLst/>
            <a:cxnLst/>
            <a:rect l="l" t="t" r="r" b="b"/>
            <a:pathLst>
              <a:path w="200" h="200" extrusionOk="0">
                <a:moveTo>
                  <a:pt x="100" y="0"/>
                </a:moveTo>
                <a:cubicBezTo>
                  <a:pt x="45" y="0"/>
                  <a:pt x="0" y="44"/>
                  <a:pt x="0" y="100"/>
                </a:cubicBezTo>
                <a:cubicBezTo>
                  <a:pt x="0" y="155"/>
                  <a:pt x="45" y="200"/>
                  <a:pt x="100" y="200"/>
                </a:cubicBezTo>
                <a:cubicBezTo>
                  <a:pt x="156" y="200"/>
                  <a:pt x="200" y="155"/>
                  <a:pt x="200" y="100"/>
                </a:cubicBezTo>
                <a:cubicBezTo>
                  <a:pt x="200" y="44"/>
                  <a:pt x="156" y="0"/>
                  <a:pt x="100" y="0"/>
                </a:cubicBezTo>
                <a:close/>
                <a:moveTo>
                  <a:pt x="100" y="100"/>
                </a:moveTo>
                <a:cubicBezTo>
                  <a:pt x="13" y="100"/>
                  <a:pt x="13" y="100"/>
                  <a:pt x="13" y="100"/>
                </a:cubicBezTo>
                <a:cubicBezTo>
                  <a:pt x="13" y="51"/>
                  <a:pt x="52" y="12"/>
                  <a:pt x="100" y="12"/>
                </a:cubicBezTo>
                <a:lnTo>
                  <a:pt x="100" y="10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85" name="TextBox 84">
            <a:extLst>
              <a:ext uri="{FF2B5EF4-FFF2-40B4-BE49-F238E27FC236}">
                <a16:creationId xmlns:a16="http://schemas.microsoft.com/office/drawing/2014/main" id="{FA03A654-8008-4B8E-BCF1-C6334C1006F3}"/>
              </a:ext>
            </a:extLst>
          </p:cNvPr>
          <p:cNvSpPr txBox="1"/>
          <p:nvPr/>
        </p:nvSpPr>
        <p:spPr>
          <a:xfrm>
            <a:off x="6347200" y="4615645"/>
            <a:ext cx="5317494" cy="746358"/>
          </a:xfrm>
          <a:prstGeom prst="rect">
            <a:avLst/>
          </a:prstGeom>
          <a:noFill/>
        </p:spPr>
        <p:txBody>
          <a:bodyPr wrap="square" lIns="46800" rIns="46800" rtlCol="0">
            <a:spAutoFit/>
          </a:bodyPr>
          <a:lstStyle/>
          <a:p>
            <a:pPr marL="177800" indent="-177800">
              <a:buFont typeface="Arial" panose="020B0604020202020204" pitchFamily="34" charset="0"/>
              <a:buChar char="•"/>
            </a:pPr>
            <a:r>
              <a:rPr lang="en-US" sz="800" dirty="0"/>
              <a:t>Organisations tend to seek to build their </a:t>
            </a:r>
            <a:r>
              <a:rPr lang="en-US" sz="800" b="1" dirty="0">
                <a:solidFill>
                  <a:schemeClr val="tx2"/>
                </a:solidFill>
              </a:rPr>
              <a:t>leadership capability</a:t>
            </a:r>
            <a:r>
              <a:rPr lang="en-US" sz="800" dirty="0"/>
              <a:t>, ensuring the organisation is led by people who understand the purpose, the context and the workforce. This is then supplemented by Buy/Borrow strategies that bring in fresh perspectives and new partnerships.</a:t>
            </a:r>
          </a:p>
          <a:p>
            <a:pPr marL="177800" indent="-177800">
              <a:spcBef>
                <a:spcPts val="300"/>
              </a:spcBef>
              <a:buFont typeface="Arial" panose="020B0604020202020204" pitchFamily="34" charset="0"/>
              <a:buChar char="•"/>
            </a:pPr>
            <a:r>
              <a:rPr lang="en-US" sz="800" dirty="0"/>
              <a:t>Other roles that support a leadership capability can be bought, such as change management. These roles may be time-bound to transformations, and are found more readily in the market.</a:t>
            </a:r>
          </a:p>
        </p:txBody>
      </p:sp>
      <p:sp>
        <p:nvSpPr>
          <p:cNvPr id="86" name="TextBox 85">
            <a:extLst>
              <a:ext uri="{FF2B5EF4-FFF2-40B4-BE49-F238E27FC236}">
                <a16:creationId xmlns:a16="http://schemas.microsoft.com/office/drawing/2014/main" id="{1BCC12B5-9FFA-4B44-A38B-C06608F6EA11}"/>
              </a:ext>
            </a:extLst>
          </p:cNvPr>
          <p:cNvSpPr txBox="1"/>
          <p:nvPr/>
        </p:nvSpPr>
        <p:spPr>
          <a:xfrm>
            <a:off x="6355641" y="5368573"/>
            <a:ext cx="5357908" cy="584775"/>
          </a:xfrm>
          <a:prstGeom prst="rect">
            <a:avLst/>
          </a:prstGeom>
          <a:noFill/>
        </p:spPr>
        <p:txBody>
          <a:bodyPr wrap="square" lIns="46800" rIns="46800" rtlCol="0">
            <a:spAutoFit/>
          </a:bodyPr>
          <a:lstStyle/>
          <a:p>
            <a:pPr marL="176213" indent="-176213">
              <a:buFont typeface="Arial" panose="020B0604020202020204" pitchFamily="34" charset="0"/>
              <a:buChar char="•"/>
            </a:pPr>
            <a:r>
              <a:rPr lang="en-US" sz="800" dirty="0"/>
              <a:t>Similar to the regulatory capability, consumer centric capability, that enables the ability to deliver high quality consumer experiences is at the heart of the Commission’s purpose and reputation. While these roles can be found in the market, the Commission will always need this capability, often at scale. For these reasons it may be beneficial to invest in a build strategy for roles that sit in this capability.</a:t>
            </a:r>
          </a:p>
        </p:txBody>
      </p:sp>
      <p:grpSp>
        <p:nvGrpSpPr>
          <p:cNvPr id="87" name="Google Shape;732;g11dc8470dbd_0_200">
            <a:extLst>
              <a:ext uri="{FF2B5EF4-FFF2-40B4-BE49-F238E27FC236}">
                <a16:creationId xmlns:a16="http://schemas.microsoft.com/office/drawing/2014/main" id="{A8B8DBB2-79C7-484B-A5A4-25093A524413}"/>
              </a:ext>
            </a:extLst>
          </p:cNvPr>
          <p:cNvGrpSpPr/>
          <p:nvPr/>
        </p:nvGrpSpPr>
        <p:grpSpPr>
          <a:xfrm>
            <a:off x="3099323" y="1950885"/>
            <a:ext cx="170563" cy="170563"/>
            <a:chOff x="988" y="0"/>
            <a:chExt cx="6700" cy="6704"/>
          </a:xfrm>
          <a:solidFill>
            <a:schemeClr val="accent5"/>
          </a:solidFill>
        </p:grpSpPr>
        <p:sp>
          <p:nvSpPr>
            <p:cNvPr id="88" name="Google Shape;733;g11dc8470dbd_0_200">
              <a:extLst>
                <a:ext uri="{FF2B5EF4-FFF2-40B4-BE49-F238E27FC236}">
                  <a16:creationId xmlns:a16="http://schemas.microsoft.com/office/drawing/2014/main" id="{74A1BFF1-82D3-403B-8AC1-77CF33B64F88}"/>
                </a:ext>
              </a:extLst>
            </p:cNvPr>
            <p:cNvSpPr/>
            <p:nvPr/>
          </p:nvSpPr>
          <p:spPr>
            <a:xfrm>
              <a:off x="988" y="0"/>
              <a:ext cx="6700" cy="6704"/>
            </a:xfrm>
            <a:custGeom>
              <a:avLst/>
              <a:gdLst/>
              <a:ahLst/>
              <a:cxnLst/>
              <a:rect l="l" t="t" r="r" b="b"/>
              <a:pathLst>
                <a:path w="6700" h="6704" extrusionOk="0">
                  <a:moveTo>
                    <a:pt x="0" y="0"/>
                  </a:moveTo>
                  <a:lnTo>
                    <a:pt x="0" y="0"/>
                  </a:lnTo>
                  <a:lnTo>
                    <a:pt x="0" y="6704"/>
                  </a:lnTo>
                  <a:lnTo>
                    <a:pt x="0" y="6704"/>
                  </a:lnTo>
                  <a:lnTo>
                    <a:pt x="6700" y="6704"/>
                  </a:lnTo>
                  <a:lnTo>
                    <a:pt x="6700" y="5716"/>
                  </a:lnTo>
                  <a:lnTo>
                    <a:pt x="6700" y="4923"/>
                  </a:lnTo>
                  <a:lnTo>
                    <a:pt x="6700" y="4129"/>
                  </a:lnTo>
                  <a:lnTo>
                    <a:pt x="6700" y="3227"/>
                  </a:lnTo>
                  <a:lnTo>
                    <a:pt x="6700" y="3053"/>
                  </a:lnTo>
                  <a:lnTo>
                    <a:pt x="6700" y="2383"/>
                  </a:lnTo>
                  <a:lnTo>
                    <a:pt x="6700" y="1588"/>
                  </a:lnTo>
                  <a:lnTo>
                    <a:pt x="6700" y="794"/>
                  </a:lnTo>
                  <a:lnTo>
                    <a:pt x="6700" y="0"/>
                  </a:lnTo>
                  <a:lnTo>
                    <a:pt x="6700" y="0"/>
                  </a:lnTo>
                  <a:lnTo>
                    <a:pt x="0" y="0"/>
                  </a:lnTo>
                  <a:close/>
                  <a:moveTo>
                    <a:pt x="286" y="3513"/>
                  </a:moveTo>
                  <a:lnTo>
                    <a:pt x="818" y="3513"/>
                  </a:lnTo>
                  <a:lnTo>
                    <a:pt x="818" y="3513"/>
                  </a:lnTo>
                  <a:lnTo>
                    <a:pt x="804" y="3563"/>
                  </a:lnTo>
                  <a:lnTo>
                    <a:pt x="790" y="3609"/>
                  </a:lnTo>
                  <a:lnTo>
                    <a:pt x="770" y="3655"/>
                  </a:lnTo>
                  <a:lnTo>
                    <a:pt x="748" y="3701"/>
                  </a:lnTo>
                  <a:lnTo>
                    <a:pt x="722" y="3743"/>
                  </a:lnTo>
                  <a:lnTo>
                    <a:pt x="694" y="3783"/>
                  </a:lnTo>
                  <a:lnTo>
                    <a:pt x="664" y="3821"/>
                  </a:lnTo>
                  <a:lnTo>
                    <a:pt x="630" y="3857"/>
                  </a:lnTo>
                  <a:lnTo>
                    <a:pt x="594" y="3891"/>
                  </a:lnTo>
                  <a:lnTo>
                    <a:pt x="556" y="3923"/>
                  </a:lnTo>
                  <a:lnTo>
                    <a:pt x="516" y="3951"/>
                  </a:lnTo>
                  <a:lnTo>
                    <a:pt x="472" y="3975"/>
                  </a:lnTo>
                  <a:lnTo>
                    <a:pt x="428" y="3997"/>
                  </a:lnTo>
                  <a:lnTo>
                    <a:pt x="382" y="4017"/>
                  </a:lnTo>
                  <a:lnTo>
                    <a:pt x="334" y="4033"/>
                  </a:lnTo>
                  <a:lnTo>
                    <a:pt x="286" y="4045"/>
                  </a:lnTo>
                  <a:lnTo>
                    <a:pt x="286" y="3513"/>
                  </a:lnTo>
                  <a:close/>
                  <a:moveTo>
                    <a:pt x="286" y="5886"/>
                  </a:moveTo>
                  <a:lnTo>
                    <a:pt x="286" y="5886"/>
                  </a:lnTo>
                  <a:lnTo>
                    <a:pt x="334" y="5898"/>
                  </a:lnTo>
                  <a:lnTo>
                    <a:pt x="382" y="5914"/>
                  </a:lnTo>
                  <a:lnTo>
                    <a:pt x="428" y="5934"/>
                  </a:lnTo>
                  <a:lnTo>
                    <a:pt x="472" y="5956"/>
                  </a:lnTo>
                  <a:lnTo>
                    <a:pt x="516" y="5980"/>
                  </a:lnTo>
                  <a:lnTo>
                    <a:pt x="556" y="6008"/>
                  </a:lnTo>
                  <a:lnTo>
                    <a:pt x="594" y="6040"/>
                  </a:lnTo>
                  <a:lnTo>
                    <a:pt x="630" y="6074"/>
                  </a:lnTo>
                  <a:lnTo>
                    <a:pt x="664" y="6110"/>
                  </a:lnTo>
                  <a:lnTo>
                    <a:pt x="694" y="6148"/>
                  </a:lnTo>
                  <a:lnTo>
                    <a:pt x="722" y="6188"/>
                  </a:lnTo>
                  <a:lnTo>
                    <a:pt x="748" y="6230"/>
                  </a:lnTo>
                  <a:lnTo>
                    <a:pt x="770" y="6276"/>
                  </a:lnTo>
                  <a:lnTo>
                    <a:pt x="790" y="6322"/>
                  </a:lnTo>
                  <a:lnTo>
                    <a:pt x="804" y="6368"/>
                  </a:lnTo>
                  <a:lnTo>
                    <a:pt x="818" y="6418"/>
                  </a:lnTo>
                  <a:lnTo>
                    <a:pt x="286" y="6418"/>
                  </a:lnTo>
                  <a:lnTo>
                    <a:pt x="286" y="5886"/>
                  </a:lnTo>
                  <a:close/>
                  <a:moveTo>
                    <a:pt x="5882" y="6418"/>
                  </a:moveTo>
                  <a:lnTo>
                    <a:pt x="5882" y="6418"/>
                  </a:lnTo>
                  <a:lnTo>
                    <a:pt x="5896" y="6368"/>
                  </a:lnTo>
                  <a:lnTo>
                    <a:pt x="5912" y="6322"/>
                  </a:lnTo>
                  <a:lnTo>
                    <a:pt x="5930" y="6276"/>
                  </a:lnTo>
                  <a:lnTo>
                    <a:pt x="5952" y="6230"/>
                  </a:lnTo>
                  <a:lnTo>
                    <a:pt x="5978" y="6188"/>
                  </a:lnTo>
                  <a:lnTo>
                    <a:pt x="6006" y="6148"/>
                  </a:lnTo>
                  <a:lnTo>
                    <a:pt x="6036" y="6110"/>
                  </a:lnTo>
                  <a:lnTo>
                    <a:pt x="6070" y="6074"/>
                  </a:lnTo>
                  <a:lnTo>
                    <a:pt x="6106" y="6040"/>
                  </a:lnTo>
                  <a:lnTo>
                    <a:pt x="6144" y="6008"/>
                  </a:lnTo>
                  <a:lnTo>
                    <a:pt x="6186" y="5980"/>
                  </a:lnTo>
                  <a:lnTo>
                    <a:pt x="6228" y="5956"/>
                  </a:lnTo>
                  <a:lnTo>
                    <a:pt x="6272" y="5934"/>
                  </a:lnTo>
                  <a:lnTo>
                    <a:pt x="6318" y="5914"/>
                  </a:lnTo>
                  <a:lnTo>
                    <a:pt x="6366" y="5898"/>
                  </a:lnTo>
                  <a:lnTo>
                    <a:pt x="6416" y="5886"/>
                  </a:lnTo>
                  <a:lnTo>
                    <a:pt x="6416" y="6418"/>
                  </a:lnTo>
                  <a:lnTo>
                    <a:pt x="5882" y="6418"/>
                  </a:lnTo>
                  <a:close/>
                  <a:moveTo>
                    <a:pt x="6416" y="5596"/>
                  </a:moveTo>
                  <a:lnTo>
                    <a:pt x="6416" y="5596"/>
                  </a:lnTo>
                  <a:lnTo>
                    <a:pt x="6376" y="5604"/>
                  </a:lnTo>
                  <a:lnTo>
                    <a:pt x="6336" y="5612"/>
                  </a:lnTo>
                  <a:lnTo>
                    <a:pt x="6298" y="5622"/>
                  </a:lnTo>
                  <a:lnTo>
                    <a:pt x="6260" y="5632"/>
                  </a:lnTo>
                  <a:lnTo>
                    <a:pt x="6224" y="5646"/>
                  </a:lnTo>
                  <a:lnTo>
                    <a:pt x="6188" y="5660"/>
                  </a:lnTo>
                  <a:lnTo>
                    <a:pt x="6152" y="5676"/>
                  </a:lnTo>
                  <a:lnTo>
                    <a:pt x="6116" y="5692"/>
                  </a:lnTo>
                  <a:lnTo>
                    <a:pt x="6082" y="5710"/>
                  </a:lnTo>
                  <a:lnTo>
                    <a:pt x="6050" y="5730"/>
                  </a:lnTo>
                  <a:lnTo>
                    <a:pt x="6018" y="5750"/>
                  </a:lnTo>
                  <a:lnTo>
                    <a:pt x="5986" y="5772"/>
                  </a:lnTo>
                  <a:lnTo>
                    <a:pt x="5954" y="5796"/>
                  </a:lnTo>
                  <a:lnTo>
                    <a:pt x="5926" y="5820"/>
                  </a:lnTo>
                  <a:lnTo>
                    <a:pt x="5896" y="5846"/>
                  </a:lnTo>
                  <a:lnTo>
                    <a:pt x="5870" y="5872"/>
                  </a:lnTo>
                  <a:lnTo>
                    <a:pt x="5842" y="5900"/>
                  </a:lnTo>
                  <a:lnTo>
                    <a:pt x="5816" y="5928"/>
                  </a:lnTo>
                  <a:lnTo>
                    <a:pt x="5792" y="5958"/>
                  </a:lnTo>
                  <a:lnTo>
                    <a:pt x="5770" y="5988"/>
                  </a:lnTo>
                  <a:lnTo>
                    <a:pt x="5748" y="6020"/>
                  </a:lnTo>
                  <a:lnTo>
                    <a:pt x="5726" y="6052"/>
                  </a:lnTo>
                  <a:lnTo>
                    <a:pt x="5708" y="6086"/>
                  </a:lnTo>
                  <a:lnTo>
                    <a:pt x="5688" y="6120"/>
                  </a:lnTo>
                  <a:lnTo>
                    <a:pt x="5672" y="6154"/>
                  </a:lnTo>
                  <a:lnTo>
                    <a:pt x="5656" y="6190"/>
                  </a:lnTo>
                  <a:lnTo>
                    <a:pt x="5642" y="6226"/>
                  </a:lnTo>
                  <a:lnTo>
                    <a:pt x="5630" y="6264"/>
                  </a:lnTo>
                  <a:lnTo>
                    <a:pt x="5618" y="6302"/>
                  </a:lnTo>
                  <a:lnTo>
                    <a:pt x="5608" y="6340"/>
                  </a:lnTo>
                  <a:lnTo>
                    <a:pt x="5600" y="6378"/>
                  </a:lnTo>
                  <a:lnTo>
                    <a:pt x="5594" y="6418"/>
                  </a:lnTo>
                  <a:lnTo>
                    <a:pt x="1106" y="6418"/>
                  </a:lnTo>
                  <a:lnTo>
                    <a:pt x="1106" y="6418"/>
                  </a:lnTo>
                  <a:lnTo>
                    <a:pt x="1100" y="6378"/>
                  </a:lnTo>
                  <a:lnTo>
                    <a:pt x="1092" y="6340"/>
                  </a:lnTo>
                  <a:lnTo>
                    <a:pt x="1082" y="6302"/>
                  </a:lnTo>
                  <a:lnTo>
                    <a:pt x="1070" y="6264"/>
                  </a:lnTo>
                  <a:lnTo>
                    <a:pt x="1058" y="6226"/>
                  </a:lnTo>
                  <a:lnTo>
                    <a:pt x="1044" y="6190"/>
                  </a:lnTo>
                  <a:lnTo>
                    <a:pt x="1028" y="6154"/>
                  </a:lnTo>
                  <a:lnTo>
                    <a:pt x="1012" y="6120"/>
                  </a:lnTo>
                  <a:lnTo>
                    <a:pt x="994" y="6086"/>
                  </a:lnTo>
                  <a:lnTo>
                    <a:pt x="974" y="6052"/>
                  </a:lnTo>
                  <a:lnTo>
                    <a:pt x="952" y="6020"/>
                  </a:lnTo>
                  <a:lnTo>
                    <a:pt x="930" y="5988"/>
                  </a:lnTo>
                  <a:lnTo>
                    <a:pt x="908" y="5958"/>
                  </a:lnTo>
                  <a:lnTo>
                    <a:pt x="884" y="5928"/>
                  </a:lnTo>
                  <a:lnTo>
                    <a:pt x="858" y="5900"/>
                  </a:lnTo>
                  <a:lnTo>
                    <a:pt x="832" y="5872"/>
                  </a:lnTo>
                  <a:lnTo>
                    <a:pt x="804" y="5846"/>
                  </a:lnTo>
                  <a:lnTo>
                    <a:pt x="774" y="5820"/>
                  </a:lnTo>
                  <a:lnTo>
                    <a:pt x="746" y="5796"/>
                  </a:lnTo>
                  <a:lnTo>
                    <a:pt x="714" y="5772"/>
                  </a:lnTo>
                  <a:lnTo>
                    <a:pt x="684" y="5750"/>
                  </a:lnTo>
                  <a:lnTo>
                    <a:pt x="650" y="5730"/>
                  </a:lnTo>
                  <a:lnTo>
                    <a:pt x="618" y="5710"/>
                  </a:lnTo>
                  <a:lnTo>
                    <a:pt x="584" y="5692"/>
                  </a:lnTo>
                  <a:lnTo>
                    <a:pt x="548" y="5676"/>
                  </a:lnTo>
                  <a:lnTo>
                    <a:pt x="512" y="5660"/>
                  </a:lnTo>
                  <a:lnTo>
                    <a:pt x="476" y="5646"/>
                  </a:lnTo>
                  <a:lnTo>
                    <a:pt x="440" y="5632"/>
                  </a:lnTo>
                  <a:lnTo>
                    <a:pt x="402" y="5622"/>
                  </a:lnTo>
                  <a:lnTo>
                    <a:pt x="364" y="5612"/>
                  </a:lnTo>
                  <a:lnTo>
                    <a:pt x="324" y="5604"/>
                  </a:lnTo>
                  <a:lnTo>
                    <a:pt x="286" y="5596"/>
                  </a:lnTo>
                  <a:lnTo>
                    <a:pt x="286" y="4923"/>
                  </a:lnTo>
                  <a:lnTo>
                    <a:pt x="286" y="4335"/>
                  </a:lnTo>
                  <a:lnTo>
                    <a:pt x="286" y="4335"/>
                  </a:lnTo>
                  <a:lnTo>
                    <a:pt x="324" y="4327"/>
                  </a:lnTo>
                  <a:lnTo>
                    <a:pt x="364" y="4319"/>
                  </a:lnTo>
                  <a:lnTo>
                    <a:pt x="402" y="4309"/>
                  </a:lnTo>
                  <a:lnTo>
                    <a:pt x="440" y="4299"/>
                  </a:lnTo>
                  <a:lnTo>
                    <a:pt x="476" y="4285"/>
                  </a:lnTo>
                  <a:lnTo>
                    <a:pt x="512" y="4271"/>
                  </a:lnTo>
                  <a:lnTo>
                    <a:pt x="548" y="4255"/>
                  </a:lnTo>
                  <a:lnTo>
                    <a:pt x="584" y="4239"/>
                  </a:lnTo>
                  <a:lnTo>
                    <a:pt x="618" y="4221"/>
                  </a:lnTo>
                  <a:lnTo>
                    <a:pt x="650" y="4201"/>
                  </a:lnTo>
                  <a:lnTo>
                    <a:pt x="684" y="4181"/>
                  </a:lnTo>
                  <a:lnTo>
                    <a:pt x="714" y="4159"/>
                  </a:lnTo>
                  <a:lnTo>
                    <a:pt x="746" y="4135"/>
                  </a:lnTo>
                  <a:lnTo>
                    <a:pt x="774" y="4111"/>
                  </a:lnTo>
                  <a:lnTo>
                    <a:pt x="804" y="4085"/>
                  </a:lnTo>
                  <a:lnTo>
                    <a:pt x="832" y="4059"/>
                  </a:lnTo>
                  <a:lnTo>
                    <a:pt x="858" y="4031"/>
                  </a:lnTo>
                  <a:lnTo>
                    <a:pt x="884" y="4003"/>
                  </a:lnTo>
                  <a:lnTo>
                    <a:pt x="908" y="3973"/>
                  </a:lnTo>
                  <a:lnTo>
                    <a:pt x="930" y="3943"/>
                  </a:lnTo>
                  <a:lnTo>
                    <a:pt x="952" y="3911"/>
                  </a:lnTo>
                  <a:lnTo>
                    <a:pt x="974" y="3879"/>
                  </a:lnTo>
                  <a:lnTo>
                    <a:pt x="994" y="3845"/>
                  </a:lnTo>
                  <a:lnTo>
                    <a:pt x="1012" y="3811"/>
                  </a:lnTo>
                  <a:lnTo>
                    <a:pt x="1028" y="3777"/>
                  </a:lnTo>
                  <a:lnTo>
                    <a:pt x="1044" y="3741"/>
                  </a:lnTo>
                  <a:lnTo>
                    <a:pt x="1058" y="3705"/>
                  </a:lnTo>
                  <a:lnTo>
                    <a:pt x="1070" y="3667"/>
                  </a:lnTo>
                  <a:lnTo>
                    <a:pt x="1082" y="3629"/>
                  </a:lnTo>
                  <a:lnTo>
                    <a:pt x="1092" y="3591"/>
                  </a:lnTo>
                  <a:lnTo>
                    <a:pt x="1100" y="3553"/>
                  </a:lnTo>
                  <a:lnTo>
                    <a:pt x="1106" y="3513"/>
                  </a:lnTo>
                  <a:lnTo>
                    <a:pt x="5594" y="3513"/>
                  </a:lnTo>
                  <a:lnTo>
                    <a:pt x="5594" y="3513"/>
                  </a:lnTo>
                  <a:lnTo>
                    <a:pt x="5600" y="3553"/>
                  </a:lnTo>
                  <a:lnTo>
                    <a:pt x="5608" y="3591"/>
                  </a:lnTo>
                  <a:lnTo>
                    <a:pt x="5618" y="3629"/>
                  </a:lnTo>
                  <a:lnTo>
                    <a:pt x="5630" y="3667"/>
                  </a:lnTo>
                  <a:lnTo>
                    <a:pt x="5642" y="3705"/>
                  </a:lnTo>
                  <a:lnTo>
                    <a:pt x="5656" y="3741"/>
                  </a:lnTo>
                  <a:lnTo>
                    <a:pt x="5672" y="3777"/>
                  </a:lnTo>
                  <a:lnTo>
                    <a:pt x="5688" y="3811"/>
                  </a:lnTo>
                  <a:lnTo>
                    <a:pt x="5708" y="3845"/>
                  </a:lnTo>
                  <a:lnTo>
                    <a:pt x="5726" y="3879"/>
                  </a:lnTo>
                  <a:lnTo>
                    <a:pt x="5748" y="3911"/>
                  </a:lnTo>
                  <a:lnTo>
                    <a:pt x="5770" y="3943"/>
                  </a:lnTo>
                  <a:lnTo>
                    <a:pt x="5792" y="3973"/>
                  </a:lnTo>
                  <a:lnTo>
                    <a:pt x="5816" y="4003"/>
                  </a:lnTo>
                  <a:lnTo>
                    <a:pt x="5842" y="4031"/>
                  </a:lnTo>
                  <a:lnTo>
                    <a:pt x="5870" y="4059"/>
                  </a:lnTo>
                  <a:lnTo>
                    <a:pt x="5896" y="4085"/>
                  </a:lnTo>
                  <a:lnTo>
                    <a:pt x="5926" y="4111"/>
                  </a:lnTo>
                  <a:lnTo>
                    <a:pt x="5954" y="4135"/>
                  </a:lnTo>
                  <a:lnTo>
                    <a:pt x="5986" y="4159"/>
                  </a:lnTo>
                  <a:lnTo>
                    <a:pt x="6018" y="4181"/>
                  </a:lnTo>
                  <a:lnTo>
                    <a:pt x="6050" y="4201"/>
                  </a:lnTo>
                  <a:lnTo>
                    <a:pt x="6082" y="4221"/>
                  </a:lnTo>
                  <a:lnTo>
                    <a:pt x="6116" y="4239"/>
                  </a:lnTo>
                  <a:lnTo>
                    <a:pt x="6152" y="4255"/>
                  </a:lnTo>
                  <a:lnTo>
                    <a:pt x="6188" y="4271"/>
                  </a:lnTo>
                  <a:lnTo>
                    <a:pt x="6224" y="4285"/>
                  </a:lnTo>
                  <a:lnTo>
                    <a:pt x="6260" y="4299"/>
                  </a:lnTo>
                  <a:lnTo>
                    <a:pt x="6298" y="4309"/>
                  </a:lnTo>
                  <a:lnTo>
                    <a:pt x="6336" y="4319"/>
                  </a:lnTo>
                  <a:lnTo>
                    <a:pt x="6376" y="4327"/>
                  </a:lnTo>
                  <a:lnTo>
                    <a:pt x="6416" y="4335"/>
                  </a:lnTo>
                  <a:lnTo>
                    <a:pt x="6416" y="4923"/>
                  </a:lnTo>
                  <a:lnTo>
                    <a:pt x="6416" y="5596"/>
                  </a:lnTo>
                  <a:close/>
                  <a:moveTo>
                    <a:pt x="6416" y="4045"/>
                  </a:moveTo>
                  <a:lnTo>
                    <a:pt x="6416" y="4045"/>
                  </a:lnTo>
                  <a:lnTo>
                    <a:pt x="6366" y="4033"/>
                  </a:lnTo>
                  <a:lnTo>
                    <a:pt x="6318" y="4017"/>
                  </a:lnTo>
                  <a:lnTo>
                    <a:pt x="6272" y="3997"/>
                  </a:lnTo>
                  <a:lnTo>
                    <a:pt x="6228" y="3975"/>
                  </a:lnTo>
                  <a:lnTo>
                    <a:pt x="6186" y="3951"/>
                  </a:lnTo>
                  <a:lnTo>
                    <a:pt x="6144" y="3923"/>
                  </a:lnTo>
                  <a:lnTo>
                    <a:pt x="6106" y="3891"/>
                  </a:lnTo>
                  <a:lnTo>
                    <a:pt x="6070" y="3857"/>
                  </a:lnTo>
                  <a:lnTo>
                    <a:pt x="6036" y="3821"/>
                  </a:lnTo>
                  <a:lnTo>
                    <a:pt x="6006" y="3783"/>
                  </a:lnTo>
                  <a:lnTo>
                    <a:pt x="5978" y="3743"/>
                  </a:lnTo>
                  <a:lnTo>
                    <a:pt x="5952" y="3701"/>
                  </a:lnTo>
                  <a:lnTo>
                    <a:pt x="5930" y="3655"/>
                  </a:lnTo>
                  <a:lnTo>
                    <a:pt x="5912" y="3609"/>
                  </a:lnTo>
                  <a:lnTo>
                    <a:pt x="5896" y="3563"/>
                  </a:lnTo>
                  <a:lnTo>
                    <a:pt x="5882" y="3513"/>
                  </a:lnTo>
                  <a:lnTo>
                    <a:pt x="6416" y="3513"/>
                  </a:lnTo>
                  <a:lnTo>
                    <a:pt x="6416" y="4045"/>
                  </a:lnTo>
                  <a:close/>
                  <a:moveTo>
                    <a:pt x="6416" y="3227"/>
                  </a:moveTo>
                  <a:lnTo>
                    <a:pt x="286" y="3227"/>
                  </a:lnTo>
                  <a:lnTo>
                    <a:pt x="286" y="3053"/>
                  </a:lnTo>
                  <a:lnTo>
                    <a:pt x="286" y="2669"/>
                  </a:lnTo>
                  <a:lnTo>
                    <a:pt x="6416" y="2669"/>
                  </a:lnTo>
                  <a:lnTo>
                    <a:pt x="6416" y="3053"/>
                  </a:lnTo>
                  <a:lnTo>
                    <a:pt x="6416" y="3227"/>
                  </a:lnTo>
                  <a:close/>
                  <a:moveTo>
                    <a:pt x="286" y="2383"/>
                  </a:moveTo>
                  <a:lnTo>
                    <a:pt x="286" y="1875"/>
                  </a:lnTo>
                  <a:lnTo>
                    <a:pt x="6416" y="1875"/>
                  </a:lnTo>
                  <a:lnTo>
                    <a:pt x="6416" y="2383"/>
                  </a:lnTo>
                  <a:lnTo>
                    <a:pt x="286" y="2383"/>
                  </a:lnTo>
                  <a:close/>
                  <a:moveTo>
                    <a:pt x="286" y="1588"/>
                  </a:moveTo>
                  <a:lnTo>
                    <a:pt x="286" y="1080"/>
                  </a:lnTo>
                  <a:lnTo>
                    <a:pt x="6416" y="1080"/>
                  </a:lnTo>
                  <a:lnTo>
                    <a:pt x="6416" y="1588"/>
                  </a:lnTo>
                  <a:lnTo>
                    <a:pt x="286" y="1588"/>
                  </a:lnTo>
                  <a:close/>
                  <a:moveTo>
                    <a:pt x="286" y="794"/>
                  </a:moveTo>
                  <a:lnTo>
                    <a:pt x="286" y="286"/>
                  </a:lnTo>
                  <a:lnTo>
                    <a:pt x="6416" y="286"/>
                  </a:lnTo>
                  <a:lnTo>
                    <a:pt x="6416" y="794"/>
                  </a:lnTo>
                  <a:lnTo>
                    <a:pt x="286" y="794"/>
                  </a:lnTo>
                  <a:close/>
                </a:path>
              </a:pathLst>
            </a:custGeom>
            <a:grpFill/>
            <a:ln>
              <a:noFill/>
            </a:ln>
          </p:spPr>
          <p:txBody>
            <a:bodyPr spcFirstLastPara="1" wrap="square" lIns="58625" tIns="29300" rIns="58625" bIns="293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600"/>
                <a:buFont typeface="Arial"/>
                <a:buNone/>
                <a:tabLst/>
                <a:defRPr/>
              </a:pPr>
              <a:endParaRPr kumimoji="0" sz="6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89" name="Google Shape;734;g11dc8470dbd_0_200">
              <a:extLst>
                <a:ext uri="{FF2B5EF4-FFF2-40B4-BE49-F238E27FC236}">
                  <a16:creationId xmlns:a16="http://schemas.microsoft.com/office/drawing/2014/main" id="{1BEA969C-E3A4-48B7-826D-CF9217ECE5D6}"/>
                </a:ext>
              </a:extLst>
            </p:cNvPr>
            <p:cNvSpPr/>
            <p:nvPr/>
          </p:nvSpPr>
          <p:spPr>
            <a:xfrm>
              <a:off x="3362" y="3989"/>
              <a:ext cx="1952" cy="1953"/>
            </a:xfrm>
            <a:custGeom>
              <a:avLst/>
              <a:gdLst/>
              <a:ahLst/>
              <a:cxnLst/>
              <a:rect l="l" t="t" r="r" b="b"/>
              <a:pathLst>
                <a:path w="1952" h="1953" extrusionOk="0">
                  <a:moveTo>
                    <a:pt x="976" y="0"/>
                  </a:moveTo>
                  <a:lnTo>
                    <a:pt x="976" y="0"/>
                  </a:lnTo>
                  <a:lnTo>
                    <a:pt x="926" y="2"/>
                  </a:lnTo>
                  <a:lnTo>
                    <a:pt x="876" y="6"/>
                  </a:lnTo>
                  <a:lnTo>
                    <a:pt x="828" y="12"/>
                  </a:lnTo>
                  <a:lnTo>
                    <a:pt x="780" y="20"/>
                  </a:lnTo>
                  <a:lnTo>
                    <a:pt x="732" y="30"/>
                  </a:lnTo>
                  <a:lnTo>
                    <a:pt x="686" y="44"/>
                  </a:lnTo>
                  <a:lnTo>
                    <a:pt x="640" y="60"/>
                  </a:lnTo>
                  <a:lnTo>
                    <a:pt x="596" y="76"/>
                  </a:lnTo>
                  <a:lnTo>
                    <a:pt x="554" y="96"/>
                  </a:lnTo>
                  <a:lnTo>
                    <a:pt x="512" y="118"/>
                  </a:lnTo>
                  <a:lnTo>
                    <a:pt x="470" y="142"/>
                  </a:lnTo>
                  <a:lnTo>
                    <a:pt x="430" y="166"/>
                  </a:lnTo>
                  <a:lnTo>
                    <a:pt x="392" y="194"/>
                  </a:lnTo>
                  <a:lnTo>
                    <a:pt x="356" y="224"/>
                  </a:lnTo>
                  <a:lnTo>
                    <a:pt x="320" y="254"/>
                  </a:lnTo>
                  <a:lnTo>
                    <a:pt x="286" y="286"/>
                  </a:lnTo>
                  <a:lnTo>
                    <a:pt x="254" y="320"/>
                  </a:lnTo>
                  <a:lnTo>
                    <a:pt x="224" y="356"/>
                  </a:lnTo>
                  <a:lnTo>
                    <a:pt x="194" y="392"/>
                  </a:lnTo>
                  <a:lnTo>
                    <a:pt x="168" y="430"/>
                  </a:lnTo>
                  <a:lnTo>
                    <a:pt x="142" y="470"/>
                  </a:lnTo>
                  <a:lnTo>
                    <a:pt x="118" y="512"/>
                  </a:lnTo>
                  <a:lnTo>
                    <a:pt x="96" y="554"/>
                  </a:lnTo>
                  <a:lnTo>
                    <a:pt x="78" y="596"/>
                  </a:lnTo>
                  <a:lnTo>
                    <a:pt x="60" y="640"/>
                  </a:lnTo>
                  <a:lnTo>
                    <a:pt x="44" y="686"/>
                  </a:lnTo>
                  <a:lnTo>
                    <a:pt x="32" y="732"/>
                  </a:lnTo>
                  <a:lnTo>
                    <a:pt x="20" y="780"/>
                  </a:lnTo>
                  <a:lnTo>
                    <a:pt x="12" y="828"/>
                  </a:lnTo>
                  <a:lnTo>
                    <a:pt x="6" y="876"/>
                  </a:lnTo>
                  <a:lnTo>
                    <a:pt x="2" y="926"/>
                  </a:lnTo>
                  <a:lnTo>
                    <a:pt x="0" y="976"/>
                  </a:lnTo>
                  <a:lnTo>
                    <a:pt x="0" y="976"/>
                  </a:lnTo>
                  <a:lnTo>
                    <a:pt x="2" y="1026"/>
                  </a:lnTo>
                  <a:lnTo>
                    <a:pt x="6" y="1077"/>
                  </a:lnTo>
                  <a:lnTo>
                    <a:pt x="12" y="1125"/>
                  </a:lnTo>
                  <a:lnTo>
                    <a:pt x="20" y="1173"/>
                  </a:lnTo>
                  <a:lnTo>
                    <a:pt x="32" y="1221"/>
                  </a:lnTo>
                  <a:lnTo>
                    <a:pt x="44" y="1267"/>
                  </a:lnTo>
                  <a:lnTo>
                    <a:pt x="60" y="1313"/>
                  </a:lnTo>
                  <a:lnTo>
                    <a:pt x="78" y="1357"/>
                  </a:lnTo>
                  <a:lnTo>
                    <a:pt x="96" y="1399"/>
                  </a:lnTo>
                  <a:lnTo>
                    <a:pt x="118" y="1441"/>
                  </a:lnTo>
                  <a:lnTo>
                    <a:pt x="142" y="1483"/>
                  </a:lnTo>
                  <a:lnTo>
                    <a:pt x="168" y="1523"/>
                  </a:lnTo>
                  <a:lnTo>
                    <a:pt x="194" y="1561"/>
                  </a:lnTo>
                  <a:lnTo>
                    <a:pt x="224" y="1597"/>
                  </a:lnTo>
                  <a:lnTo>
                    <a:pt x="254" y="1633"/>
                  </a:lnTo>
                  <a:lnTo>
                    <a:pt x="286" y="1667"/>
                  </a:lnTo>
                  <a:lnTo>
                    <a:pt x="320" y="1699"/>
                  </a:lnTo>
                  <a:lnTo>
                    <a:pt x="356" y="1729"/>
                  </a:lnTo>
                  <a:lnTo>
                    <a:pt x="392" y="1759"/>
                  </a:lnTo>
                  <a:lnTo>
                    <a:pt x="430" y="1785"/>
                  </a:lnTo>
                  <a:lnTo>
                    <a:pt x="470" y="1811"/>
                  </a:lnTo>
                  <a:lnTo>
                    <a:pt x="512" y="1835"/>
                  </a:lnTo>
                  <a:lnTo>
                    <a:pt x="554" y="1857"/>
                  </a:lnTo>
                  <a:lnTo>
                    <a:pt x="596" y="1877"/>
                  </a:lnTo>
                  <a:lnTo>
                    <a:pt x="640" y="1893"/>
                  </a:lnTo>
                  <a:lnTo>
                    <a:pt x="686" y="1909"/>
                  </a:lnTo>
                  <a:lnTo>
                    <a:pt x="732" y="1923"/>
                  </a:lnTo>
                  <a:lnTo>
                    <a:pt x="780" y="1933"/>
                  </a:lnTo>
                  <a:lnTo>
                    <a:pt x="828" y="1941"/>
                  </a:lnTo>
                  <a:lnTo>
                    <a:pt x="876" y="1947"/>
                  </a:lnTo>
                  <a:lnTo>
                    <a:pt x="926" y="1951"/>
                  </a:lnTo>
                  <a:lnTo>
                    <a:pt x="976" y="1953"/>
                  </a:lnTo>
                  <a:lnTo>
                    <a:pt x="976" y="1953"/>
                  </a:lnTo>
                  <a:lnTo>
                    <a:pt x="1026" y="1951"/>
                  </a:lnTo>
                  <a:lnTo>
                    <a:pt x="1076" y="1947"/>
                  </a:lnTo>
                  <a:lnTo>
                    <a:pt x="1124" y="1941"/>
                  </a:lnTo>
                  <a:lnTo>
                    <a:pt x="1172" y="1933"/>
                  </a:lnTo>
                  <a:lnTo>
                    <a:pt x="1220" y="1923"/>
                  </a:lnTo>
                  <a:lnTo>
                    <a:pt x="1266" y="1909"/>
                  </a:lnTo>
                  <a:lnTo>
                    <a:pt x="1312" y="1893"/>
                  </a:lnTo>
                  <a:lnTo>
                    <a:pt x="1356" y="1877"/>
                  </a:lnTo>
                  <a:lnTo>
                    <a:pt x="1398" y="1857"/>
                  </a:lnTo>
                  <a:lnTo>
                    <a:pt x="1440" y="1835"/>
                  </a:lnTo>
                  <a:lnTo>
                    <a:pt x="1482" y="1811"/>
                  </a:lnTo>
                  <a:lnTo>
                    <a:pt x="1522" y="1785"/>
                  </a:lnTo>
                  <a:lnTo>
                    <a:pt x="1560" y="1759"/>
                  </a:lnTo>
                  <a:lnTo>
                    <a:pt x="1596" y="1729"/>
                  </a:lnTo>
                  <a:lnTo>
                    <a:pt x="1632" y="1699"/>
                  </a:lnTo>
                  <a:lnTo>
                    <a:pt x="1666" y="1667"/>
                  </a:lnTo>
                  <a:lnTo>
                    <a:pt x="1698" y="1633"/>
                  </a:lnTo>
                  <a:lnTo>
                    <a:pt x="1728" y="1597"/>
                  </a:lnTo>
                  <a:lnTo>
                    <a:pt x="1758" y="1561"/>
                  </a:lnTo>
                  <a:lnTo>
                    <a:pt x="1786" y="1523"/>
                  </a:lnTo>
                  <a:lnTo>
                    <a:pt x="1810" y="1483"/>
                  </a:lnTo>
                  <a:lnTo>
                    <a:pt x="1834" y="1441"/>
                  </a:lnTo>
                  <a:lnTo>
                    <a:pt x="1856" y="1399"/>
                  </a:lnTo>
                  <a:lnTo>
                    <a:pt x="1876" y="1357"/>
                  </a:lnTo>
                  <a:lnTo>
                    <a:pt x="1892" y="1313"/>
                  </a:lnTo>
                  <a:lnTo>
                    <a:pt x="1908" y="1267"/>
                  </a:lnTo>
                  <a:lnTo>
                    <a:pt x="1922" y="1221"/>
                  </a:lnTo>
                  <a:lnTo>
                    <a:pt x="1932" y="1173"/>
                  </a:lnTo>
                  <a:lnTo>
                    <a:pt x="1940" y="1125"/>
                  </a:lnTo>
                  <a:lnTo>
                    <a:pt x="1946" y="1077"/>
                  </a:lnTo>
                  <a:lnTo>
                    <a:pt x="1950" y="1026"/>
                  </a:lnTo>
                  <a:lnTo>
                    <a:pt x="1952" y="976"/>
                  </a:lnTo>
                  <a:lnTo>
                    <a:pt x="1952" y="976"/>
                  </a:lnTo>
                  <a:lnTo>
                    <a:pt x="1950" y="926"/>
                  </a:lnTo>
                  <a:lnTo>
                    <a:pt x="1946" y="876"/>
                  </a:lnTo>
                  <a:lnTo>
                    <a:pt x="1940" y="828"/>
                  </a:lnTo>
                  <a:lnTo>
                    <a:pt x="1932" y="780"/>
                  </a:lnTo>
                  <a:lnTo>
                    <a:pt x="1922" y="732"/>
                  </a:lnTo>
                  <a:lnTo>
                    <a:pt x="1908" y="686"/>
                  </a:lnTo>
                  <a:lnTo>
                    <a:pt x="1892" y="640"/>
                  </a:lnTo>
                  <a:lnTo>
                    <a:pt x="1876" y="596"/>
                  </a:lnTo>
                  <a:lnTo>
                    <a:pt x="1856" y="554"/>
                  </a:lnTo>
                  <a:lnTo>
                    <a:pt x="1834" y="512"/>
                  </a:lnTo>
                  <a:lnTo>
                    <a:pt x="1810" y="470"/>
                  </a:lnTo>
                  <a:lnTo>
                    <a:pt x="1786" y="430"/>
                  </a:lnTo>
                  <a:lnTo>
                    <a:pt x="1758" y="392"/>
                  </a:lnTo>
                  <a:lnTo>
                    <a:pt x="1728" y="356"/>
                  </a:lnTo>
                  <a:lnTo>
                    <a:pt x="1698" y="320"/>
                  </a:lnTo>
                  <a:lnTo>
                    <a:pt x="1666" y="286"/>
                  </a:lnTo>
                  <a:lnTo>
                    <a:pt x="1632" y="254"/>
                  </a:lnTo>
                  <a:lnTo>
                    <a:pt x="1596" y="224"/>
                  </a:lnTo>
                  <a:lnTo>
                    <a:pt x="1560" y="194"/>
                  </a:lnTo>
                  <a:lnTo>
                    <a:pt x="1522" y="166"/>
                  </a:lnTo>
                  <a:lnTo>
                    <a:pt x="1482" y="142"/>
                  </a:lnTo>
                  <a:lnTo>
                    <a:pt x="1440" y="118"/>
                  </a:lnTo>
                  <a:lnTo>
                    <a:pt x="1398" y="96"/>
                  </a:lnTo>
                  <a:lnTo>
                    <a:pt x="1356" y="76"/>
                  </a:lnTo>
                  <a:lnTo>
                    <a:pt x="1312" y="60"/>
                  </a:lnTo>
                  <a:lnTo>
                    <a:pt x="1266" y="44"/>
                  </a:lnTo>
                  <a:lnTo>
                    <a:pt x="1220" y="30"/>
                  </a:lnTo>
                  <a:lnTo>
                    <a:pt x="1172" y="20"/>
                  </a:lnTo>
                  <a:lnTo>
                    <a:pt x="1124" y="12"/>
                  </a:lnTo>
                  <a:lnTo>
                    <a:pt x="1076" y="6"/>
                  </a:lnTo>
                  <a:lnTo>
                    <a:pt x="1026" y="2"/>
                  </a:lnTo>
                  <a:lnTo>
                    <a:pt x="976" y="0"/>
                  </a:lnTo>
                  <a:lnTo>
                    <a:pt x="976" y="0"/>
                  </a:lnTo>
                  <a:close/>
                  <a:moveTo>
                    <a:pt x="976" y="1667"/>
                  </a:moveTo>
                  <a:lnTo>
                    <a:pt x="976" y="1667"/>
                  </a:lnTo>
                  <a:lnTo>
                    <a:pt x="940" y="1667"/>
                  </a:lnTo>
                  <a:lnTo>
                    <a:pt x="906" y="1663"/>
                  </a:lnTo>
                  <a:lnTo>
                    <a:pt x="872" y="1659"/>
                  </a:lnTo>
                  <a:lnTo>
                    <a:pt x="838" y="1653"/>
                  </a:lnTo>
                  <a:lnTo>
                    <a:pt x="804" y="1645"/>
                  </a:lnTo>
                  <a:lnTo>
                    <a:pt x="772" y="1635"/>
                  </a:lnTo>
                  <a:lnTo>
                    <a:pt x="740" y="1625"/>
                  </a:lnTo>
                  <a:lnTo>
                    <a:pt x="708" y="1613"/>
                  </a:lnTo>
                  <a:lnTo>
                    <a:pt x="678" y="1599"/>
                  </a:lnTo>
                  <a:lnTo>
                    <a:pt x="648" y="1583"/>
                  </a:lnTo>
                  <a:lnTo>
                    <a:pt x="618" y="1567"/>
                  </a:lnTo>
                  <a:lnTo>
                    <a:pt x="590" y="1549"/>
                  </a:lnTo>
                  <a:lnTo>
                    <a:pt x="564" y="1529"/>
                  </a:lnTo>
                  <a:lnTo>
                    <a:pt x="538" y="1509"/>
                  </a:lnTo>
                  <a:lnTo>
                    <a:pt x="512" y="1487"/>
                  </a:lnTo>
                  <a:lnTo>
                    <a:pt x="488" y="1465"/>
                  </a:lnTo>
                  <a:lnTo>
                    <a:pt x="466" y="1441"/>
                  </a:lnTo>
                  <a:lnTo>
                    <a:pt x="444" y="1415"/>
                  </a:lnTo>
                  <a:lnTo>
                    <a:pt x="424" y="1389"/>
                  </a:lnTo>
                  <a:lnTo>
                    <a:pt x="404" y="1363"/>
                  </a:lnTo>
                  <a:lnTo>
                    <a:pt x="386" y="1335"/>
                  </a:lnTo>
                  <a:lnTo>
                    <a:pt x="370" y="1305"/>
                  </a:lnTo>
                  <a:lnTo>
                    <a:pt x="354" y="1275"/>
                  </a:lnTo>
                  <a:lnTo>
                    <a:pt x="340" y="1245"/>
                  </a:lnTo>
                  <a:lnTo>
                    <a:pt x="328" y="1215"/>
                  </a:lnTo>
                  <a:lnTo>
                    <a:pt x="318" y="1181"/>
                  </a:lnTo>
                  <a:lnTo>
                    <a:pt x="308" y="1149"/>
                  </a:lnTo>
                  <a:lnTo>
                    <a:pt x="300" y="1115"/>
                  </a:lnTo>
                  <a:lnTo>
                    <a:pt x="294" y="1081"/>
                  </a:lnTo>
                  <a:lnTo>
                    <a:pt x="290" y="1047"/>
                  </a:lnTo>
                  <a:lnTo>
                    <a:pt x="286" y="1012"/>
                  </a:lnTo>
                  <a:lnTo>
                    <a:pt x="286" y="976"/>
                  </a:lnTo>
                  <a:lnTo>
                    <a:pt x="286" y="976"/>
                  </a:lnTo>
                  <a:lnTo>
                    <a:pt x="286" y="940"/>
                  </a:lnTo>
                  <a:lnTo>
                    <a:pt x="290" y="906"/>
                  </a:lnTo>
                  <a:lnTo>
                    <a:pt x="294" y="872"/>
                  </a:lnTo>
                  <a:lnTo>
                    <a:pt x="300" y="838"/>
                  </a:lnTo>
                  <a:lnTo>
                    <a:pt x="308" y="804"/>
                  </a:lnTo>
                  <a:lnTo>
                    <a:pt x="318" y="770"/>
                  </a:lnTo>
                  <a:lnTo>
                    <a:pt x="328" y="738"/>
                  </a:lnTo>
                  <a:lnTo>
                    <a:pt x="340" y="708"/>
                  </a:lnTo>
                  <a:lnTo>
                    <a:pt x="354" y="678"/>
                  </a:lnTo>
                  <a:lnTo>
                    <a:pt x="370" y="648"/>
                  </a:lnTo>
                  <a:lnTo>
                    <a:pt x="386" y="618"/>
                  </a:lnTo>
                  <a:lnTo>
                    <a:pt x="404" y="590"/>
                  </a:lnTo>
                  <a:lnTo>
                    <a:pt x="424" y="564"/>
                  </a:lnTo>
                  <a:lnTo>
                    <a:pt x="444" y="538"/>
                  </a:lnTo>
                  <a:lnTo>
                    <a:pt x="466" y="512"/>
                  </a:lnTo>
                  <a:lnTo>
                    <a:pt x="488" y="488"/>
                  </a:lnTo>
                  <a:lnTo>
                    <a:pt x="512" y="466"/>
                  </a:lnTo>
                  <a:lnTo>
                    <a:pt x="538" y="444"/>
                  </a:lnTo>
                  <a:lnTo>
                    <a:pt x="564" y="424"/>
                  </a:lnTo>
                  <a:lnTo>
                    <a:pt x="590" y="404"/>
                  </a:lnTo>
                  <a:lnTo>
                    <a:pt x="618" y="386"/>
                  </a:lnTo>
                  <a:lnTo>
                    <a:pt x="648" y="370"/>
                  </a:lnTo>
                  <a:lnTo>
                    <a:pt x="678" y="354"/>
                  </a:lnTo>
                  <a:lnTo>
                    <a:pt x="708" y="340"/>
                  </a:lnTo>
                  <a:lnTo>
                    <a:pt x="740" y="328"/>
                  </a:lnTo>
                  <a:lnTo>
                    <a:pt x="772" y="316"/>
                  </a:lnTo>
                  <a:lnTo>
                    <a:pt x="804" y="308"/>
                  </a:lnTo>
                  <a:lnTo>
                    <a:pt x="838" y="300"/>
                  </a:lnTo>
                  <a:lnTo>
                    <a:pt x="872" y="294"/>
                  </a:lnTo>
                  <a:lnTo>
                    <a:pt x="906" y="290"/>
                  </a:lnTo>
                  <a:lnTo>
                    <a:pt x="940" y="286"/>
                  </a:lnTo>
                  <a:lnTo>
                    <a:pt x="976" y="286"/>
                  </a:lnTo>
                  <a:lnTo>
                    <a:pt x="976" y="286"/>
                  </a:lnTo>
                  <a:lnTo>
                    <a:pt x="1012" y="286"/>
                  </a:lnTo>
                  <a:lnTo>
                    <a:pt x="1046" y="290"/>
                  </a:lnTo>
                  <a:lnTo>
                    <a:pt x="1082" y="294"/>
                  </a:lnTo>
                  <a:lnTo>
                    <a:pt x="1116" y="300"/>
                  </a:lnTo>
                  <a:lnTo>
                    <a:pt x="1148" y="308"/>
                  </a:lnTo>
                  <a:lnTo>
                    <a:pt x="1182" y="316"/>
                  </a:lnTo>
                  <a:lnTo>
                    <a:pt x="1214" y="328"/>
                  </a:lnTo>
                  <a:lnTo>
                    <a:pt x="1244" y="340"/>
                  </a:lnTo>
                  <a:lnTo>
                    <a:pt x="1276" y="354"/>
                  </a:lnTo>
                  <a:lnTo>
                    <a:pt x="1304" y="370"/>
                  </a:lnTo>
                  <a:lnTo>
                    <a:pt x="1334" y="386"/>
                  </a:lnTo>
                  <a:lnTo>
                    <a:pt x="1362" y="404"/>
                  </a:lnTo>
                  <a:lnTo>
                    <a:pt x="1388" y="424"/>
                  </a:lnTo>
                  <a:lnTo>
                    <a:pt x="1414" y="444"/>
                  </a:lnTo>
                  <a:lnTo>
                    <a:pt x="1440" y="466"/>
                  </a:lnTo>
                  <a:lnTo>
                    <a:pt x="1464" y="488"/>
                  </a:lnTo>
                  <a:lnTo>
                    <a:pt x="1486" y="512"/>
                  </a:lnTo>
                  <a:lnTo>
                    <a:pt x="1508" y="538"/>
                  </a:lnTo>
                  <a:lnTo>
                    <a:pt x="1528" y="564"/>
                  </a:lnTo>
                  <a:lnTo>
                    <a:pt x="1548" y="590"/>
                  </a:lnTo>
                  <a:lnTo>
                    <a:pt x="1566" y="618"/>
                  </a:lnTo>
                  <a:lnTo>
                    <a:pt x="1582" y="648"/>
                  </a:lnTo>
                  <a:lnTo>
                    <a:pt x="1598" y="678"/>
                  </a:lnTo>
                  <a:lnTo>
                    <a:pt x="1612" y="708"/>
                  </a:lnTo>
                  <a:lnTo>
                    <a:pt x="1624" y="738"/>
                  </a:lnTo>
                  <a:lnTo>
                    <a:pt x="1636" y="770"/>
                  </a:lnTo>
                  <a:lnTo>
                    <a:pt x="1644" y="804"/>
                  </a:lnTo>
                  <a:lnTo>
                    <a:pt x="1652" y="838"/>
                  </a:lnTo>
                  <a:lnTo>
                    <a:pt x="1658" y="872"/>
                  </a:lnTo>
                  <a:lnTo>
                    <a:pt x="1662" y="906"/>
                  </a:lnTo>
                  <a:lnTo>
                    <a:pt x="1666" y="940"/>
                  </a:lnTo>
                  <a:lnTo>
                    <a:pt x="1666" y="976"/>
                  </a:lnTo>
                  <a:lnTo>
                    <a:pt x="1666" y="976"/>
                  </a:lnTo>
                  <a:lnTo>
                    <a:pt x="1666" y="1012"/>
                  </a:lnTo>
                  <a:lnTo>
                    <a:pt x="1662" y="1047"/>
                  </a:lnTo>
                  <a:lnTo>
                    <a:pt x="1658" y="1081"/>
                  </a:lnTo>
                  <a:lnTo>
                    <a:pt x="1652" y="1115"/>
                  </a:lnTo>
                  <a:lnTo>
                    <a:pt x="1644" y="1149"/>
                  </a:lnTo>
                  <a:lnTo>
                    <a:pt x="1636" y="1181"/>
                  </a:lnTo>
                  <a:lnTo>
                    <a:pt x="1624" y="1215"/>
                  </a:lnTo>
                  <a:lnTo>
                    <a:pt x="1612" y="1245"/>
                  </a:lnTo>
                  <a:lnTo>
                    <a:pt x="1598" y="1275"/>
                  </a:lnTo>
                  <a:lnTo>
                    <a:pt x="1582" y="1305"/>
                  </a:lnTo>
                  <a:lnTo>
                    <a:pt x="1566" y="1335"/>
                  </a:lnTo>
                  <a:lnTo>
                    <a:pt x="1548" y="1363"/>
                  </a:lnTo>
                  <a:lnTo>
                    <a:pt x="1528" y="1389"/>
                  </a:lnTo>
                  <a:lnTo>
                    <a:pt x="1508" y="1415"/>
                  </a:lnTo>
                  <a:lnTo>
                    <a:pt x="1486" y="1441"/>
                  </a:lnTo>
                  <a:lnTo>
                    <a:pt x="1464" y="1465"/>
                  </a:lnTo>
                  <a:lnTo>
                    <a:pt x="1440" y="1487"/>
                  </a:lnTo>
                  <a:lnTo>
                    <a:pt x="1414" y="1509"/>
                  </a:lnTo>
                  <a:lnTo>
                    <a:pt x="1388" y="1529"/>
                  </a:lnTo>
                  <a:lnTo>
                    <a:pt x="1362" y="1549"/>
                  </a:lnTo>
                  <a:lnTo>
                    <a:pt x="1334" y="1567"/>
                  </a:lnTo>
                  <a:lnTo>
                    <a:pt x="1304" y="1583"/>
                  </a:lnTo>
                  <a:lnTo>
                    <a:pt x="1276" y="1599"/>
                  </a:lnTo>
                  <a:lnTo>
                    <a:pt x="1244" y="1613"/>
                  </a:lnTo>
                  <a:lnTo>
                    <a:pt x="1214" y="1625"/>
                  </a:lnTo>
                  <a:lnTo>
                    <a:pt x="1182" y="1635"/>
                  </a:lnTo>
                  <a:lnTo>
                    <a:pt x="1148" y="1645"/>
                  </a:lnTo>
                  <a:lnTo>
                    <a:pt x="1116" y="1653"/>
                  </a:lnTo>
                  <a:lnTo>
                    <a:pt x="1082" y="1659"/>
                  </a:lnTo>
                  <a:lnTo>
                    <a:pt x="1046" y="1663"/>
                  </a:lnTo>
                  <a:lnTo>
                    <a:pt x="1012" y="1667"/>
                  </a:lnTo>
                  <a:lnTo>
                    <a:pt x="976" y="1667"/>
                  </a:lnTo>
                  <a:lnTo>
                    <a:pt x="976" y="1667"/>
                  </a:lnTo>
                  <a:close/>
                </a:path>
              </a:pathLst>
            </a:custGeom>
            <a:grpFill/>
            <a:ln>
              <a:noFill/>
            </a:ln>
          </p:spPr>
          <p:txBody>
            <a:bodyPr spcFirstLastPara="1" wrap="square" lIns="58625" tIns="29300" rIns="58625" bIns="293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600"/>
                <a:buFont typeface="Arial"/>
                <a:buNone/>
                <a:tabLst/>
                <a:defRPr/>
              </a:pPr>
              <a:endParaRPr kumimoji="0" sz="6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90" name="Google Shape;735;g11dc8470dbd_0_200">
              <a:extLst>
                <a:ext uri="{FF2B5EF4-FFF2-40B4-BE49-F238E27FC236}">
                  <a16:creationId xmlns:a16="http://schemas.microsoft.com/office/drawing/2014/main" id="{DE16CB3A-BC5C-44F7-97BD-37F7D1553BDA}"/>
                </a:ext>
              </a:extLst>
            </p:cNvPr>
            <p:cNvSpPr/>
            <p:nvPr/>
          </p:nvSpPr>
          <p:spPr>
            <a:xfrm>
              <a:off x="4066" y="4465"/>
              <a:ext cx="578" cy="945"/>
            </a:xfrm>
            <a:custGeom>
              <a:avLst/>
              <a:gdLst/>
              <a:ahLst/>
              <a:cxnLst/>
              <a:rect l="l" t="t" r="r" b="b"/>
              <a:pathLst>
                <a:path w="578" h="945" extrusionOk="0">
                  <a:moveTo>
                    <a:pt x="552" y="514"/>
                  </a:moveTo>
                  <a:lnTo>
                    <a:pt x="552" y="514"/>
                  </a:lnTo>
                  <a:lnTo>
                    <a:pt x="540" y="498"/>
                  </a:lnTo>
                  <a:lnTo>
                    <a:pt x="526" y="482"/>
                  </a:lnTo>
                  <a:lnTo>
                    <a:pt x="510" y="466"/>
                  </a:lnTo>
                  <a:lnTo>
                    <a:pt x="490" y="450"/>
                  </a:lnTo>
                  <a:lnTo>
                    <a:pt x="490" y="450"/>
                  </a:lnTo>
                  <a:lnTo>
                    <a:pt x="468" y="436"/>
                  </a:lnTo>
                  <a:lnTo>
                    <a:pt x="440" y="422"/>
                  </a:lnTo>
                  <a:lnTo>
                    <a:pt x="408" y="410"/>
                  </a:lnTo>
                  <a:lnTo>
                    <a:pt x="372" y="398"/>
                  </a:lnTo>
                  <a:lnTo>
                    <a:pt x="372" y="398"/>
                  </a:lnTo>
                  <a:lnTo>
                    <a:pt x="344" y="392"/>
                  </a:lnTo>
                  <a:lnTo>
                    <a:pt x="344" y="392"/>
                  </a:lnTo>
                  <a:lnTo>
                    <a:pt x="318" y="386"/>
                  </a:lnTo>
                  <a:lnTo>
                    <a:pt x="318" y="202"/>
                  </a:lnTo>
                  <a:lnTo>
                    <a:pt x="318" y="202"/>
                  </a:lnTo>
                  <a:lnTo>
                    <a:pt x="336" y="204"/>
                  </a:lnTo>
                  <a:lnTo>
                    <a:pt x="352" y="208"/>
                  </a:lnTo>
                  <a:lnTo>
                    <a:pt x="366" y="218"/>
                  </a:lnTo>
                  <a:lnTo>
                    <a:pt x="380" y="230"/>
                  </a:lnTo>
                  <a:lnTo>
                    <a:pt x="380" y="230"/>
                  </a:lnTo>
                  <a:lnTo>
                    <a:pt x="390" y="246"/>
                  </a:lnTo>
                  <a:lnTo>
                    <a:pt x="398" y="262"/>
                  </a:lnTo>
                  <a:lnTo>
                    <a:pt x="404" y="282"/>
                  </a:lnTo>
                  <a:lnTo>
                    <a:pt x="406" y="302"/>
                  </a:lnTo>
                  <a:lnTo>
                    <a:pt x="552" y="302"/>
                  </a:lnTo>
                  <a:lnTo>
                    <a:pt x="552" y="302"/>
                  </a:lnTo>
                  <a:lnTo>
                    <a:pt x="550" y="276"/>
                  </a:lnTo>
                  <a:lnTo>
                    <a:pt x="544" y="250"/>
                  </a:lnTo>
                  <a:lnTo>
                    <a:pt x="538" y="228"/>
                  </a:lnTo>
                  <a:lnTo>
                    <a:pt x="530" y="208"/>
                  </a:lnTo>
                  <a:lnTo>
                    <a:pt x="530" y="208"/>
                  </a:lnTo>
                  <a:lnTo>
                    <a:pt x="518" y="188"/>
                  </a:lnTo>
                  <a:lnTo>
                    <a:pt x="506" y="172"/>
                  </a:lnTo>
                  <a:lnTo>
                    <a:pt x="494" y="156"/>
                  </a:lnTo>
                  <a:lnTo>
                    <a:pt x="478" y="142"/>
                  </a:lnTo>
                  <a:lnTo>
                    <a:pt x="478" y="142"/>
                  </a:lnTo>
                  <a:lnTo>
                    <a:pt x="462" y="130"/>
                  </a:lnTo>
                  <a:lnTo>
                    <a:pt x="446" y="118"/>
                  </a:lnTo>
                  <a:lnTo>
                    <a:pt x="426" y="108"/>
                  </a:lnTo>
                  <a:lnTo>
                    <a:pt x="406" y="100"/>
                  </a:lnTo>
                  <a:lnTo>
                    <a:pt x="406" y="100"/>
                  </a:lnTo>
                  <a:lnTo>
                    <a:pt x="386" y="94"/>
                  </a:lnTo>
                  <a:lnTo>
                    <a:pt x="364" y="88"/>
                  </a:lnTo>
                  <a:lnTo>
                    <a:pt x="342" y="84"/>
                  </a:lnTo>
                  <a:lnTo>
                    <a:pt x="318" y="80"/>
                  </a:lnTo>
                  <a:lnTo>
                    <a:pt x="318" y="0"/>
                  </a:lnTo>
                  <a:lnTo>
                    <a:pt x="258" y="0"/>
                  </a:lnTo>
                  <a:lnTo>
                    <a:pt x="258" y="80"/>
                  </a:lnTo>
                  <a:lnTo>
                    <a:pt x="258" y="80"/>
                  </a:lnTo>
                  <a:lnTo>
                    <a:pt x="234" y="82"/>
                  </a:lnTo>
                  <a:lnTo>
                    <a:pt x="212" y="86"/>
                  </a:lnTo>
                  <a:lnTo>
                    <a:pt x="190" y="92"/>
                  </a:lnTo>
                  <a:lnTo>
                    <a:pt x="168" y="98"/>
                  </a:lnTo>
                  <a:lnTo>
                    <a:pt x="168" y="98"/>
                  </a:lnTo>
                  <a:lnTo>
                    <a:pt x="146" y="106"/>
                  </a:lnTo>
                  <a:lnTo>
                    <a:pt x="126" y="116"/>
                  </a:lnTo>
                  <a:lnTo>
                    <a:pt x="108" y="128"/>
                  </a:lnTo>
                  <a:lnTo>
                    <a:pt x="90" y="140"/>
                  </a:lnTo>
                  <a:lnTo>
                    <a:pt x="90" y="140"/>
                  </a:lnTo>
                  <a:lnTo>
                    <a:pt x="76" y="156"/>
                  </a:lnTo>
                  <a:lnTo>
                    <a:pt x="60" y="172"/>
                  </a:lnTo>
                  <a:lnTo>
                    <a:pt x="48" y="190"/>
                  </a:lnTo>
                  <a:lnTo>
                    <a:pt x="38" y="208"/>
                  </a:lnTo>
                  <a:lnTo>
                    <a:pt x="38" y="208"/>
                  </a:lnTo>
                  <a:lnTo>
                    <a:pt x="28" y="230"/>
                  </a:lnTo>
                  <a:lnTo>
                    <a:pt x="22" y="252"/>
                  </a:lnTo>
                  <a:lnTo>
                    <a:pt x="18" y="276"/>
                  </a:lnTo>
                  <a:lnTo>
                    <a:pt x="18" y="302"/>
                  </a:lnTo>
                  <a:lnTo>
                    <a:pt x="18" y="302"/>
                  </a:lnTo>
                  <a:lnTo>
                    <a:pt x="18" y="328"/>
                  </a:lnTo>
                  <a:lnTo>
                    <a:pt x="22" y="350"/>
                  </a:lnTo>
                  <a:lnTo>
                    <a:pt x="28" y="370"/>
                  </a:lnTo>
                  <a:lnTo>
                    <a:pt x="34" y="388"/>
                  </a:lnTo>
                  <a:lnTo>
                    <a:pt x="34" y="388"/>
                  </a:lnTo>
                  <a:lnTo>
                    <a:pt x="44" y="406"/>
                  </a:lnTo>
                  <a:lnTo>
                    <a:pt x="56" y="420"/>
                  </a:lnTo>
                  <a:lnTo>
                    <a:pt x="68" y="434"/>
                  </a:lnTo>
                  <a:lnTo>
                    <a:pt x="82" y="446"/>
                  </a:lnTo>
                  <a:lnTo>
                    <a:pt x="82" y="446"/>
                  </a:lnTo>
                  <a:lnTo>
                    <a:pt x="98" y="458"/>
                  </a:lnTo>
                  <a:lnTo>
                    <a:pt x="114" y="468"/>
                  </a:lnTo>
                  <a:lnTo>
                    <a:pt x="130" y="476"/>
                  </a:lnTo>
                  <a:lnTo>
                    <a:pt x="148" y="484"/>
                  </a:lnTo>
                  <a:lnTo>
                    <a:pt x="148" y="484"/>
                  </a:lnTo>
                  <a:lnTo>
                    <a:pt x="186" y="498"/>
                  </a:lnTo>
                  <a:lnTo>
                    <a:pt x="224" y="508"/>
                  </a:lnTo>
                  <a:lnTo>
                    <a:pt x="224" y="508"/>
                  </a:lnTo>
                  <a:lnTo>
                    <a:pt x="244" y="514"/>
                  </a:lnTo>
                  <a:lnTo>
                    <a:pt x="244" y="514"/>
                  </a:lnTo>
                  <a:lnTo>
                    <a:pt x="258" y="518"/>
                  </a:lnTo>
                  <a:lnTo>
                    <a:pt x="258" y="735"/>
                  </a:lnTo>
                  <a:lnTo>
                    <a:pt x="258" y="735"/>
                  </a:lnTo>
                  <a:lnTo>
                    <a:pt x="234" y="729"/>
                  </a:lnTo>
                  <a:lnTo>
                    <a:pt x="214" y="721"/>
                  </a:lnTo>
                  <a:lnTo>
                    <a:pt x="194" y="707"/>
                  </a:lnTo>
                  <a:lnTo>
                    <a:pt x="178" y="693"/>
                  </a:lnTo>
                  <a:lnTo>
                    <a:pt x="178" y="693"/>
                  </a:lnTo>
                  <a:lnTo>
                    <a:pt x="170" y="683"/>
                  </a:lnTo>
                  <a:lnTo>
                    <a:pt x="164" y="673"/>
                  </a:lnTo>
                  <a:lnTo>
                    <a:pt x="158" y="663"/>
                  </a:lnTo>
                  <a:lnTo>
                    <a:pt x="154" y="651"/>
                  </a:lnTo>
                  <a:lnTo>
                    <a:pt x="148" y="627"/>
                  </a:lnTo>
                  <a:lnTo>
                    <a:pt x="146" y="599"/>
                  </a:lnTo>
                  <a:lnTo>
                    <a:pt x="0" y="599"/>
                  </a:lnTo>
                  <a:lnTo>
                    <a:pt x="0" y="599"/>
                  </a:lnTo>
                  <a:lnTo>
                    <a:pt x="4" y="629"/>
                  </a:lnTo>
                  <a:lnTo>
                    <a:pt x="10" y="657"/>
                  </a:lnTo>
                  <a:lnTo>
                    <a:pt x="16" y="683"/>
                  </a:lnTo>
                  <a:lnTo>
                    <a:pt x="24" y="707"/>
                  </a:lnTo>
                  <a:lnTo>
                    <a:pt x="36" y="729"/>
                  </a:lnTo>
                  <a:lnTo>
                    <a:pt x="48" y="749"/>
                  </a:lnTo>
                  <a:lnTo>
                    <a:pt x="60" y="767"/>
                  </a:lnTo>
                  <a:lnTo>
                    <a:pt x="76" y="785"/>
                  </a:lnTo>
                  <a:lnTo>
                    <a:pt x="76" y="785"/>
                  </a:lnTo>
                  <a:lnTo>
                    <a:pt x="94" y="799"/>
                  </a:lnTo>
                  <a:lnTo>
                    <a:pt x="112" y="813"/>
                  </a:lnTo>
                  <a:lnTo>
                    <a:pt x="132" y="825"/>
                  </a:lnTo>
                  <a:lnTo>
                    <a:pt x="154" y="833"/>
                  </a:lnTo>
                  <a:lnTo>
                    <a:pt x="178" y="841"/>
                  </a:lnTo>
                  <a:lnTo>
                    <a:pt x="202" y="849"/>
                  </a:lnTo>
                  <a:lnTo>
                    <a:pt x="230" y="853"/>
                  </a:lnTo>
                  <a:lnTo>
                    <a:pt x="258" y="855"/>
                  </a:lnTo>
                  <a:lnTo>
                    <a:pt x="258" y="945"/>
                  </a:lnTo>
                  <a:lnTo>
                    <a:pt x="318" y="945"/>
                  </a:lnTo>
                  <a:lnTo>
                    <a:pt x="318" y="855"/>
                  </a:lnTo>
                  <a:lnTo>
                    <a:pt x="318" y="855"/>
                  </a:lnTo>
                  <a:lnTo>
                    <a:pt x="356" y="851"/>
                  </a:lnTo>
                  <a:lnTo>
                    <a:pt x="390" y="845"/>
                  </a:lnTo>
                  <a:lnTo>
                    <a:pt x="420" y="837"/>
                  </a:lnTo>
                  <a:lnTo>
                    <a:pt x="446" y="825"/>
                  </a:lnTo>
                  <a:lnTo>
                    <a:pt x="446" y="825"/>
                  </a:lnTo>
                  <a:lnTo>
                    <a:pt x="470" y="811"/>
                  </a:lnTo>
                  <a:lnTo>
                    <a:pt x="492" y="797"/>
                  </a:lnTo>
                  <a:lnTo>
                    <a:pt x="510" y="781"/>
                  </a:lnTo>
                  <a:lnTo>
                    <a:pt x="526" y="765"/>
                  </a:lnTo>
                  <a:lnTo>
                    <a:pt x="526" y="765"/>
                  </a:lnTo>
                  <a:lnTo>
                    <a:pt x="540" y="749"/>
                  </a:lnTo>
                  <a:lnTo>
                    <a:pt x="550" y="733"/>
                  </a:lnTo>
                  <a:lnTo>
                    <a:pt x="560" y="715"/>
                  </a:lnTo>
                  <a:lnTo>
                    <a:pt x="566" y="697"/>
                  </a:lnTo>
                  <a:lnTo>
                    <a:pt x="566" y="697"/>
                  </a:lnTo>
                  <a:lnTo>
                    <a:pt x="576" y="667"/>
                  </a:lnTo>
                  <a:lnTo>
                    <a:pt x="578" y="653"/>
                  </a:lnTo>
                  <a:lnTo>
                    <a:pt x="578" y="641"/>
                  </a:lnTo>
                  <a:lnTo>
                    <a:pt x="578" y="641"/>
                  </a:lnTo>
                  <a:lnTo>
                    <a:pt x="578" y="613"/>
                  </a:lnTo>
                  <a:lnTo>
                    <a:pt x="574" y="581"/>
                  </a:lnTo>
                  <a:lnTo>
                    <a:pt x="574" y="581"/>
                  </a:lnTo>
                  <a:lnTo>
                    <a:pt x="572" y="565"/>
                  </a:lnTo>
                  <a:lnTo>
                    <a:pt x="566" y="546"/>
                  </a:lnTo>
                  <a:lnTo>
                    <a:pt x="560" y="530"/>
                  </a:lnTo>
                  <a:lnTo>
                    <a:pt x="552" y="514"/>
                  </a:lnTo>
                  <a:lnTo>
                    <a:pt x="552" y="514"/>
                  </a:lnTo>
                  <a:close/>
                  <a:moveTo>
                    <a:pt x="258" y="370"/>
                  </a:moveTo>
                  <a:lnTo>
                    <a:pt x="258" y="370"/>
                  </a:lnTo>
                  <a:lnTo>
                    <a:pt x="234" y="364"/>
                  </a:lnTo>
                  <a:lnTo>
                    <a:pt x="216" y="358"/>
                  </a:lnTo>
                  <a:lnTo>
                    <a:pt x="198" y="350"/>
                  </a:lnTo>
                  <a:lnTo>
                    <a:pt x="186" y="340"/>
                  </a:lnTo>
                  <a:lnTo>
                    <a:pt x="186" y="340"/>
                  </a:lnTo>
                  <a:lnTo>
                    <a:pt x="176" y="330"/>
                  </a:lnTo>
                  <a:lnTo>
                    <a:pt x="170" y="318"/>
                  </a:lnTo>
                  <a:lnTo>
                    <a:pt x="166" y="304"/>
                  </a:lnTo>
                  <a:lnTo>
                    <a:pt x="164" y="288"/>
                  </a:lnTo>
                  <a:lnTo>
                    <a:pt x="164" y="288"/>
                  </a:lnTo>
                  <a:lnTo>
                    <a:pt x="166" y="268"/>
                  </a:lnTo>
                  <a:lnTo>
                    <a:pt x="172" y="250"/>
                  </a:lnTo>
                  <a:lnTo>
                    <a:pt x="172" y="250"/>
                  </a:lnTo>
                  <a:lnTo>
                    <a:pt x="182" y="236"/>
                  </a:lnTo>
                  <a:lnTo>
                    <a:pt x="194" y="222"/>
                  </a:lnTo>
                  <a:lnTo>
                    <a:pt x="194" y="222"/>
                  </a:lnTo>
                  <a:lnTo>
                    <a:pt x="208" y="214"/>
                  </a:lnTo>
                  <a:lnTo>
                    <a:pt x="224" y="206"/>
                  </a:lnTo>
                  <a:lnTo>
                    <a:pt x="224" y="206"/>
                  </a:lnTo>
                  <a:lnTo>
                    <a:pt x="240" y="202"/>
                  </a:lnTo>
                  <a:lnTo>
                    <a:pt x="258" y="202"/>
                  </a:lnTo>
                  <a:lnTo>
                    <a:pt x="258" y="370"/>
                  </a:lnTo>
                  <a:close/>
                  <a:moveTo>
                    <a:pt x="420" y="677"/>
                  </a:moveTo>
                  <a:lnTo>
                    <a:pt x="420" y="677"/>
                  </a:lnTo>
                  <a:lnTo>
                    <a:pt x="408" y="693"/>
                  </a:lnTo>
                  <a:lnTo>
                    <a:pt x="394" y="707"/>
                  </a:lnTo>
                  <a:lnTo>
                    <a:pt x="394" y="707"/>
                  </a:lnTo>
                  <a:lnTo>
                    <a:pt x="378" y="719"/>
                  </a:lnTo>
                  <a:lnTo>
                    <a:pt x="358" y="727"/>
                  </a:lnTo>
                  <a:lnTo>
                    <a:pt x="358" y="727"/>
                  </a:lnTo>
                  <a:lnTo>
                    <a:pt x="338" y="733"/>
                  </a:lnTo>
                  <a:lnTo>
                    <a:pt x="318" y="735"/>
                  </a:lnTo>
                  <a:lnTo>
                    <a:pt x="318" y="536"/>
                  </a:lnTo>
                  <a:lnTo>
                    <a:pt x="318" y="536"/>
                  </a:lnTo>
                  <a:lnTo>
                    <a:pt x="348" y="544"/>
                  </a:lnTo>
                  <a:lnTo>
                    <a:pt x="372" y="554"/>
                  </a:lnTo>
                  <a:lnTo>
                    <a:pt x="390" y="562"/>
                  </a:lnTo>
                  <a:lnTo>
                    <a:pt x="406" y="573"/>
                  </a:lnTo>
                  <a:lnTo>
                    <a:pt x="406" y="573"/>
                  </a:lnTo>
                  <a:lnTo>
                    <a:pt x="416" y="585"/>
                  </a:lnTo>
                  <a:lnTo>
                    <a:pt x="424" y="599"/>
                  </a:lnTo>
                  <a:lnTo>
                    <a:pt x="430" y="615"/>
                  </a:lnTo>
                  <a:lnTo>
                    <a:pt x="430" y="635"/>
                  </a:lnTo>
                  <a:lnTo>
                    <a:pt x="430" y="635"/>
                  </a:lnTo>
                  <a:lnTo>
                    <a:pt x="430" y="647"/>
                  </a:lnTo>
                  <a:lnTo>
                    <a:pt x="428" y="657"/>
                  </a:lnTo>
                  <a:lnTo>
                    <a:pt x="426" y="667"/>
                  </a:lnTo>
                  <a:lnTo>
                    <a:pt x="420" y="677"/>
                  </a:lnTo>
                  <a:lnTo>
                    <a:pt x="420" y="677"/>
                  </a:lnTo>
                  <a:close/>
                </a:path>
              </a:pathLst>
            </a:custGeom>
            <a:grpFill/>
            <a:ln>
              <a:noFill/>
            </a:ln>
          </p:spPr>
          <p:txBody>
            <a:bodyPr spcFirstLastPara="1" wrap="square" lIns="58625" tIns="29300" rIns="58625" bIns="293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600"/>
                <a:buFont typeface="Arial"/>
                <a:buNone/>
                <a:tabLst/>
                <a:defRPr/>
              </a:pPr>
              <a:endParaRPr kumimoji="0" sz="60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sp>
        <p:nvSpPr>
          <p:cNvPr id="91" name="Google Shape;736;g11dc8470dbd_0_200">
            <a:extLst>
              <a:ext uri="{FF2B5EF4-FFF2-40B4-BE49-F238E27FC236}">
                <a16:creationId xmlns:a16="http://schemas.microsoft.com/office/drawing/2014/main" id="{CD8E3103-D0A9-48F3-BAF2-DF12C85F497B}"/>
              </a:ext>
            </a:extLst>
          </p:cNvPr>
          <p:cNvSpPr/>
          <p:nvPr/>
        </p:nvSpPr>
        <p:spPr>
          <a:xfrm>
            <a:off x="4033135" y="1943699"/>
            <a:ext cx="170866" cy="170841"/>
          </a:xfrm>
          <a:custGeom>
            <a:avLst/>
            <a:gdLst/>
            <a:ahLst/>
            <a:cxnLst/>
            <a:rect l="l" t="t" r="r" b="b"/>
            <a:pathLst>
              <a:path w="6709" h="6708" extrusionOk="0">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chemeClr val="accent5"/>
          </a:solidFill>
          <a:ln>
            <a:noFill/>
          </a:ln>
        </p:spPr>
        <p:txBody>
          <a:bodyPr spcFirstLastPara="1" wrap="square" lIns="58625" tIns="29300" rIns="58625" bIns="293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600"/>
              <a:buFont typeface="Arial"/>
              <a:buNone/>
              <a:tabLst/>
              <a:defRPr/>
            </a:pPr>
            <a:endParaRPr kumimoji="0" sz="6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92" name="Google Shape;765;g11dc8470dbd_0_200">
            <a:extLst>
              <a:ext uri="{FF2B5EF4-FFF2-40B4-BE49-F238E27FC236}">
                <a16:creationId xmlns:a16="http://schemas.microsoft.com/office/drawing/2014/main" id="{ABC3EFBE-72C9-4BE2-AC1B-281E8B7B0330}"/>
              </a:ext>
            </a:extLst>
          </p:cNvPr>
          <p:cNvSpPr/>
          <p:nvPr/>
        </p:nvSpPr>
        <p:spPr>
          <a:xfrm>
            <a:off x="5112742" y="1950885"/>
            <a:ext cx="170563" cy="170563"/>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accent5"/>
          </a:solid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endParaRPr kumimoji="0" sz="1050" b="0" i="0" u="none" strike="noStrike" kern="120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8788936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5">
            <a:extLst>
              <a:ext uri="{FF2B5EF4-FFF2-40B4-BE49-F238E27FC236}">
                <a16:creationId xmlns:a16="http://schemas.microsoft.com/office/drawing/2014/main" id="{5870E232-D003-4CA1-A8D9-D94BABA34DEF}"/>
              </a:ext>
            </a:extLst>
          </p:cNvPr>
          <p:cNvSpPr txBox="1">
            <a:spLocks/>
          </p:cNvSpPr>
          <p:nvPr/>
        </p:nvSpPr>
        <p:spPr>
          <a:xfrm>
            <a:off x="9034656" y="1550566"/>
            <a:ext cx="801591" cy="292926"/>
          </a:xfrm>
          <a:prstGeom prst="rect">
            <a:avLst/>
          </a:prstGeom>
          <a:solidFill>
            <a:schemeClr val="accent4"/>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14" name="Content Placeholder 5">
            <a:extLst>
              <a:ext uri="{FF2B5EF4-FFF2-40B4-BE49-F238E27FC236}">
                <a16:creationId xmlns:a16="http://schemas.microsoft.com/office/drawing/2014/main" id="{4470D185-C766-46EF-A125-75624AF98EBC}"/>
              </a:ext>
            </a:extLst>
          </p:cNvPr>
          <p:cNvSpPr txBox="1">
            <a:spLocks/>
          </p:cNvSpPr>
          <p:nvPr/>
        </p:nvSpPr>
        <p:spPr>
          <a:xfrm>
            <a:off x="9974807" y="1550566"/>
            <a:ext cx="803702" cy="292926"/>
          </a:xfrm>
          <a:prstGeom prst="rect">
            <a:avLst/>
          </a:prstGeom>
          <a:solidFill>
            <a:schemeClr val="accent4"/>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15" name="Content Placeholder 5">
            <a:extLst>
              <a:ext uri="{FF2B5EF4-FFF2-40B4-BE49-F238E27FC236}">
                <a16:creationId xmlns:a16="http://schemas.microsoft.com/office/drawing/2014/main" id="{013C6C8A-83C0-419B-86B9-8586C159A76A}"/>
              </a:ext>
            </a:extLst>
          </p:cNvPr>
          <p:cNvSpPr txBox="1">
            <a:spLocks/>
          </p:cNvSpPr>
          <p:nvPr/>
        </p:nvSpPr>
        <p:spPr>
          <a:xfrm>
            <a:off x="10917069" y="1550566"/>
            <a:ext cx="803702" cy="292926"/>
          </a:xfrm>
          <a:prstGeom prst="rect">
            <a:avLst/>
          </a:prstGeom>
          <a:solidFill>
            <a:schemeClr val="accent4"/>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17" name="Content Placeholder 5">
            <a:extLst>
              <a:ext uri="{FF2B5EF4-FFF2-40B4-BE49-F238E27FC236}">
                <a16:creationId xmlns:a16="http://schemas.microsoft.com/office/drawing/2014/main" id="{7686E180-D2D1-4CE7-8BD4-FEA36056680C}"/>
              </a:ext>
            </a:extLst>
          </p:cNvPr>
          <p:cNvSpPr txBox="1">
            <a:spLocks/>
          </p:cNvSpPr>
          <p:nvPr/>
        </p:nvSpPr>
        <p:spPr>
          <a:xfrm>
            <a:off x="9034656" y="1912516"/>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18" name="Content Placeholder 5">
            <a:extLst>
              <a:ext uri="{FF2B5EF4-FFF2-40B4-BE49-F238E27FC236}">
                <a16:creationId xmlns:a16="http://schemas.microsoft.com/office/drawing/2014/main" id="{71B7A96D-3FED-4268-BBD0-576621896B84}"/>
              </a:ext>
            </a:extLst>
          </p:cNvPr>
          <p:cNvSpPr txBox="1">
            <a:spLocks/>
          </p:cNvSpPr>
          <p:nvPr/>
        </p:nvSpPr>
        <p:spPr>
          <a:xfrm>
            <a:off x="9974807" y="191251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19" name="Content Placeholder 5">
            <a:extLst>
              <a:ext uri="{FF2B5EF4-FFF2-40B4-BE49-F238E27FC236}">
                <a16:creationId xmlns:a16="http://schemas.microsoft.com/office/drawing/2014/main" id="{889BED95-01FF-49F4-86E5-FA6477B39E63}"/>
              </a:ext>
            </a:extLst>
          </p:cNvPr>
          <p:cNvSpPr txBox="1">
            <a:spLocks/>
          </p:cNvSpPr>
          <p:nvPr/>
        </p:nvSpPr>
        <p:spPr>
          <a:xfrm>
            <a:off x="10917069" y="191251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20" name="Content Placeholder 5">
            <a:extLst>
              <a:ext uri="{FF2B5EF4-FFF2-40B4-BE49-F238E27FC236}">
                <a16:creationId xmlns:a16="http://schemas.microsoft.com/office/drawing/2014/main" id="{AF892BD5-EC5F-47B2-BE30-1369E2053A33}"/>
              </a:ext>
            </a:extLst>
          </p:cNvPr>
          <p:cNvSpPr txBox="1">
            <a:spLocks/>
          </p:cNvSpPr>
          <p:nvPr/>
        </p:nvSpPr>
        <p:spPr>
          <a:xfrm>
            <a:off x="495256" y="1561803"/>
            <a:ext cx="8432392" cy="292926"/>
          </a:xfrm>
          <a:prstGeom prst="rect">
            <a:avLst/>
          </a:prstGeom>
          <a:solidFill>
            <a:schemeClr val="accent4"/>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43" name="Title 4">
            <a:extLst>
              <a:ext uri="{FF2B5EF4-FFF2-40B4-BE49-F238E27FC236}">
                <a16:creationId xmlns:a16="http://schemas.microsoft.com/office/drawing/2014/main" id="{8849F320-65DA-423D-9DEE-58D8681D9D6B}"/>
              </a:ext>
            </a:extLst>
          </p:cNvPr>
          <p:cNvSpPr txBox="1">
            <a:spLocks/>
          </p:cNvSpPr>
          <p:nvPr/>
        </p:nvSpPr>
        <p:spPr>
          <a:xfrm>
            <a:off x="1659481" y="252901"/>
            <a:ext cx="6992824" cy="1376364"/>
          </a:xfrm>
          <a:prstGeom prst="rect">
            <a:avLst/>
          </a:prstGeom>
        </p:spPr>
        <p:txBody>
          <a:bodyPr vert="horz" lIns="0" tIns="0" rIns="0" bIns="0" rtlCol="0" anchor="ctr">
            <a:no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r>
              <a:rPr lang="en-US" dirty="0">
                <a:solidFill>
                  <a:srgbClr val="539250"/>
                </a:solidFill>
                <a:cs typeface="Calibri"/>
              </a:rPr>
              <a:t>Growth</a:t>
            </a:r>
          </a:p>
        </p:txBody>
      </p:sp>
      <p:pic>
        <p:nvPicPr>
          <p:cNvPr id="44" name="Picture 43">
            <a:extLst>
              <a:ext uri="{FF2B5EF4-FFF2-40B4-BE49-F238E27FC236}">
                <a16:creationId xmlns:a16="http://schemas.microsoft.com/office/drawing/2014/main" id="{F15640CA-820E-46F8-BEF4-8848572ABFF5}"/>
              </a:ext>
            </a:extLst>
          </p:cNvPr>
          <p:cNvPicPr>
            <a:picLocks noChangeAspect="1"/>
          </p:cNvPicPr>
          <p:nvPr/>
        </p:nvPicPr>
        <p:blipFill>
          <a:blip r:embed="rId3"/>
          <a:stretch>
            <a:fillRect/>
          </a:stretch>
        </p:blipFill>
        <p:spPr>
          <a:xfrm>
            <a:off x="495256" y="469356"/>
            <a:ext cx="921600" cy="795928"/>
          </a:xfrm>
          <a:prstGeom prst="rect">
            <a:avLst/>
          </a:prstGeom>
        </p:spPr>
      </p:pic>
      <p:sp>
        <p:nvSpPr>
          <p:cNvPr id="47" name="Google Shape;2328;p209">
            <a:extLst>
              <a:ext uri="{FF2B5EF4-FFF2-40B4-BE49-F238E27FC236}">
                <a16:creationId xmlns:a16="http://schemas.microsoft.com/office/drawing/2014/main" id="{E975E6F4-0A73-4C78-820C-85929F9F0094}"/>
              </a:ext>
            </a:extLst>
          </p:cNvPr>
          <p:cNvSpPr/>
          <p:nvPr/>
        </p:nvSpPr>
        <p:spPr>
          <a:xfrm>
            <a:off x="495256" y="1912516"/>
            <a:ext cx="8400840" cy="4026060"/>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a:lnSpc>
                <a:spcPct val="100000"/>
              </a:lnSpc>
              <a:spcBef>
                <a:spcPts val="300"/>
              </a:spcBef>
              <a:buClr>
                <a:schemeClr val="tx1"/>
              </a:buClr>
              <a:tabLst>
                <a:tab pos="363538" algn="l"/>
              </a:tabLst>
              <a:defRPr/>
            </a:pPr>
            <a:r>
              <a:rPr lang="en-AU" sz="1100" b="1" dirty="0">
                <a:solidFill>
                  <a:srgbClr val="539250"/>
                </a:solidFill>
              </a:rPr>
              <a:t>G1	Enable increased flexibility into the future by cross skilling the operational workforce</a:t>
            </a:r>
            <a:r>
              <a:rPr lang="en-AU" sz="1100" b="1" dirty="0">
                <a:solidFill>
                  <a:prstClr val="black"/>
                </a:solidFill>
              </a:rPr>
              <a:t> </a:t>
            </a:r>
            <a:r>
              <a:rPr lang="en-AU" sz="1100" b="0" dirty="0">
                <a:solidFill>
                  <a:prstClr val="black"/>
                </a:solidFill>
              </a:rPr>
              <a:t>to develop capability and </a:t>
            </a:r>
            <a:r>
              <a:rPr lang="en-AU" sz="1100" b="0" dirty="0" smtClean="0">
                <a:solidFill>
                  <a:prstClr val="black"/>
                </a:solidFill>
              </a:rPr>
              <a:t>an </a:t>
            </a:r>
            <a:r>
              <a:rPr lang="en-AU" sz="1100" b="1" dirty="0" smtClean="0">
                <a:solidFill>
                  <a:srgbClr val="539250"/>
                </a:solidFill>
              </a:rPr>
              <a:t>understanding </a:t>
            </a:r>
            <a:r>
              <a:rPr lang="en-AU" sz="1100" b="1" dirty="0">
                <a:solidFill>
                  <a:srgbClr val="539250"/>
                </a:solidFill>
              </a:rPr>
              <a:t>of </a:t>
            </a:r>
            <a:r>
              <a:rPr lang="en-AU" sz="1100" b="1" dirty="0" smtClean="0">
                <a:solidFill>
                  <a:srgbClr val="539250"/>
                </a:solidFill>
              </a:rPr>
              <a:t>	roles</a:t>
            </a:r>
            <a:r>
              <a:rPr lang="en-AU" sz="1100" b="1" dirty="0">
                <a:solidFill>
                  <a:srgbClr val="539250"/>
                </a:solidFill>
              </a:rPr>
              <a:t>, </a:t>
            </a:r>
            <a:r>
              <a:rPr lang="en-AU" sz="1100" b="1" dirty="0" smtClean="0">
                <a:solidFill>
                  <a:srgbClr val="539250"/>
                </a:solidFill>
              </a:rPr>
              <a:t>responsibilities </a:t>
            </a:r>
            <a:r>
              <a:rPr lang="en-AU" sz="1100" b="1" dirty="0">
                <a:solidFill>
                  <a:srgbClr val="539250"/>
                </a:solidFill>
              </a:rPr>
              <a:t>and activities across business units</a:t>
            </a:r>
            <a:r>
              <a:rPr lang="en-AU" sz="1100" b="1" dirty="0">
                <a:solidFill>
                  <a:prstClr val="black"/>
                </a:solidFill>
              </a:rPr>
              <a:t> </a:t>
            </a:r>
            <a:r>
              <a:rPr lang="en-AU" sz="1100" b="0" dirty="0">
                <a:solidFill>
                  <a:prstClr val="black"/>
                </a:solidFill>
              </a:rPr>
              <a:t>to support cross functional skill </a:t>
            </a:r>
            <a:r>
              <a:rPr lang="en-AU" sz="1100" b="0" dirty="0" smtClean="0">
                <a:solidFill>
                  <a:prstClr val="black"/>
                </a:solidFill>
              </a:rPr>
              <a:t>transfer</a:t>
            </a:r>
            <a:endParaRPr lang="en-AU" sz="1100" b="0" dirty="0">
              <a:solidFill>
                <a:prstClr val="black"/>
              </a:solidFill>
            </a:endParaRPr>
          </a:p>
          <a:p>
            <a:pPr>
              <a:spcBef>
                <a:spcPts val="300"/>
              </a:spcBef>
              <a:buClr>
                <a:schemeClr val="tx1"/>
              </a:buClr>
              <a:tabLst>
                <a:tab pos="363538" algn="l"/>
              </a:tabLst>
              <a:defRPr/>
            </a:pPr>
            <a:r>
              <a:rPr lang="en-US" sz="1100" b="1" i="0" u="none" strike="noStrike" cap="none" dirty="0">
                <a:solidFill>
                  <a:schemeClr val="accent4"/>
                </a:solidFill>
                <a:ea typeface="Arial"/>
                <a:cs typeface="Arial"/>
                <a:sym typeface="Arial"/>
              </a:rPr>
              <a:t>G2	</a:t>
            </a:r>
            <a:r>
              <a:rPr lang="en-US" sz="1100" i="0" u="none" strike="noStrike" cap="none" dirty="0">
                <a:ea typeface="Arial"/>
                <a:cs typeface="Arial"/>
                <a:sym typeface="Arial"/>
              </a:rPr>
              <a:t>Explore </a:t>
            </a:r>
            <a:r>
              <a:rPr lang="en-US" sz="1100" b="1" i="0" u="none" strike="noStrike" cap="none" dirty="0">
                <a:solidFill>
                  <a:schemeClr val="accent4"/>
                </a:solidFill>
                <a:ea typeface="Arial"/>
                <a:cs typeface="Arial"/>
                <a:sym typeface="Arial"/>
              </a:rPr>
              <a:t>new informal, employee-led communication channels </a:t>
            </a:r>
            <a:r>
              <a:rPr lang="en-US" sz="1100" i="0" u="none" strike="noStrike" cap="none" dirty="0">
                <a:ea typeface="Arial"/>
                <a:cs typeface="Arial"/>
                <a:sym typeface="Arial"/>
              </a:rPr>
              <a:t>at a </a:t>
            </a:r>
            <a:r>
              <a:rPr lang="en-US" sz="1100" dirty="0">
                <a:ea typeface="Arial"/>
                <a:cs typeface="Arial"/>
                <a:sym typeface="Arial"/>
              </a:rPr>
              <a:t>national level, p</a:t>
            </a:r>
            <a:r>
              <a:rPr lang="en-US" sz="1100" i="0" u="none" strike="noStrike" cap="none" dirty="0">
                <a:ea typeface="Arial"/>
                <a:cs typeface="Arial"/>
                <a:sym typeface="Arial"/>
              </a:rPr>
              <a:t>ilot ‘All Hands’ engagement, learning circles/’learning 	bites’, panel discussions, </a:t>
            </a:r>
            <a:r>
              <a:rPr lang="en-AU" sz="1100" dirty="0">
                <a:cs typeface="Arial"/>
              </a:rPr>
              <a:t>‘One Commission’ recorded webcasts, </a:t>
            </a:r>
            <a:r>
              <a:rPr lang="en-AU" sz="1100" dirty="0" smtClean="0">
                <a:cs typeface="Arial"/>
              </a:rPr>
              <a:t>and </a:t>
            </a:r>
            <a:r>
              <a:rPr lang="en-US" sz="1100" i="0" u="none" strike="noStrike" cap="none" dirty="0" smtClean="0">
                <a:ea typeface="Arial"/>
                <a:cs typeface="Arial"/>
                <a:sym typeface="Arial"/>
              </a:rPr>
              <a:t>cross functional meet-ups </a:t>
            </a:r>
            <a:r>
              <a:rPr lang="en-US" sz="1100" i="0" u="none" strike="noStrike" cap="none" dirty="0">
                <a:ea typeface="Arial"/>
                <a:cs typeface="Arial"/>
                <a:sym typeface="Arial"/>
              </a:rPr>
              <a:t>to support professional development</a:t>
            </a:r>
            <a:r>
              <a:rPr lang="en-US" sz="1100" i="0" u="none" strike="noStrike" cap="none" dirty="0" smtClean="0">
                <a:ea typeface="Arial"/>
                <a:cs typeface="Arial"/>
                <a:sym typeface="Arial"/>
              </a:rPr>
              <a:t>, and 	understanding while </a:t>
            </a:r>
            <a:r>
              <a:rPr lang="en-US" sz="1100" i="0" u="none" strike="noStrike" cap="none" dirty="0">
                <a:ea typeface="Arial"/>
                <a:cs typeface="Arial"/>
                <a:sym typeface="Arial"/>
              </a:rPr>
              <a:t>encouraging </a:t>
            </a:r>
            <a:r>
              <a:rPr lang="en-US" sz="1100" i="0" u="none" strike="noStrike" cap="none" dirty="0" smtClean="0">
                <a:ea typeface="Arial"/>
                <a:cs typeface="Arial"/>
                <a:sym typeface="Arial"/>
              </a:rPr>
              <a:t>connection, </a:t>
            </a:r>
            <a:r>
              <a:rPr lang="en-US" sz="1100" i="0" u="none" strike="noStrike" cap="none" dirty="0">
                <a:ea typeface="Arial"/>
                <a:cs typeface="Arial"/>
                <a:sym typeface="Arial"/>
              </a:rPr>
              <a:t>informal learning and growth</a:t>
            </a:r>
          </a:p>
          <a:p>
            <a:pPr>
              <a:lnSpc>
                <a:spcPct val="100000"/>
              </a:lnSpc>
              <a:spcBef>
                <a:spcPts val="300"/>
              </a:spcBef>
              <a:buClr>
                <a:schemeClr val="tx1"/>
              </a:buClr>
              <a:tabLst>
                <a:tab pos="354013" algn="l"/>
              </a:tabLst>
              <a:defRPr/>
            </a:pPr>
            <a:r>
              <a:rPr lang="en-US" sz="1100" b="1" i="0" u="none" strike="noStrike" cap="none" dirty="0">
                <a:solidFill>
                  <a:schemeClr val="accent4"/>
                </a:solidFill>
                <a:ea typeface="Arial"/>
                <a:cs typeface="Arial"/>
                <a:sym typeface="Arial"/>
              </a:rPr>
              <a:t>G3 	</a:t>
            </a:r>
            <a:r>
              <a:rPr lang="en-AU" sz="1100" b="0" dirty="0">
                <a:solidFill>
                  <a:prstClr val="black"/>
                </a:solidFill>
              </a:rPr>
              <a:t>Review and refine current </a:t>
            </a:r>
            <a:r>
              <a:rPr lang="en-AU" sz="1100" b="1" dirty="0">
                <a:solidFill>
                  <a:srgbClr val="539250"/>
                </a:solidFill>
              </a:rPr>
              <a:t>recruitment approaches ensuring a diverse talent pool </a:t>
            </a:r>
            <a:r>
              <a:rPr lang="en-AU" sz="1100" b="0" dirty="0">
                <a:solidFill>
                  <a:prstClr val="black"/>
                </a:solidFill>
              </a:rPr>
              <a:t>by appealing to and targeting different segments of the 	labour market including showcasing the career paths and roles across the </a:t>
            </a:r>
            <a:r>
              <a:rPr lang="en-AU" sz="1100" b="0" dirty="0" smtClean="0">
                <a:solidFill>
                  <a:prstClr val="black"/>
                </a:solidFill>
              </a:rPr>
              <a:t>Commission, </a:t>
            </a:r>
            <a:r>
              <a:rPr lang="en-AU" sz="1100" b="0" dirty="0">
                <a:solidFill>
                  <a:prstClr val="black"/>
                </a:solidFill>
              </a:rPr>
              <a:t>drawing on existing early career programs 	and initiatives across the APS </a:t>
            </a:r>
          </a:p>
          <a:p>
            <a:pPr>
              <a:lnSpc>
                <a:spcPct val="100000"/>
              </a:lnSpc>
              <a:spcBef>
                <a:spcPts val="300"/>
              </a:spcBef>
              <a:buClr>
                <a:schemeClr val="tx1"/>
              </a:buClr>
              <a:tabLst>
                <a:tab pos="354013" algn="l"/>
              </a:tabLst>
              <a:defRPr/>
            </a:pPr>
            <a:r>
              <a:rPr lang="en-US" sz="1100" b="1" i="0" u="none" strike="noStrike" cap="none" dirty="0">
                <a:solidFill>
                  <a:schemeClr val="accent4"/>
                </a:solidFill>
                <a:ea typeface="Arial"/>
                <a:cs typeface="Arial"/>
                <a:sym typeface="Arial"/>
              </a:rPr>
              <a:t>G4	</a:t>
            </a:r>
            <a:r>
              <a:rPr lang="en-AU" sz="1100" b="0" dirty="0"/>
              <a:t>Develop and design </a:t>
            </a:r>
            <a:r>
              <a:rPr lang="en-AU" sz="1100" b="1" dirty="0">
                <a:solidFill>
                  <a:srgbClr val="539250"/>
                </a:solidFill>
              </a:rPr>
              <a:t>sustainable career pathways </a:t>
            </a:r>
            <a:r>
              <a:rPr lang="en-AU" sz="1100" dirty="0">
                <a:solidFill>
                  <a:prstClr val="black"/>
                </a:solidFill>
              </a:rPr>
              <a:t>from entry to advanced roles, </a:t>
            </a:r>
            <a:r>
              <a:rPr lang="en-AU" sz="1100" dirty="0" smtClean="0">
                <a:solidFill>
                  <a:prstClr val="black"/>
                </a:solidFill>
              </a:rPr>
              <a:t>considering cross-skilling</a:t>
            </a:r>
            <a:r>
              <a:rPr lang="en-AU" sz="1100" dirty="0">
                <a:solidFill>
                  <a:prstClr val="black"/>
                </a:solidFill>
              </a:rPr>
              <a:t>, graduate pathways and </a:t>
            </a:r>
            <a:r>
              <a:rPr lang="en-AU" sz="1100" dirty="0" smtClean="0">
                <a:solidFill>
                  <a:prstClr val="black"/>
                </a:solidFill>
              </a:rPr>
              <a:t>	secondments </a:t>
            </a:r>
            <a:r>
              <a:rPr lang="en-AU" sz="1100" b="0" dirty="0" smtClean="0">
                <a:solidFill>
                  <a:prstClr val="black"/>
                </a:solidFill>
              </a:rPr>
              <a:t>that focus </a:t>
            </a:r>
            <a:r>
              <a:rPr lang="en-AU" sz="1100" b="0" dirty="0">
                <a:solidFill>
                  <a:prstClr val="black"/>
                </a:solidFill>
              </a:rPr>
              <a:t>on critical capabilities, supporting internal mobility as well as cross </a:t>
            </a:r>
            <a:r>
              <a:rPr lang="en-AU" sz="1100" b="0" dirty="0"/>
              <a:t>regulatory and sector </a:t>
            </a:r>
            <a:r>
              <a:rPr lang="en-AU" sz="1100" b="0" dirty="0" smtClean="0"/>
              <a:t>mobility.</a:t>
            </a:r>
          </a:p>
          <a:p>
            <a:pPr>
              <a:lnSpc>
                <a:spcPct val="100000"/>
              </a:lnSpc>
              <a:spcBef>
                <a:spcPts val="300"/>
              </a:spcBef>
              <a:buClr>
                <a:schemeClr val="tx1"/>
              </a:buClr>
              <a:tabLst>
                <a:tab pos="354013" algn="l"/>
              </a:tabLst>
              <a:defRPr/>
            </a:pPr>
            <a:r>
              <a:rPr lang="en-US" sz="1100" b="1" i="0" u="none" strike="noStrike" cap="none" dirty="0" smtClean="0">
                <a:solidFill>
                  <a:schemeClr val="accent4"/>
                </a:solidFill>
                <a:ea typeface="Arial"/>
                <a:cs typeface="Arial"/>
                <a:sym typeface="Arial"/>
              </a:rPr>
              <a:t>G5 </a:t>
            </a:r>
            <a:r>
              <a:rPr lang="en-US" sz="1100" b="1" i="0" u="none" strike="noStrike" cap="none" dirty="0">
                <a:solidFill>
                  <a:schemeClr val="accent4"/>
                </a:solidFill>
                <a:ea typeface="Arial"/>
                <a:cs typeface="Arial"/>
                <a:sym typeface="Arial"/>
              </a:rPr>
              <a:t>	</a:t>
            </a:r>
            <a:r>
              <a:rPr lang="en-AU" sz="1100" b="1" dirty="0">
                <a:solidFill>
                  <a:schemeClr val="accent4"/>
                </a:solidFill>
              </a:rPr>
              <a:t>Undertake talent planning including developing a flexible succession planning approach </a:t>
            </a:r>
            <a:r>
              <a:rPr lang="en-AU" sz="1100" b="0" dirty="0"/>
              <a:t>centred on critical and priority roles, by </a:t>
            </a:r>
            <a:r>
              <a:rPr lang="en-AU" sz="1100" b="0" dirty="0" smtClean="0"/>
              <a:t>	workforce </a:t>
            </a:r>
            <a:r>
              <a:rPr lang="en-AU" sz="1100" b="0" dirty="0"/>
              <a:t>segment considering both technical and leadership </a:t>
            </a:r>
            <a:r>
              <a:rPr lang="en-AU" sz="1100" b="0" dirty="0" smtClean="0"/>
              <a:t>capability. Use </a:t>
            </a:r>
            <a:r>
              <a:rPr lang="en-AU" sz="1100" b="0" dirty="0"/>
              <a:t>workforce mobility to assist with capacity, cross-skilling and 	</a:t>
            </a:r>
            <a:r>
              <a:rPr lang="en-AU" sz="1100" b="0" dirty="0" smtClean="0"/>
              <a:t>retention and </a:t>
            </a:r>
            <a:r>
              <a:rPr lang="en-US" sz="1100" b="0" i="0" u="none" strike="noStrike" cap="none" dirty="0" smtClean="0">
                <a:solidFill>
                  <a:schemeClr val="dk1"/>
                </a:solidFill>
                <a:ea typeface="Arial"/>
                <a:cs typeface="Arial"/>
                <a:sym typeface="Arial"/>
              </a:rPr>
              <a:t>to </a:t>
            </a:r>
            <a:r>
              <a:rPr lang="en-US" sz="1100" b="0" i="0" u="none" strike="noStrike" cap="none" dirty="0">
                <a:solidFill>
                  <a:schemeClr val="dk1"/>
                </a:solidFill>
                <a:ea typeface="Arial"/>
                <a:cs typeface="Arial"/>
                <a:sym typeface="Arial"/>
              </a:rPr>
              <a:t>support </a:t>
            </a:r>
            <a:r>
              <a:rPr lang="en-US" sz="1100" b="1" i="0" u="none" strike="noStrike" cap="none" dirty="0" smtClean="0">
                <a:solidFill>
                  <a:srgbClr val="539250"/>
                </a:solidFill>
                <a:ea typeface="Arial"/>
                <a:cs typeface="Arial"/>
                <a:sym typeface="Arial"/>
              </a:rPr>
              <a:t>succession </a:t>
            </a:r>
            <a:r>
              <a:rPr lang="en-US" sz="1100" b="1" i="0" u="none" strike="noStrike" cap="none" dirty="0">
                <a:solidFill>
                  <a:srgbClr val="539250"/>
                </a:solidFill>
                <a:ea typeface="Arial"/>
                <a:cs typeface="Arial"/>
                <a:sym typeface="Arial"/>
              </a:rPr>
              <a:t>risk </a:t>
            </a:r>
            <a:r>
              <a:rPr lang="en-US" sz="1100" b="1" i="0" u="none" strike="noStrike" cap="none" dirty="0" smtClean="0">
                <a:solidFill>
                  <a:srgbClr val="539250"/>
                </a:solidFill>
                <a:ea typeface="Arial"/>
                <a:cs typeface="Arial"/>
                <a:sym typeface="Arial"/>
              </a:rPr>
              <a:t>planning and </a:t>
            </a:r>
            <a:r>
              <a:rPr lang="en-US" sz="1100" b="1" i="0" u="none" strike="noStrike" cap="none" dirty="0">
                <a:solidFill>
                  <a:srgbClr val="539250"/>
                </a:solidFill>
                <a:ea typeface="Arial"/>
                <a:cs typeface="Arial"/>
                <a:sym typeface="Arial"/>
              </a:rPr>
              <a:t>building talent pipelines </a:t>
            </a:r>
          </a:p>
          <a:p>
            <a:pPr>
              <a:spcBef>
                <a:spcPts val="300"/>
              </a:spcBef>
              <a:buClr>
                <a:schemeClr val="tx1"/>
              </a:buClr>
              <a:tabLst>
                <a:tab pos="354013" algn="l"/>
              </a:tabLst>
              <a:defRPr/>
            </a:pPr>
            <a:r>
              <a:rPr lang="en-US" sz="1100" b="1" i="0" u="none" strike="noStrike" cap="none" dirty="0">
                <a:solidFill>
                  <a:schemeClr val="accent4"/>
                </a:solidFill>
                <a:ea typeface="Arial"/>
                <a:cs typeface="Arial"/>
                <a:sym typeface="Arial"/>
              </a:rPr>
              <a:t>G6 	</a:t>
            </a:r>
            <a:r>
              <a:rPr lang="en-AU" sz="1100" b="0" dirty="0">
                <a:solidFill>
                  <a:prstClr val="black"/>
                </a:solidFill>
              </a:rPr>
              <a:t>Develop, iterate and embed an approach that </a:t>
            </a:r>
            <a:r>
              <a:rPr lang="en-AU" sz="1100" b="1" dirty="0">
                <a:solidFill>
                  <a:srgbClr val="539250"/>
                </a:solidFill>
              </a:rPr>
              <a:t>prioritises and allocates resourcing and work </a:t>
            </a:r>
            <a:r>
              <a:rPr lang="en-AU" sz="1100" b="0" dirty="0">
                <a:solidFill>
                  <a:prstClr val="black"/>
                </a:solidFill>
              </a:rPr>
              <a:t>across all levels of the Commission (projects, 	programs of work, strategic initiative, BAU), aligned to the business planning process</a:t>
            </a:r>
          </a:p>
          <a:p>
            <a:pPr>
              <a:spcBef>
                <a:spcPts val="300"/>
              </a:spcBef>
              <a:buClr>
                <a:schemeClr val="tx1"/>
              </a:buClr>
              <a:tabLst>
                <a:tab pos="354013" algn="l"/>
              </a:tabLst>
              <a:defRPr/>
            </a:pPr>
            <a:r>
              <a:rPr lang="en-US" sz="1100" b="1" i="0" u="none" strike="noStrike" cap="none" dirty="0">
                <a:solidFill>
                  <a:schemeClr val="accent4"/>
                </a:solidFill>
                <a:ea typeface="Arial"/>
                <a:cs typeface="Arial"/>
                <a:sym typeface="Arial"/>
              </a:rPr>
              <a:t>G7 	</a:t>
            </a:r>
            <a:r>
              <a:rPr lang="en-AU" sz="1100" dirty="0">
                <a:solidFill>
                  <a:prstClr val="black"/>
                </a:solidFill>
              </a:rPr>
              <a:t>Develop and embed a </a:t>
            </a:r>
            <a:r>
              <a:rPr lang="en-AU" sz="1100" dirty="0"/>
              <a:t>consistent</a:t>
            </a:r>
            <a:r>
              <a:rPr lang="en-AU" sz="1100" b="1" dirty="0">
                <a:solidFill>
                  <a:srgbClr val="539250"/>
                </a:solidFill>
              </a:rPr>
              <a:t> national framework </a:t>
            </a:r>
            <a:r>
              <a:rPr lang="en-AU" sz="1100" dirty="0"/>
              <a:t>that outlines how ‘work and when’ gets done. This could include </a:t>
            </a:r>
            <a:r>
              <a:rPr lang="en-AU" sz="1100" dirty="0">
                <a:solidFill>
                  <a:prstClr val="black"/>
                </a:solidFill>
              </a:rPr>
              <a:t>mapping out 	processes and workflows</a:t>
            </a:r>
          </a:p>
          <a:p>
            <a:pPr>
              <a:spcBef>
                <a:spcPts val="300"/>
              </a:spcBef>
              <a:buClr>
                <a:schemeClr val="tx1"/>
              </a:buClr>
              <a:tabLst>
                <a:tab pos="180975" algn="l"/>
                <a:tab pos="354013" algn="l"/>
              </a:tabLst>
              <a:defRPr/>
            </a:pPr>
            <a:r>
              <a:rPr lang="en-US" sz="1100" b="1" i="0" u="none" strike="noStrike" cap="none" dirty="0">
                <a:solidFill>
                  <a:schemeClr val="accent4"/>
                </a:solidFill>
                <a:ea typeface="Arial"/>
                <a:cs typeface="Arial"/>
                <a:sym typeface="Arial"/>
              </a:rPr>
              <a:t>G8 	</a:t>
            </a:r>
            <a:r>
              <a:rPr lang="en-AU" sz="1100" dirty="0">
                <a:solidFill>
                  <a:prstClr val="black"/>
                </a:solidFill>
              </a:rPr>
              <a:t>Develop an </a:t>
            </a:r>
            <a:r>
              <a:rPr lang="en-AU" sz="1100" b="1" dirty="0">
                <a:solidFill>
                  <a:srgbClr val="539250"/>
                </a:solidFill>
              </a:rPr>
              <a:t>employee entry and exit process </a:t>
            </a:r>
            <a:r>
              <a:rPr lang="en-AU" sz="1100" dirty="0">
                <a:solidFill>
                  <a:prstClr val="black"/>
                </a:solidFill>
              </a:rPr>
              <a:t>centred on collecting and collated exit feedback and data, to support continuous 		improvement on the employee experience, understanding exit reasons, why people are leaving and where they are going</a:t>
            </a:r>
            <a:endParaRPr lang="en-AU" sz="1100" dirty="0"/>
          </a:p>
          <a:p>
            <a:pPr>
              <a:spcBef>
                <a:spcPts val="300"/>
              </a:spcBef>
              <a:buClr>
                <a:schemeClr val="tx1"/>
              </a:buClr>
              <a:tabLst>
                <a:tab pos="449263" algn="l"/>
              </a:tabLst>
              <a:defRPr/>
            </a:pPr>
            <a:endParaRPr lang="en-AU" sz="1100" b="1" dirty="0">
              <a:solidFill>
                <a:prstClr val="black"/>
              </a:solidFill>
              <a:highlight>
                <a:srgbClr val="FFFF00"/>
              </a:highlight>
            </a:endParaRPr>
          </a:p>
        </p:txBody>
      </p:sp>
      <p:sp>
        <p:nvSpPr>
          <p:cNvPr id="21" name="Content Placeholder 5">
            <a:extLst>
              <a:ext uri="{FF2B5EF4-FFF2-40B4-BE49-F238E27FC236}">
                <a16:creationId xmlns:a16="http://schemas.microsoft.com/office/drawing/2014/main" id="{48072A7B-1901-4890-BC35-BF116F4B914B}"/>
              </a:ext>
            </a:extLst>
          </p:cNvPr>
          <p:cNvSpPr txBox="1">
            <a:spLocks/>
          </p:cNvSpPr>
          <p:nvPr/>
        </p:nvSpPr>
        <p:spPr>
          <a:xfrm>
            <a:off x="9034656" y="2556750"/>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2" name="Content Placeholder 5">
            <a:extLst>
              <a:ext uri="{FF2B5EF4-FFF2-40B4-BE49-F238E27FC236}">
                <a16:creationId xmlns:a16="http://schemas.microsoft.com/office/drawing/2014/main" id="{10CDA254-58C3-45AF-A3F4-E063D9D2735A}"/>
              </a:ext>
            </a:extLst>
          </p:cNvPr>
          <p:cNvSpPr txBox="1">
            <a:spLocks/>
          </p:cNvSpPr>
          <p:nvPr/>
        </p:nvSpPr>
        <p:spPr>
          <a:xfrm>
            <a:off x="9974807" y="2556750"/>
            <a:ext cx="803702"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3" name="Content Placeholder 5">
            <a:extLst>
              <a:ext uri="{FF2B5EF4-FFF2-40B4-BE49-F238E27FC236}">
                <a16:creationId xmlns:a16="http://schemas.microsoft.com/office/drawing/2014/main" id="{A7D870A5-CC97-4B1E-8B14-40F0D0081B54}"/>
              </a:ext>
            </a:extLst>
          </p:cNvPr>
          <p:cNvSpPr txBox="1">
            <a:spLocks/>
          </p:cNvSpPr>
          <p:nvPr/>
        </p:nvSpPr>
        <p:spPr>
          <a:xfrm>
            <a:off x="10917069" y="255675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24" name="Content Placeholder 5">
            <a:extLst>
              <a:ext uri="{FF2B5EF4-FFF2-40B4-BE49-F238E27FC236}">
                <a16:creationId xmlns:a16="http://schemas.microsoft.com/office/drawing/2014/main" id="{EC5D53C6-CE70-4A78-931F-BCF656F3F513}"/>
              </a:ext>
            </a:extLst>
          </p:cNvPr>
          <p:cNvSpPr txBox="1">
            <a:spLocks/>
          </p:cNvSpPr>
          <p:nvPr/>
        </p:nvSpPr>
        <p:spPr>
          <a:xfrm>
            <a:off x="9034656" y="3106743"/>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5" name="Content Placeholder 5">
            <a:extLst>
              <a:ext uri="{FF2B5EF4-FFF2-40B4-BE49-F238E27FC236}">
                <a16:creationId xmlns:a16="http://schemas.microsoft.com/office/drawing/2014/main" id="{80AB3A9B-E54A-4BBC-BD25-9EDA8E0F9157}"/>
              </a:ext>
            </a:extLst>
          </p:cNvPr>
          <p:cNvSpPr txBox="1">
            <a:spLocks/>
          </p:cNvSpPr>
          <p:nvPr/>
        </p:nvSpPr>
        <p:spPr>
          <a:xfrm>
            <a:off x="9974807" y="3106743"/>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26" name="Content Placeholder 5">
            <a:extLst>
              <a:ext uri="{FF2B5EF4-FFF2-40B4-BE49-F238E27FC236}">
                <a16:creationId xmlns:a16="http://schemas.microsoft.com/office/drawing/2014/main" id="{D71EF06D-99E4-4D91-A8C5-A80997A871B7}"/>
              </a:ext>
            </a:extLst>
          </p:cNvPr>
          <p:cNvSpPr txBox="1">
            <a:spLocks/>
          </p:cNvSpPr>
          <p:nvPr/>
        </p:nvSpPr>
        <p:spPr>
          <a:xfrm>
            <a:off x="10917069" y="3106743"/>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27" name="Content Placeholder 5">
            <a:extLst>
              <a:ext uri="{FF2B5EF4-FFF2-40B4-BE49-F238E27FC236}">
                <a16:creationId xmlns:a16="http://schemas.microsoft.com/office/drawing/2014/main" id="{5940C7B7-CAC0-495E-97F1-5C59ADFC8345}"/>
              </a:ext>
            </a:extLst>
          </p:cNvPr>
          <p:cNvSpPr txBox="1">
            <a:spLocks/>
          </p:cNvSpPr>
          <p:nvPr/>
        </p:nvSpPr>
        <p:spPr>
          <a:xfrm>
            <a:off x="9034656" y="3658329"/>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8" name="Content Placeholder 5">
            <a:extLst>
              <a:ext uri="{FF2B5EF4-FFF2-40B4-BE49-F238E27FC236}">
                <a16:creationId xmlns:a16="http://schemas.microsoft.com/office/drawing/2014/main" id="{6FF6796B-8398-49A3-AA93-9552A6B94B42}"/>
              </a:ext>
            </a:extLst>
          </p:cNvPr>
          <p:cNvSpPr txBox="1">
            <a:spLocks/>
          </p:cNvSpPr>
          <p:nvPr/>
        </p:nvSpPr>
        <p:spPr>
          <a:xfrm>
            <a:off x="9974807" y="3658329"/>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29" name="Content Placeholder 5">
            <a:extLst>
              <a:ext uri="{FF2B5EF4-FFF2-40B4-BE49-F238E27FC236}">
                <a16:creationId xmlns:a16="http://schemas.microsoft.com/office/drawing/2014/main" id="{E9B22EEA-A6D0-4967-AC7C-55804DDED9B0}"/>
              </a:ext>
            </a:extLst>
          </p:cNvPr>
          <p:cNvSpPr txBox="1">
            <a:spLocks/>
          </p:cNvSpPr>
          <p:nvPr/>
        </p:nvSpPr>
        <p:spPr>
          <a:xfrm>
            <a:off x="10917069" y="3658329"/>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0" name="Content Placeholder 5">
            <a:extLst>
              <a:ext uri="{FF2B5EF4-FFF2-40B4-BE49-F238E27FC236}">
                <a16:creationId xmlns:a16="http://schemas.microsoft.com/office/drawing/2014/main" id="{6CAC468D-020D-42D0-96BE-7396579838CC}"/>
              </a:ext>
            </a:extLst>
          </p:cNvPr>
          <p:cNvSpPr txBox="1">
            <a:spLocks/>
          </p:cNvSpPr>
          <p:nvPr/>
        </p:nvSpPr>
        <p:spPr>
          <a:xfrm>
            <a:off x="9034656" y="4146020"/>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31" name="Content Placeholder 5">
            <a:extLst>
              <a:ext uri="{FF2B5EF4-FFF2-40B4-BE49-F238E27FC236}">
                <a16:creationId xmlns:a16="http://schemas.microsoft.com/office/drawing/2014/main" id="{D2E60E5B-2233-4C2E-A7CC-AB885603D6CA}"/>
              </a:ext>
            </a:extLst>
          </p:cNvPr>
          <p:cNvSpPr txBox="1">
            <a:spLocks/>
          </p:cNvSpPr>
          <p:nvPr/>
        </p:nvSpPr>
        <p:spPr>
          <a:xfrm>
            <a:off x="9974807" y="4146020"/>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32" name="Content Placeholder 5">
            <a:extLst>
              <a:ext uri="{FF2B5EF4-FFF2-40B4-BE49-F238E27FC236}">
                <a16:creationId xmlns:a16="http://schemas.microsoft.com/office/drawing/2014/main" id="{B03F5A86-BE86-4E94-AC6D-5EEACEBE51BA}"/>
              </a:ext>
            </a:extLst>
          </p:cNvPr>
          <p:cNvSpPr txBox="1">
            <a:spLocks/>
          </p:cNvSpPr>
          <p:nvPr/>
        </p:nvSpPr>
        <p:spPr>
          <a:xfrm>
            <a:off x="10917069" y="414602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3" name="Content Placeholder 5">
            <a:extLst>
              <a:ext uri="{FF2B5EF4-FFF2-40B4-BE49-F238E27FC236}">
                <a16:creationId xmlns:a16="http://schemas.microsoft.com/office/drawing/2014/main" id="{E01627C0-A281-49F5-85A5-C04B39B0E106}"/>
              </a:ext>
            </a:extLst>
          </p:cNvPr>
          <p:cNvSpPr txBox="1">
            <a:spLocks/>
          </p:cNvSpPr>
          <p:nvPr/>
        </p:nvSpPr>
        <p:spPr>
          <a:xfrm>
            <a:off x="9034656" y="4700835"/>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34" name="Content Placeholder 5">
            <a:extLst>
              <a:ext uri="{FF2B5EF4-FFF2-40B4-BE49-F238E27FC236}">
                <a16:creationId xmlns:a16="http://schemas.microsoft.com/office/drawing/2014/main" id="{2FFA1EDA-6F8F-46BF-A0CF-D43B809E09AF}"/>
              </a:ext>
            </a:extLst>
          </p:cNvPr>
          <p:cNvSpPr txBox="1">
            <a:spLocks/>
          </p:cNvSpPr>
          <p:nvPr/>
        </p:nvSpPr>
        <p:spPr>
          <a:xfrm>
            <a:off x="9974807" y="4700835"/>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35" name="Content Placeholder 5">
            <a:extLst>
              <a:ext uri="{FF2B5EF4-FFF2-40B4-BE49-F238E27FC236}">
                <a16:creationId xmlns:a16="http://schemas.microsoft.com/office/drawing/2014/main" id="{5C2DEFC8-416D-4E40-B1F5-84AAC930F0F9}"/>
              </a:ext>
            </a:extLst>
          </p:cNvPr>
          <p:cNvSpPr txBox="1">
            <a:spLocks/>
          </p:cNvSpPr>
          <p:nvPr/>
        </p:nvSpPr>
        <p:spPr>
          <a:xfrm>
            <a:off x="10917069" y="4700835"/>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6" name="Content Placeholder 5">
            <a:extLst>
              <a:ext uri="{FF2B5EF4-FFF2-40B4-BE49-F238E27FC236}">
                <a16:creationId xmlns:a16="http://schemas.microsoft.com/office/drawing/2014/main" id="{0B381BFD-B278-48C2-875D-B74BA66EC781}"/>
              </a:ext>
            </a:extLst>
          </p:cNvPr>
          <p:cNvSpPr txBox="1">
            <a:spLocks/>
          </p:cNvSpPr>
          <p:nvPr/>
        </p:nvSpPr>
        <p:spPr>
          <a:xfrm>
            <a:off x="9034656" y="5117649"/>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 </a:t>
            </a:r>
          </a:p>
        </p:txBody>
      </p:sp>
      <p:sp>
        <p:nvSpPr>
          <p:cNvPr id="37" name="Content Placeholder 5">
            <a:extLst>
              <a:ext uri="{FF2B5EF4-FFF2-40B4-BE49-F238E27FC236}">
                <a16:creationId xmlns:a16="http://schemas.microsoft.com/office/drawing/2014/main" id="{DB7D6257-266F-46E7-82B7-E30C01F8D057}"/>
              </a:ext>
            </a:extLst>
          </p:cNvPr>
          <p:cNvSpPr txBox="1">
            <a:spLocks/>
          </p:cNvSpPr>
          <p:nvPr/>
        </p:nvSpPr>
        <p:spPr>
          <a:xfrm>
            <a:off x="9974807" y="5117649"/>
            <a:ext cx="803702" cy="292926"/>
          </a:xfrm>
          <a:prstGeom prst="rect">
            <a:avLst/>
          </a:prstGeom>
          <a:solidFill>
            <a:schemeClr val="bg2">
              <a:lumMod val="9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Low </a:t>
            </a:r>
          </a:p>
        </p:txBody>
      </p:sp>
      <p:sp>
        <p:nvSpPr>
          <p:cNvPr id="39" name="Content Placeholder 5">
            <a:extLst>
              <a:ext uri="{FF2B5EF4-FFF2-40B4-BE49-F238E27FC236}">
                <a16:creationId xmlns:a16="http://schemas.microsoft.com/office/drawing/2014/main" id="{4AEA78B0-B7A5-4D0D-AADB-4A6D41A083AB}"/>
              </a:ext>
            </a:extLst>
          </p:cNvPr>
          <p:cNvSpPr txBox="1">
            <a:spLocks/>
          </p:cNvSpPr>
          <p:nvPr/>
        </p:nvSpPr>
        <p:spPr>
          <a:xfrm>
            <a:off x="10917069" y="5117649"/>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3</a:t>
            </a:r>
          </a:p>
        </p:txBody>
      </p:sp>
      <p:sp>
        <p:nvSpPr>
          <p:cNvPr id="40" name="Content Placeholder 5">
            <a:extLst>
              <a:ext uri="{FF2B5EF4-FFF2-40B4-BE49-F238E27FC236}">
                <a16:creationId xmlns:a16="http://schemas.microsoft.com/office/drawing/2014/main" id="{DBE7620A-246E-47CA-B419-D49EF96397C6}"/>
              </a:ext>
            </a:extLst>
          </p:cNvPr>
          <p:cNvSpPr txBox="1">
            <a:spLocks/>
          </p:cNvSpPr>
          <p:nvPr/>
        </p:nvSpPr>
        <p:spPr>
          <a:xfrm>
            <a:off x="9034656" y="5543607"/>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a:t>
            </a:r>
          </a:p>
        </p:txBody>
      </p:sp>
      <p:sp>
        <p:nvSpPr>
          <p:cNvPr id="41" name="Content Placeholder 5">
            <a:extLst>
              <a:ext uri="{FF2B5EF4-FFF2-40B4-BE49-F238E27FC236}">
                <a16:creationId xmlns:a16="http://schemas.microsoft.com/office/drawing/2014/main" id="{B1FFD284-D4BE-4F98-959E-65626F7E69F7}"/>
              </a:ext>
            </a:extLst>
          </p:cNvPr>
          <p:cNvSpPr txBox="1">
            <a:spLocks/>
          </p:cNvSpPr>
          <p:nvPr/>
        </p:nvSpPr>
        <p:spPr>
          <a:xfrm>
            <a:off x="9974807" y="5543607"/>
            <a:ext cx="803702"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a:t>
            </a:r>
          </a:p>
        </p:txBody>
      </p:sp>
      <p:sp>
        <p:nvSpPr>
          <p:cNvPr id="42" name="Content Placeholder 5">
            <a:extLst>
              <a:ext uri="{FF2B5EF4-FFF2-40B4-BE49-F238E27FC236}">
                <a16:creationId xmlns:a16="http://schemas.microsoft.com/office/drawing/2014/main" id="{285D9029-B780-439A-B68E-348E4E627B84}"/>
              </a:ext>
            </a:extLst>
          </p:cNvPr>
          <p:cNvSpPr txBox="1">
            <a:spLocks/>
          </p:cNvSpPr>
          <p:nvPr/>
        </p:nvSpPr>
        <p:spPr>
          <a:xfrm>
            <a:off x="10917069" y="5543607"/>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4" name="Slide Number Placeholder 3">
            <a:extLst>
              <a:ext uri="{FF2B5EF4-FFF2-40B4-BE49-F238E27FC236}">
                <a16:creationId xmlns:a16="http://schemas.microsoft.com/office/drawing/2014/main" id="{0E181960-41ED-A95D-4ABD-8E4BB86C3A24}"/>
              </a:ext>
            </a:extLst>
          </p:cNvPr>
          <p:cNvSpPr>
            <a:spLocks noGrp="1"/>
          </p:cNvSpPr>
          <p:nvPr>
            <p:ph type="sldNum" sz="quarter" idx="12"/>
          </p:nvPr>
        </p:nvSpPr>
        <p:spPr/>
        <p:txBody>
          <a:bodyPr/>
          <a:lstStyle/>
          <a:p>
            <a:fld id="{C0F55C17-AF72-40D4-ADBD-B5505DEBF9BA}" type="slidenum">
              <a:rPr lang="en-AU" smtClean="0"/>
              <a:t>31</a:t>
            </a:fld>
            <a:endParaRPr lang="en-US" dirty="0"/>
          </a:p>
        </p:txBody>
      </p:sp>
      <p:sp>
        <p:nvSpPr>
          <p:cNvPr id="2" name="Footer Placeholder 1">
            <a:extLst>
              <a:ext uri="{FF2B5EF4-FFF2-40B4-BE49-F238E27FC236}">
                <a16:creationId xmlns:a16="http://schemas.microsoft.com/office/drawing/2014/main" id="{678CB854-54B8-010B-052E-63CB650C56F0}"/>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46" name="TextBox 45">
            <a:extLst>
              <a:ext uri="{FF2B5EF4-FFF2-40B4-BE49-F238E27FC236}">
                <a16:creationId xmlns:a16="http://schemas.microsoft.com/office/drawing/2014/main" id="{E1D53DCB-B00C-4C96-B67C-9CE94889B321}"/>
              </a:ext>
            </a:extLst>
          </p:cNvPr>
          <p:cNvSpPr txBox="1"/>
          <p:nvPr/>
        </p:nvSpPr>
        <p:spPr>
          <a:xfrm>
            <a:off x="483556" y="6531127"/>
            <a:ext cx="11070269" cy="230832"/>
          </a:xfrm>
          <a:prstGeom prst="rect">
            <a:avLst/>
          </a:prstGeom>
          <a:solidFill>
            <a:schemeClr val="bg1"/>
          </a:solid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sp>
        <p:nvSpPr>
          <p:cNvPr id="49" name="TextBox 48">
            <a:extLst>
              <a:ext uri="{FF2B5EF4-FFF2-40B4-BE49-F238E27FC236}">
                <a16:creationId xmlns:a16="http://schemas.microsoft.com/office/drawing/2014/main" id="{E74264DB-91E9-4CDF-B944-3EF2BA07375B}"/>
              </a:ext>
            </a:extLst>
          </p:cNvPr>
          <p:cNvSpPr txBox="1"/>
          <p:nvPr/>
        </p:nvSpPr>
        <p:spPr>
          <a:xfrm>
            <a:off x="185704" y="2798877"/>
            <a:ext cx="265129" cy="153888"/>
          </a:xfrm>
          <a:prstGeom prst="rect">
            <a:avLst/>
          </a:prstGeom>
          <a:noFill/>
        </p:spPr>
        <p:txBody>
          <a:bodyPr wrap="square" lIns="0" tIns="0" rIns="0" bIns="0" rtlCol="0">
            <a:spAutoFit/>
          </a:bodyPr>
          <a:lstStyle/>
          <a:p>
            <a:pPr algn="ctr"/>
            <a:r>
              <a:rPr lang="en-US" sz="500" i="1" dirty="0">
                <a:solidFill>
                  <a:schemeClr val="bg1"/>
                </a:solidFill>
              </a:rPr>
              <a:t>Existing initiative</a:t>
            </a:r>
            <a:endParaRPr lang="en-AU" sz="500" i="1" dirty="0">
              <a:solidFill>
                <a:schemeClr val="bg1"/>
              </a:solidFill>
            </a:endParaRPr>
          </a:p>
        </p:txBody>
      </p:sp>
      <p:sp>
        <p:nvSpPr>
          <p:cNvPr id="50" name="Freeform 60">
            <a:extLst>
              <a:ext uri="{FF2B5EF4-FFF2-40B4-BE49-F238E27FC236}">
                <a16:creationId xmlns:a16="http://schemas.microsoft.com/office/drawing/2014/main" id="{921FED48-16FD-42A8-85B0-9488A6B35BD0}"/>
              </a:ext>
            </a:extLst>
          </p:cNvPr>
          <p:cNvSpPr>
            <a:spLocks noChangeAspect="1" noEditPoints="1"/>
          </p:cNvSpPr>
          <p:nvPr/>
        </p:nvSpPr>
        <p:spPr bwMode="auto">
          <a:xfrm>
            <a:off x="185703" y="2518383"/>
            <a:ext cx="265130" cy="265883"/>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4 w 576"/>
              <a:gd name="T13" fmla="*/ 551 h 576"/>
              <a:gd name="T14" fmla="*/ 24 w 576"/>
              <a:gd name="T15" fmla="*/ 24 h 576"/>
              <a:gd name="T16" fmla="*/ 551 w 576"/>
              <a:gd name="T17" fmla="*/ 24 h 576"/>
              <a:gd name="T18" fmla="*/ 551 w 576"/>
              <a:gd name="T19" fmla="*/ 551 h 576"/>
              <a:gd name="T20" fmla="*/ 288 w 576"/>
              <a:gd name="T21" fmla="*/ 479 h 576"/>
              <a:gd name="T22" fmla="*/ 97 w 576"/>
              <a:gd name="T23" fmla="*/ 288 h 576"/>
              <a:gd name="T24" fmla="*/ 288 w 576"/>
              <a:gd name="T25" fmla="*/ 97 h 576"/>
              <a:gd name="T26" fmla="*/ 479 w 576"/>
              <a:gd name="T27" fmla="*/ 288 h 576"/>
              <a:gd name="T28" fmla="*/ 288 w 576"/>
              <a:gd name="T29" fmla="*/ 479 h 576"/>
              <a:gd name="T30" fmla="*/ 288 w 576"/>
              <a:gd name="T31" fmla="*/ 121 h 576"/>
              <a:gd name="T32" fmla="*/ 121 w 576"/>
              <a:gd name="T33" fmla="*/ 288 h 576"/>
              <a:gd name="T34" fmla="*/ 288 w 576"/>
              <a:gd name="T35" fmla="*/ 454 h 576"/>
              <a:gd name="T36" fmla="*/ 454 w 576"/>
              <a:gd name="T37" fmla="*/ 288 h 576"/>
              <a:gd name="T38" fmla="*/ 288 w 576"/>
              <a:gd name="T39" fmla="*/ 121 h 576"/>
              <a:gd name="T40" fmla="*/ 422 w 576"/>
              <a:gd name="T41" fmla="*/ 300 h 576"/>
              <a:gd name="T42" fmla="*/ 275 w 576"/>
              <a:gd name="T43" fmla="*/ 300 h 576"/>
              <a:gd name="T44" fmla="*/ 275 w 576"/>
              <a:gd name="T45" fmla="*/ 153 h 576"/>
              <a:gd name="T46" fmla="*/ 300 w 576"/>
              <a:gd name="T47" fmla="*/ 153 h 576"/>
              <a:gd name="T48" fmla="*/ 300 w 576"/>
              <a:gd name="T49" fmla="*/ 276 h 576"/>
              <a:gd name="T50" fmla="*/ 422 w 576"/>
              <a:gd name="T51" fmla="*/ 276 h 576"/>
              <a:gd name="T52" fmla="*/ 422 w 576"/>
              <a:gd name="T53" fmla="*/ 30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88" y="479"/>
                </a:moveTo>
                <a:cubicBezTo>
                  <a:pt x="182" y="479"/>
                  <a:pt x="97" y="393"/>
                  <a:pt x="97" y="288"/>
                </a:cubicBezTo>
                <a:cubicBezTo>
                  <a:pt x="97" y="182"/>
                  <a:pt x="182" y="97"/>
                  <a:pt x="288" y="97"/>
                </a:cubicBezTo>
                <a:cubicBezTo>
                  <a:pt x="393" y="97"/>
                  <a:pt x="479" y="182"/>
                  <a:pt x="479" y="288"/>
                </a:cubicBezTo>
                <a:cubicBezTo>
                  <a:pt x="479" y="393"/>
                  <a:pt x="393" y="479"/>
                  <a:pt x="288" y="479"/>
                </a:cubicBezTo>
                <a:close/>
                <a:moveTo>
                  <a:pt x="288" y="121"/>
                </a:moveTo>
                <a:cubicBezTo>
                  <a:pt x="196" y="121"/>
                  <a:pt x="121" y="196"/>
                  <a:pt x="121" y="288"/>
                </a:cubicBezTo>
                <a:cubicBezTo>
                  <a:pt x="121" y="380"/>
                  <a:pt x="196" y="454"/>
                  <a:pt x="288" y="454"/>
                </a:cubicBezTo>
                <a:cubicBezTo>
                  <a:pt x="380" y="454"/>
                  <a:pt x="454" y="380"/>
                  <a:pt x="454" y="288"/>
                </a:cubicBezTo>
                <a:cubicBezTo>
                  <a:pt x="454" y="196"/>
                  <a:pt x="380" y="121"/>
                  <a:pt x="288" y="121"/>
                </a:cubicBezTo>
                <a:close/>
                <a:moveTo>
                  <a:pt x="422" y="300"/>
                </a:moveTo>
                <a:cubicBezTo>
                  <a:pt x="275" y="300"/>
                  <a:pt x="275" y="300"/>
                  <a:pt x="275" y="300"/>
                </a:cubicBezTo>
                <a:cubicBezTo>
                  <a:pt x="275" y="153"/>
                  <a:pt x="275" y="153"/>
                  <a:pt x="275" y="153"/>
                </a:cubicBezTo>
                <a:cubicBezTo>
                  <a:pt x="300" y="153"/>
                  <a:pt x="300" y="153"/>
                  <a:pt x="300" y="153"/>
                </a:cubicBezTo>
                <a:cubicBezTo>
                  <a:pt x="300" y="276"/>
                  <a:pt x="300" y="276"/>
                  <a:pt x="300" y="276"/>
                </a:cubicBezTo>
                <a:cubicBezTo>
                  <a:pt x="422" y="276"/>
                  <a:pt x="422" y="276"/>
                  <a:pt x="422" y="276"/>
                </a:cubicBezTo>
                <a:lnTo>
                  <a:pt x="422" y="300"/>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p>
        </p:txBody>
      </p:sp>
    </p:spTree>
    <p:extLst>
      <p:ext uri="{BB962C8B-B14F-4D97-AF65-F5344CB8AC3E}">
        <p14:creationId xmlns:p14="http://schemas.microsoft.com/office/powerpoint/2010/main" val="31952377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5">
            <a:extLst>
              <a:ext uri="{FF2B5EF4-FFF2-40B4-BE49-F238E27FC236}">
                <a16:creationId xmlns:a16="http://schemas.microsoft.com/office/drawing/2014/main" id="{2845BC60-B6B5-411B-8845-52C84664E57F}"/>
              </a:ext>
            </a:extLst>
          </p:cNvPr>
          <p:cNvSpPr txBox="1">
            <a:spLocks/>
          </p:cNvSpPr>
          <p:nvPr/>
        </p:nvSpPr>
        <p:spPr>
          <a:xfrm>
            <a:off x="8958130" y="1550566"/>
            <a:ext cx="801591" cy="292926"/>
          </a:xfrm>
          <a:prstGeom prst="rect">
            <a:avLst/>
          </a:prstGeom>
          <a:solidFill>
            <a:srgbClr val="7F7F7F"/>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19" name="Content Placeholder 5">
            <a:extLst>
              <a:ext uri="{FF2B5EF4-FFF2-40B4-BE49-F238E27FC236}">
                <a16:creationId xmlns:a16="http://schemas.microsoft.com/office/drawing/2014/main" id="{D6DDA2B8-77B9-404D-8897-6C4F5EE599FE}"/>
              </a:ext>
            </a:extLst>
          </p:cNvPr>
          <p:cNvSpPr txBox="1">
            <a:spLocks/>
          </p:cNvSpPr>
          <p:nvPr/>
        </p:nvSpPr>
        <p:spPr>
          <a:xfrm>
            <a:off x="9898283" y="1550566"/>
            <a:ext cx="803702" cy="292926"/>
          </a:xfrm>
          <a:prstGeom prst="rect">
            <a:avLst/>
          </a:prstGeom>
          <a:solidFill>
            <a:srgbClr val="7F7F7F"/>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20" name="Content Placeholder 5">
            <a:extLst>
              <a:ext uri="{FF2B5EF4-FFF2-40B4-BE49-F238E27FC236}">
                <a16:creationId xmlns:a16="http://schemas.microsoft.com/office/drawing/2014/main" id="{8D14C067-DD12-478E-9DB5-6F720746E9CF}"/>
              </a:ext>
            </a:extLst>
          </p:cNvPr>
          <p:cNvSpPr txBox="1">
            <a:spLocks/>
          </p:cNvSpPr>
          <p:nvPr/>
        </p:nvSpPr>
        <p:spPr>
          <a:xfrm>
            <a:off x="10840545" y="1550566"/>
            <a:ext cx="803702" cy="292926"/>
          </a:xfrm>
          <a:prstGeom prst="rect">
            <a:avLst/>
          </a:prstGeom>
          <a:solidFill>
            <a:srgbClr val="7F7F7F"/>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21" name="Content Placeholder 5">
            <a:extLst>
              <a:ext uri="{FF2B5EF4-FFF2-40B4-BE49-F238E27FC236}">
                <a16:creationId xmlns:a16="http://schemas.microsoft.com/office/drawing/2014/main" id="{59B33E54-E2A3-4AE9-9152-C814BE875F6C}"/>
              </a:ext>
            </a:extLst>
          </p:cNvPr>
          <p:cNvSpPr txBox="1">
            <a:spLocks/>
          </p:cNvSpPr>
          <p:nvPr/>
        </p:nvSpPr>
        <p:spPr>
          <a:xfrm>
            <a:off x="8958130" y="1912516"/>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2" name="Content Placeholder 5">
            <a:extLst>
              <a:ext uri="{FF2B5EF4-FFF2-40B4-BE49-F238E27FC236}">
                <a16:creationId xmlns:a16="http://schemas.microsoft.com/office/drawing/2014/main" id="{FCEFFE19-60BA-47A6-9197-ABF53311D851}"/>
              </a:ext>
            </a:extLst>
          </p:cNvPr>
          <p:cNvSpPr txBox="1">
            <a:spLocks/>
          </p:cNvSpPr>
          <p:nvPr/>
        </p:nvSpPr>
        <p:spPr>
          <a:xfrm>
            <a:off x="9898283" y="191251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23" name="Content Placeholder 5">
            <a:extLst>
              <a:ext uri="{FF2B5EF4-FFF2-40B4-BE49-F238E27FC236}">
                <a16:creationId xmlns:a16="http://schemas.microsoft.com/office/drawing/2014/main" id="{EFA16A65-B241-4C10-B1DB-1A6D64F83195}"/>
              </a:ext>
            </a:extLst>
          </p:cNvPr>
          <p:cNvSpPr txBox="1">
            <a:spLocks/>
          </p:cNvSpPr>
          <p:nvPr/>
        </p:nvSpPr>
        <p:spPr>
          <a:xfrm>
            <a:off x="10840545" y="191251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endParaRPr lang="en-AU" sz="1100" b="0" dirty="0">
              <a:solidFill>
                <a:schemeClr val="tx1"/>
              </a:solidFill>
              <a:cs typeface="Calibri"/>
            </a:endParaRPr>
          </a:p>
        </p:txBody>
      </p:sp>
      <p:sp>
        <p:nvSpPr>
          <p:cNvPr id="24" name="Content Placeholder 5">
            <a:extLst>
              <a:ext uri="{FF2B5EF4-FFF2-40B4-BE49-F238E27FC236}">
                <a16:creationId xmlns:a16="http://schemas.microsoft.com/office/drawing/2014/main" id="{B6338964-1D6E-47C7-AEAC-319801853D5D}"/>
              </a:ext>
            </a:extLst>
          </p:cNvPr>
          <p:cNvSpPr txBox="1">
            <a:spLocks/>
          </p:cNvSpPr>
          <p:nvPr/>
        </p:nvSpPr>
        <p:spPr>
          <a:xfrm>
            <a:off x="486021" y="1550566"/>
            <a:ext cx="8333551" cy="292926"/>
          </a:xfrm>
          <a:prstGeom prst="rect">
            <a:avLst/>
          </a:prstGeom>
          <a:solidFill>
            <a:srgbClr val="7F7F7F"/>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17" name="Google Shape;2328;p209">
            <a:extLst>
              <a:ext uri="{FF2B5EF4-FFF2-40B4-BE49-F238E27FC236}">
                <a16:creationId xmlns:a16="http://schemas.microsoft.com/office/drawing/2014/main" id="{36A592E1-6F60-4606-A6C2-D41F2842622B}"/>
              </a:ext>
            </a:extLst>
          </p:cNvPr>
          <p:cNvSpPr/>
          <p:nvPr/>
        </p:nvSpPr>
        <p:spPr>
          <a:xfrm>
            <a:off x="486021" y="1820412"/>
            <a:ext cx="8333552" cy="4504188"/>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a:spcBef>
                <a:spcPts val="300"/>
              </a:spcBef>
              <a:buClr>
                <a:schemeClr val="tx1"/>
              </a:buClr>
              <a:tabLst>
                <a:tab pos="358775" algn="l"/>
              </a:tabLst>
              <a:defRPr/>
            </a:pPr>
            <a:r>
              <a:rPr lang="en-AU" sz="1100" b="1" dirty="0"/>
              <a:t>P1 	</a:t>
            </a:r>
            <a:r>
              <a:rPr lang="en-AU" sz="1100" b="0" dirty="0"/>
              <a:t>Refine and review </a:t>
            </a:r>
            <a:r>
              <a:rPr lang="en-AU" sz="1100" b="1" dirty="0"/>
              <a:t>position descriptions </a:t>
            </a:r>
            <a:r>
              <a:rPr lang="en-AU" sz="1100" b="0" dirty="0"/>
              <a:t>ensuring all employees have clearly </a:t>
            </a:r>
            <a:r>
              <a:rPr lang="en-AU" sz="1100" b="1" dirty="0"/>
              <a:t>defined roles, responsibilities and measurable objectives 	</a:t>
            </a:r>
            <a:r>
              <a:rPr lang="en-AU" sz="1100" b="0" dirty="0"/>
              <a:t>that align the Commission’s strategic objectives, cultural principles and overall purpose</a:t>
            </a:r>
          </a:p>
          <a:p>
            <a:pPr>
              <a:lnSpc>
                <a:spcPct val="100000"/>
              </a:lnSpc>
              <a:spcBef>
                <a:spcPts val="300"/>
              </a:spcBef>
              <a:buClr>
                <a:schemeClr val="tx1"/>
              </a:buClr>
              <a:tabLst>
                <a:tab pos="358775" algn="l"/>
              </a:tabLst>
              <a:defRPr/>
            </a:pPr>
            <a:r>
              <a:rPr lang="en-AU" sz="1100" b="1" dirty="0"/>
              <a:t>P2 	</a:t>
            </a:r>
            <a:r>
              <a:rPr lang="en-AU" sz="1100" b="0" dirty="0"/>
              <a:t>Develop and embed a consistent approach to articulating </a:t>
            </a:r>
            <a:r>
              <a:rPr lang="en-AU" sz="1100" b="1" dirty="0"/>
              <a:t>performance requirements, accountabilities and expectations </a:t>
            </a:r>
            <a:r>
              <a:rPr lang="en-AU" sz="1100" b="0" dirty="0" smtClean="0"/>
              <a:t>to </a:t>
            </a:r>
            <a:r>
              <a:rPr lang="en-AU" sz="1100" b="0" dirty="0"/>
              <a:t>increase </a:t>
            </a:r>
            <a:r>
              <a:rPr lang="en-AU" sz="1100" b="0" dirty="0" smtClean="0"/>
              <a:t>	understanding </a:t>
            </a:r>
            <a:r>
              <a:rPr lang="en-AU" sz="1100" b="0" dirty="0"/>
              <a:t>and alignment of roles and priorities, feedback and recognition from the </a:t>
            </a:r>
            <a:r>
              <a:rPr lang="en-AU" sz="1100" b="0" dirty="0" smtClean="0"/>
              <a:t>outset </a:t>
            </a:r>
            <a:r>
              <a:rPr lang="en-AU" sz="1100" b="0" dirty="0"/>
              <a:t>of employment </a:t>
            </a:r>
          </a:p>
          <a:p>
            <a:pPr>
              <a:lnSpc>
                <a:spcPct val="100000"/>
              </a:lnSpc>
              <a:spcBef>
                <a:spcPts val="300"/>
              </a:spcBef>
              <a:buClr>
                <a:schemeClr val="tx1"/>
              </a:buClr>
              <a:tabLst>
                <a:tab pos="358775" algn="l"/>
              </a:tabLst>
              <a:defRPr/>
            </a:pPr>
            <a:r>
              <a:rPr lang="en-AU" sz="1100" b="1" dirty="0"/>
              <a:t>P3	</a:t>
            </a:r>
            <a:r>
              <a:rPr lang="en-AU" sz="1100" dirty="0"/>
              <a:t>Develop, embed and normalise </a:t>
            </a:r>
            <a:r>
              <a:rPr lang="en-AU" sz="1100" b="1" dirty="0"/>
              <a:t>consistent, repeatable and engaging performance planning processes </a:t>
            </a:r>
            <a:r>
              <a:rPr lang="en-AU" sz="1100" dirty="0"/>
              <a:t>that </a:t>
            </a:r>
            <a:r>
              <a:rPr lang="en-AU" sz="1100" dirty="0" smtClean="0"/>
              <a:t>enable:</a:t>
            </a:r>
            <a:endParaRPr lang="en-AU" sz="1100" dirty="0"/>
          </a:p>
          <a:p>
            <a:pPr marL="714375" indent="-266700">
              <a:spcBef>
                <a:spcPts val="300"/>
              </a:spcBef>
              <a:buClr>
                <a:schemeClr val="tx1"/>
              </a:buClr>
              <a:buFont typeface="Arial" panose="020B0604020202020204" pitchFamily="34" charset="0"/>
              <a:buChar char="•"/>
              <a:tabLst>
                <a:tab pos="714375" algn="l"/>
              </a:tabLst>
              <a:defRPr/>
            </a:pPr>
            <a:r>
              <a:rPr lang="en-AU" sz="1100" b="1" dirty="0"/>
              <a:t>Informal and formal performance and development discussions between leaders and workers</a:t>
            </a:r>
            <a:r>
              <a:rPr lang="en-AU" sz="1100" dirty="0"/>
              <a:t> with each worker to have their </a:t>
            </a:r>
            <a:r>
              <a:rPr lang="en-AU" sz="1100" b="1" dirty="0"/>
              <a:t>own</a:t>
            </a:r>
            <a:r>
              <a:rPr lang="en-AU" sz="1100" dirty="0"/>
              <a:t> </a:t>
            </a:r>
            <a:r>
              <a:rPr lang="en-AU" sz="1100" b="1" dirty="0"/>
              <a:t>Professional Development Plan (PDP)</a:t>
            </a:r>
            <a:r>
              <a:rPr lang="en-AU" sz="1100" dirty="0"/>
              <a:t>, </a:t>
            </a:r>
            <a:r>
              <a:rPr lang="en-AU" sz="1100" dirty="0" smtClean="0">
                <a:ea typeface="Arial"/>
                <a:cs typeface="Arial"/>
                <a:sym typeface="Arial"/>
              </a:rPr>
              <a:t>that </a:t>
            </a:r>
            <a:r>
              <a:rPr lang="en-AU" sz="1100" dirty="0" smtClean="0"/>
              <a:t>provides </a:t>
            </a:r>
            <a:r>
              <a:rPr lang="en-AU" sz="1100" dirty="0"/>
              <a:t>opportunities to set individual and team goals and stretch targets aligned with and cascading from the Commission’s strategic objectives and planning processes </a:t>
            </a:r>
            <a:endParaRPr lang="en-AU" sz="1100" dirty="0">
              <a:ea typeface="Arial"/>
              <a:cs typeface="Arial"/>
              <a:sym typeface="Arial"/>
            </a:endParaRPr>
          </a:p>
          <a:p>
            <a:pPr marL="714375" indent="-266700">
              <a:spcBef>
                <a:spcPts val="300"/>
              </a:spcBef>
              <a:buClr>
                <a:schemeClr val="tx1"/>
              </a:buClr>
              <a:buFont typeface="Arial" panose="020B0604020202020204" pitchFamily="34" charset="0"/>
              <a:buChar char="•"/>
              <a:tabLst>
                <a:tab pos="714375" algn="l"/>
              </a:tabLst>
              <a:defRPr/>
            </a:pPr>
            <a:r>
              <a:rPr lang="en-AU" sz="1100" b="0" dirty="0"/>
              <a:t>leaders to </a:t>
            </a:r>
            <a:r>
              <a:rPr lang="en-AU" sz="1100" b="1" dirty="0"/>
              <a:t>manage performance consistently and effectively</a:t>
            </a:r>
            <a:r>
              <a:rPr lang="en-AU" sz="1100" dirty="0"/>
              <a:t>, </a:t>
            </a:r>
            <a:r>
              <a:rPr lang="en-AU" sz="1100" b="0" dirty="0"/>
              <a:t>in alignment with existing NDIS Commission and the APS performance policies and frameworks</a:t>
            </a:r>
          </a:p>
          <a:p>
            <a:pPr marL="714375" indent="-266700">
              <a:spcBef>
                <a:spcPts val="300"/>
              </a:spcBef>
              <a:buClr>
                <a:schemeClr val="tx1"/>
              </a:buClr>
              <a:buFont typeface="Arial" panose="020B0604020202020204" pitchFamily="34" charset="0"/>
              <a:buChar char="•"/>
              <a:tabLst>
                <a:tab pos="714375" algn="l"/>
              </a:tabLst>
              <a:defRPr/>
            </a:pPr>
            <a:r>
              <a:rPr lang="en-AU" sz="1100" dirty="0"/>
              <a:t>the </a:t>
            </a:r>
            <a:r>
              <a:rPr lang="en-AU" sz="1100" b="1" dirty="0"/>
              <a:t>Commission's cultural principles to be embedded in performance discussions</a:t>
            </a:r>
            <a:r>
              <a:rPr lang="en-AU" sz="1100" b="0" dirty="0"/>
              <a:t>, describing </a:t>
            </a:r>
            <a:r>
              <a:rPr lang="en-AU" sz="1100" b="1" dirty="0"/>
              <a:t>desired behaviours, attitudes and mindsets</a:t>
            </a:r>
            <a:r>
              <a:rPr lang="en-AU" sz="1100" b="0" dirty="0"/>
              <a:t> necessary to be a contemporary purpose-driven regulator </a:t>
            </a:r>
          </a:p>
          <a:p>
            <a:pPr marL="714375" indent="-266700">
              <a:lnSpc>
                <a:spcPct val="100000"/>
              </a:lnSpc>
              <a:spcBef>
                <a:spcPts val="300"/>
              </a:spcBef>
              <a:buClr>
                <a:schemeClr val="tx1"/>
              </a:buClr>
              <a:buFont typeface="Arial" panose="020B0604020202020204" pitchFamily="34" charset="0"/>
              <a:buChar char="•"/>
              <a:tabLst>
                <a:tab pos="714375" algn="l"/>
              </a:tabLst>
              <a:defRPr/>
            </a:pPr>
            <a:r>
              <a:rPr lang="en-AU" sz="1100" dirty="0"/>
              <a:t>our ability to </a:t>
            </a:r>
            <a:r>
              <a:rPr lang="en-AU" sz="1100" b="1" dirty="0"/>
              <a:t>identify and nurture talent including capability development, talent management and succession planning </a:t>
            </a:r>
          </a:p>
          <a:p>
            <a:pPr marL="714375" indent="-266700">
              <a:lnSpc>
                <a:spcPct val="100000"/>
              </a:lnSpc>
              <a:spcBef>
                <a:spcPts val="300"/>
              </a:spcBef>
              <a:buClr>
                <a:schemeClr val="tx1"/>
              </a:buClr>
              <a:buFont typeface="Arial" panose="020B0604020202020204" pitchFamily="34" charset="0"/>
              <a:buChar char="•"/>
              <a:tabLst>
                <a:tab pos="714375" algn="l"/>
              </a:tabLst>
              <a:defRPr/>
            </a:pPr>
            <a:r>
              <a:rPr lang="en-AU" sz="1100" dirty="0"/>
              <a:t>improved </a:t>
            </a:r>
            <a:r>
              <a:rPr lang="en-AU" sz="1100" b="1" dirty="0"/>
              <a:t>collection and reporting on training and development</a:t>
            </a:r>
            <a:r>
              <a:rPr lang="en-AU" sz="1100" dirty="0"/>
              <a:t> to inform future needs</a:t>
            </a:r>
          </a:p>
          <a:p>
            <a:pPr>
              <a:spcBef>
                <a:spcPts val="300"/>
              </a:spcBef>
              <a:buClr>
                <a:schemeClr val="tx1"/>
              </a:buClr>
              <a:tabLst>
                <a:tab pos="358775" algn="l"/>
              </a:tabLst>
              <a:defRPr/>
            </a:pPr>
            <a:r>
              <a:rPr lang="en-AU" sz="1100" b="1" dirty="0"/>
              <a:t>P4	</a:t>
            </a:r>
            <a:r>
              <a:rPr lang="en-AU" sz="1100" b="0" dirty="0"/>
              <a:t>Utilise the </a:t>
            </a:r>
            <a:r>
              <a:rPr lang="en-AU" sz="1100" b="1" dirty="0"/>
              <a:t>APS talent management guide and toolkit </a:t>
            </a:r>
            <a:r>
              <a:rPr lang="en-AU" sz="1100" b="0" dirty="0"/>
              <a:t>to </a:t>
            </a:r>
            <a:r>
              <a:rPr lang="en-AU" sz="1100" b="0" dirty="0" smtClean="0"/>
              <a:t>provide a </a:t>
            </a:r>
            <a:r>
              <a:rPr lang="en-AU" sz="1100" b="0" dirty="0"/>
              <a:t>framework for high potential and engaging career conversations, 	linking into succession planning and tailored talent development and </a:t>
            </a:r>
            <a:r>
              <a:rPr lang="en-AU" sz="1100" b="1" dirty="0"/>
              <a:t>APS Academy Leadership and Management Offering*</a:t>
            </a:r>
          </a:p>
          <a:p>
            <a:pPr marL="361950" indent="-361950">
              <a:lnSpc>
                <a:spcPct val="100000"/>
              </a:lnSpc>
              <a:spcBef>
                <a:spcPts val="300"/>
              </a:spcBef>
              <a:buClr>
                <a:schemeClr val="tx1"/>
              </a:buClr>
              <a:tabLst>
                <a:tab pos="714375" algn="l"/>
              </a:tabLst>
              <a:defRPr/>
            </a:pPr>
            <a:r>
              <a:rPr lang="en-AU" sz="1100" b="1" dirty="0"/>
              <a:t>P5	</a:t>
            </a:r>
            <a:r>
              <a:rPr lang="en-AU" sz="1100" b="0" dirty="0"/>
              <a:t>Leverage the existing </a:t>
            </a:r>
            <a:r>
              <a:rPr lang="en-AU" sz="1100" b="1" dirty="0"/>
              <a:t>employee reward and recognition program</a:t>
            </a:r>
            <a:r>
              <a:rPr lang="en-AU" sz="1100" dirty="0"/>
              <a:t> </a:t>
            </a:r>
            <a:endParaRPr lang="en-AU" sz="1100" dirty="0" smtClean="0"/>
          </a:p>
          <a:p>
            <a:pPr marL="361950" indent="-361950">
              <a:lnSpc>
                <a:spcPct val="100000"/>
              </a:lnSpc>
              <a:spcBef>
                <a:spcPts val="300"/>
              </a:spcBef>
              <a:buClr>
                <a:schemeClr val="tx1"/>
              </a:buClr>
              <a:tabLst>
                <a:tab pos="714375" algn="l"/>
              </a:tabLst>
              <a:defRPr/>
            </a:pPr>
            <a:r>
              <a:rPr lang="en-AU" sz="1100" b="1" dirty="0" smtClean="0">
                <a:cs typeface="Arial"/>
                <a:sym typeface="Arial"/>
              </a:rPr>
              <a:t>P6</a:t>
            </a:r>
            <a:r>
              <a:rPr lang="en-AU" sz="1100" dirty="0" smtClean="0">
                <a:cs typeface="Arial"/>
                <a:sym typeface="Arial"/>
              </a:rPr>
              <a:t> </a:t>
            </a:r>
            <a:r>
              <a:rPr lang="en-AU" sz="1100" dirty="0">
                <a:cs typeface="Arial"/>
                <a:sym typeface="Arial"/>
              </a:rPr>
              <a:t>	Establish a </a:t>
            </a:r>
            <a:r>
              <a:rPr lang="en-AU" sz="1100" b="1" dirty="0">
                <a:cs typeface="Arial"/>
                <a:sym typeface="Arial"/>
              </a:rPr>
              <a:t>Behavioural Framework </a:t>
            </a:r>
            <a:r>
              <a:rPr lang="en-AU" sz="1100" dirty="0">
                <a:cs typeface="Arial"/>
                <a:sym typeface="Arial"/>
              </a:rPr>
              <a:t>outlining behavioural expectations </a:t>
            </a:r>
            <a:r>
              <a:rPr lang="en-AU" sz="1100" b="1" dirty="0">
                <a:cs typeface="Arial"/>
                <a:sym typeface="Arial"/>
              </a:rPr>
              <a:t>aligned to the values and cultural principles </a:t>
            </a:r>
            <a:r>
              <a:rPr lang="en-AU" sz="1100" dirty="0">
                <a:cs typeface="Arial"/>
                <a:sym typeface="Arial"/>
              </a:rPr>
              <a:t>of the Commission. Behavioural frameworks are embedded into </a:t>
            </a:r>
            <a:r>
              <a:rPr lang="en-AU" sz="1100" b="1" dirty="0">
                <a:cs typeface="Arial"/>
                <a:sym typeface="Arial"/>
              </a:rPr>
              <a:t>performance management </a:t>
            </a:r>
            <a:r>
              <a:rPr lang="en-AU" sz="1100" dirty="0">
                <a:cs typeface="Arial"/>
                <a:sym typeface="Arial"/>
              </a:rPr>
              <a:t>conversations, and support recruitment and selection processes</a:t>
            </a:r>
          </a:p>
          <a:p>
            <a:pPr>
              <a:spcBef>
                <a:spcPts val="300"/>
              </a:spcBef>
              <a:buClr>
                <a:schemeClr val="tx1"/>
              </a:buClr>
              <a:tabLst>
                <a:tab pos="358775" algn="l"/>
              </a:tabLst>
              <a:defRPr/>
            </a:pPr>
            <a:r>
              <a:rPr lang="en-US" sz="1100" b="1" dirty="0">
                <a:cs typeface="Arial"/>
                <a:sym typeface="Arial"/>
              </a:rPr>
              <a:t>P7</a:t>
            </a:r>
            <a:r>
              <a:rPr lang="en-US" sz="1100" b="0" dirty="0">
                <a:cs typeface="Arial"/>
                <a:sym typeface="Arial"/>
              </a:rPr>
              <a:t>	Continue to </a:t>
            </a:r>
            <a:r>
              <a:rPr lang="en-AU" sz="1100" dirty="0">
                <a:cs typeface="Arial"/>
                <a:sym typeface="Arial"/>
              </a:rPr>
              <a:t>i</a:t>
            </a:r>
            <a:r>
              <a:rPr lang="en-AU" sz="1100" b="0" dirty="0"/>
              <a:t>nvest in </a:t>
            </a:r>
            <a:r>
              <a:rPr lang="en-AU" sz="1100" b="1" dirty="0"/>
              <a:t>visualising workforce data </a:t>
            </a:r>
            <a:r>
              <a:rPr lang="en-AU" sz="1100" b="0" dirty="0"/>
              <a:t>to enable granular job-role analysis to support data driven decision-making and </a:t>
            </a:r>
            <a:r>
              <a:rPr lang="en-AU" sz="1100" b="1" dirty="0"/>
              <a:t>strategic 	workforce planning. </a:t>
            </a:r>
            <a:r>
              <a:rPr lang="en-GB" sz="1100" dirty="0">
                <a:latin typeface="Calibri" panose="020F0502020204030204"/>
              </a:rPr>
              <a:t>Start with data already available in the Commission and iteratively consider additional data collections to support 	further analysis overtime**</a:t>
            </a:r>
            <a:endParaRPr lang="en-AU" sz="1100" b="1" dirty="0"/>
          </a:p>
          <a:p>
            <a:pPr>
              <a:spcBef>
                <a:spcPts val="300"/>
              </a:spcBef>
              <a:buClr>
                <a:schemeClr val="tx1"/>
              </a:buClr>
              <a:tabLst>
                <a:tab pos="358775" algn="l"/>
              </a:tabLst>
              <a:defRPr/>
            </a:pPr>
            <a:endParaRPr lang="en-AU" sz="1100" b="0" dirty="0"/>
          </a:p>
          <a:p>
            <a:pPr>
              <a:spcBef>
                <a:spcPts val="300"/>
              </a:spcBef>
              <a:buClr>
                <a:schemeClr val="tx1"/>
              </a:buClr>
              <a:tabLst>
                <a:tab pos="358775" algn="l"/>
              </a:tabLst>
              <a:defRPr/>
            </a:pPr>
            <a:endParaRPr lang="en-AU" sz="1100" b="1" dirty="0">
              <a:solidFill>
                <a:schemeClr val="bg2">
                  <a:lumMod val="25000"/>
                </a:schemeClr>
              </a:solidFill>
            </a:endParaRPr>
          </a:p>
          <a:p>
            <a:pPr>
              <a:spcBef>
                <a:spcPts val="300"/>
              </a:spcBef>
              <a:buClr>
                <a:schemeClr val="tx1"/>
              </a:buClr>
              <a:tabLst>
                <a:tab pos="358775" algn="l"/>
              </a:tabLst>
              <a:defRPr/>
            </a:pPr>
            <a:endParaRPr lang="en-US" sz="1100" dirty="0"/>
          </a:p>
          <a:p>
            <a:pPr>
              <a:spcBef>
                <a:spcPts val="300"/>
              </a:spcBef>
              <a:buClr>
                <a:schemeClr val="tx1"/>
              </a:buClr>
              <a:tabLst>
                <a:tab pos="180975" algn="l"/>
              </a:tabLst>
              <a:defRPr/>
            </a:pPr>
            <a:endParaRPr lang="en-US" sz="1100" b="1" dirty="0">
              <a:solidFill>
                <a:schemeClr val="bg2">
                  <a:lumMod val="25000"/>
                </a:schemeClr>
              </a:solidFill>
              <a:cs typeface="Arial"/>
              <a:sym typeface="Arial"/>
            </a:endParaRPr>
          </a:p>
        </p:txBody>
      </p:sp>
      <p:sp>
        <p:nvSpPr>
          <p:cNvPr id="25" name="Title 4">
            <a:extLst>
              <a:ext uri="{FF2B5EF4-FFF2-40B4-BE49-F238E27FC236}">
                <a16:creationId xmlns:a16="http://schemas.microsoft.com/office/drawing/2014/main" id="{58404066-5CCF-42BD-A3BF-290C3DEC8EE9}"/>
              </a:ext>
            </a:extLst>
          </p:cNvPr>
          <p:cNvSpPr txBox="1">
            <a:spLocks/>
          </p:cNvSpPr>
          <p:nvPr/>
        </p:nvSpPr>
        <p:spPr>
          <a:xfrm>
            <a:off x="1659481" y="281777"/>
            <a:ext cx="6992824" cy="1376364"/>
          </a:xfrm>
          <a:prstGeom prst="rect">
            <a:avLst/>
          </a:prstGeom>
        </p:spPr>
        <p:txBody>
          <a:bodyPr vert="horz" lIns="0" tIns="0" rIns="0" bIns="0" rtlCol="0" anchor="ctr">
            <a:no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r>
              <a:rPr lang="en-US" dirty="0">
                <a:solidFill>
                  <a:srgbClr val="7F7F7F"/>
                </a:solidFill>
              </a:rPr>
              <a:t>Performance</a:t>
            </a:r>
            <a:r>
              <a:rPr lang="en-US" dirty="0">
                <a:solidFill>
                  <a:schemeClr val="tx2"/>
                </a:solidFill>
              </a:rPr>
              <a:t> </a:t>
            </a:r>
            <a:endParaRPr lang="en-AU" dirty="0">
              <a:solidFill>
                <a:schemeClr val="tx2"/>
              </a:solidFill>
            </a:endParaRPr>
          </a:p>
        </p:txBody>
      </p:sp>
      <p:pic>
        <p:nvPicPr>
          <p:cNvPr id="26" name="Picture 25">
            <a:extLst>
              <a:ext uri="{FF2B5EF4-FFF2-40B4-BE49-F238E27FC236}">
                <a16:creationId xmlns:a16="http://schemas.microsoft.com/office/drawing/2014/main" id="{8F58186D-1BB4-47B8-AB82-A7F49E1D6DCD}"/>
              </a:ext>
            </a:extLst>
          </p:cNvPr>
          <p:cNvPicPr>
            <a:picLocks noChangeAspect="1"/>
          </p:cNvPicPr>
          <p:nvPr/>
        </p:nvPicPr>
        <p:blipFill>
          <a:blip r:embed="rId3"/>
          <a:stretch>
            <a:fillRect/>
          </a:stretch>
        </p:blipFill>
        <p:spPr>
          <a:xfrm>
            <a:off x="486021" y="456449"/>
            <a:ext cx="1037980" cy="867928"/>
          </a:xfrm>
          <a:prstGeom prst="rect">
            <a:avLst/>
          </a:prstGeom>
        </p:spPr>
      </p:pic>
      <p:sp>
        <p:nvSpPr>
          <p:cNvPr id="27" name="Content Placeholder 5">
            <a:extLst>
              <a:ext uri="{FF2B5EF4-FFF2-40B4-BE49-F238E27FC236}">
                <a16:creationId xmlns:a16="http://schemas.microsoft.com/office/drawing/2014/main" id="{5A5CA784-2F3D-4326-B268-F29124AC58F9}"/>
              </a:ext>
            </a:extLst>
          </p:cNvPr>
          <p:cNvSpPr txBox="1">
            <a:spLocks/>
          </p:cNvSpPr>
          <p:nvPr/>
        </p:nvSpPr>
        <p:spPr>
          <a:xfrm>
            <a:off x="8958130" y="2274466"/>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9" name="Content Placeholder 5">
            <a:extLst>
              <a:ext uri="{FF2B5EF4-FFF2-40B4-BE49-F238E27FC236}">
                <a16:creationId xmlns:a16="http://schemas.microsoft.com/office/drawing/2014/main" id="{692BD101-59C3-4BB9-8013-AEE5A10E483B}"/>
              </a:ext>
            </a:extLst>
          </p:cNvPr>
          <p:cNvSpPr txBox="1">
            <a:spLocks/>
          </p:cNvSpPr>
          <p:nvPr/>
        </p:nvSpPr>
        <p:spPr>
          <a:xfrm>
            <a:off x="10840545" y="227446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0" name="Content Placeholder 5">
            <a:extLst>
              <a:ext uri="{FF2B5EF4-FFF2-40B4-BE49-F238E27FC236}">
                <a16:creationId xmlns:a16="http://schemas.microsoft.com/office/drawing/2014/main" id="{F486417E-74C8-41A6-8858-E5579AC54ACE}"/>
              </a:ext>
            </a:extLst>
          </p:cNvPr>
          <p:cNvSpPr txBox="1">
            <a:spLocks/>
          </p:cNvSpPr>
          <p:nvPr/>
        </p:nvSpPr>
        <p:spPr>
          <a:xfrm>
            <a:off x="8958130" y="2636416"/>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32" name="Content Placeholder 5">
            <a:extLst>
              <a:ext uri="{FF2B5EF4-FFF2-40B4-BE49-F238E27FC236}">
                <a16:creationId xmlns:a16="http://schemas.microsoft.com/office/drawing/2014/main" id="{B627AE55-5B3D-4E37-99AC-C401D95CB5D1}"/>
              </a:ext>
            </a:extLst>
          </p:cNvPr>
          <p:cNvSpPr txBox="1">
            <a:spLocks/>
          </p:cNvSpPr>
          <p:nvPr/>
        </p:nvSpPr>
        <p:spPr>
          <a:xfrm>
            <a:off x="10840543" y="263641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45" name="Content Placeholder 5">
            <a:extLst>
              <a:ext uri="{FF2B5EF4-FFF2-40B4-BE49-F238E27FC236}">
                <a16:creationId xmlns:a16="http://schemas.microsoft.com/office/drawing/2014/main" id="{224EC2F8-2D5F-4D4C-BDFE-C2C472A853DE}"/>
              </a:ext>
            </a:extLst>
          </p:cNvPr>
          <p:cNvSpPr txBox="1">
            <a:spLocks/>
          </p:cNvSpPr>
          <p:nvPr/>
        </p:nvSpPr>
        <p:spPr>
          <a:xfrm>
            <a:off x="8958130" y="4573720"/>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46" name="Content Placeholder 5">
            <a:extLst>
              <a:ext uri="{FF2B5EF4-FFF2-40B4-BE49-F238E27FC236}">
                <a16:creationId xmlns:a16="http://schemas.microsoft.com/office/drawing/2014/main" id="{2FAFFA42-8703-43ED-8B8D-E862D374E6B4}"/>
              </a:ext>
            </a:extLst>
          </p:cNvPr>
          <p:cNvSpPr txBox="1">
            <a:spLocks/>
          </p:cNvSpPr>
          <p:nvPr/>
        </p:nvSpPr>
        <p:spPr>
          <a:xfrm>
            <a:off x="9898283" y="4573720"/>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47" name="Content Placeholder 5">
            <a:extLst>
              <a:ext uri="{FF2B5EF4-FFF2-40B4-BE49-F238E27FC236}">
                <a16:creationId xmlns:a16="http://schemas.microsoft.com/office/drawing/2014/main" id="{E50392D8-14A3-4B83-B18A-1ECB0C05D2C3}"/>
              </a:ext>
            </a:extLst>
          </p:cNvPr>
          <p:cNvSpPr txBox="1">
            <a:spLocks/>
          </p:cNvSpPr>
          <p:nvPr/>
        </p:nvSpPr>
        <p:spPr>
          <a:xfrm>
            <a:off x="10840545" y="457372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48" name="Content Placeholder 5">
            <a:extLst>
              <a:ext uri="{FF2B5EF4-FFF2-40B4-BE49-F238E27FC236}">
                <a16:creationId xmlns:a16="http://schemas.microsoft.com/office/drawing/2014/main" id="{BD4AA164-A6E9-4417-99D6-7F56BC1701A5}"/>
              </a:ext>
            </a:extLst>
          </p:cNvPr>
          <p:cNvSpPr txBox="1">
            <a:spLocks/>
          </p:cNvSpPr>
          <p:nvPr/>
        </p:nvSpPr>
        <p:spPr>
          <a:xfrm>
            <a:off x="8958130" y="4907938"/>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49" name="Content Placeholder 5">
            <a:extLst>
              <a:ext uri="{FF2B5EF4-FFF2-40B4-BE49-F238E27FC236}">
                <a16:creationId xmlns:a16="http://schemas.microsoft.com/office/drawing/2014/main" id="{CA260046-6690-4734-B250-742E428BBB91}"/>
              </a:ext>
            </a:extLst>
          </p:cNvPr>
          <p:cNvSpPr txBox="1">
            <a:spLocks/>
          </p:cNvSpPr>
          <p:nvPr/>
        </p:nvSpPr>
        <p:spPr>
          <a:xfrm>
            <a:off x="9898283" y="4907938"/>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0" name="Content Placeholder 5">
            <a:extLst>
              <a:ext uri="{FF2B5EF4-FFF2-40B4-BE49-F238E27FC236}">
                <a16:creationId xmlns:a16="http://schemas.microsoft.com/office/drawing/2014/main" id="{FCD63F62-23B4-435B-AA0C-435DA474EF78}"/>
              </a:ext>
            </a:extLst>
          </p:cNvPr>
          <p:cNvSpPr txBox="1">
            <a:spLocks/>
          </p:cNvSpPr>
          <p:nvPr/>
        </p:nvSpPr>
        <p:spPr>
          <a:xfrm>
            <a:off x="10840545" y="4907938"/>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51" name="Content Placeholder 5">
            <a:extLst>
              <a:ext uri="{FF2B5EF4-FFF2-40B4-BE49-F238E27FC236}">
                <a16:creationId xmlns:a16="http://schemas.microsoft.com/office/drawing/2014/main" id="{EC15B386-C01D-4665-8F10-60EA75710F5A}"/>
              </a:ext>
            </a:extLst>
          </p:cNvPr>
          <p:cNvSpPr txBox="1">
            <a:spLocks/>
          </p:cNvSpPr>
          <p:nvPr/>
        </p:nvSpPr>
        <p:spPr>
          <a:xfrm>
            <a:off x="8958130" y="5251300"/>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52" name="Content Placeholder 5">
            <a:extLst>
              <a:ext uri="{FF2B5EF4-FFF2-40B4-BE49-F238E27FC236}">
                <a16:creationId xmlns:a16="http://schemas.microsoft.com/office/drawing/2014/main" id="{46805B18-71FE-4EF4-92DB-020C5B1E3529}"/>
              </a:ext>
            </a:extLst>
          </p:cNvPr>
          <p:cNvSpPr txBox="1">
            <a:spLocks/>
          </p:cNvSpPr>
          <p:nvPr/>
        </p:nvSpPr>
        <p:spPr>
          <a:xfrm>
            <a:off x="9898283" y="5251300"/>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3" name="Content Placeholder 5">
            <a:extLst>
              <a:ext uri="{FF2B5EF4-FFF2-40B4-BE49-F238E27FC236}">
                <a16:creationId xmlns:a16="http://schemas.microsoft.com/office/drawing/2014/main" id="{3E969C84-714C-41A4-8EA6-D3AADCFE7D85}"/>
              </a:ext>
            </a:extLst>
          </p:cNvPr>
          <p:cNvSpPr txBox="1">
            <a:spLocks/>
          </p:cNvSpPr>
          <p:nvPr/>
        </p:nvSpPr>
        <p:spPr>
          <a:xfrm>
            <a:off x="10840545" y="525130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54" name="Content Placeholder 5">
            <a:extLst>
              <a:ext uri="{FF2B5EF4-FFF2-40B4-BE49-F238E27FC236}">
                <a16:creationId xmlns:a16="http://schemas.microsoft.com/office/drawing/2014/main" id="{3FABBE6E-4CA3-4467-B2FB-AC1D11DBC4D1}"/>
              </a:ext>
            </a:extLst>
          </p:cNvPr>
          <p:cNvSpPr txBox="1">
            <a:spLocks/>
          </p:cNvSpPr>
          <p:nvPr/>
        </p:nvSpPr>
        <p:spPr>
          <a:xfrm>
            <a:off x="8958130" y="5594662"/>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55" name="Content Placeholder 5">
            <a:extLst>
              <a:ext uri="{FF2B5EF4-FFF2-40B4-BE49-F238E27FC236}">
                <a16:creationId xmlns:a16="http://schemas.microsoft.com/office/drawing/2014/main" id="{787EC2F3-56EA-47FF-8B94-33A7B3D279DA}"/>
              </a:ext>
            </a:extLst>
          </p:cNvPr>
          <p:cNvSpPr txBox="1">
            <a:spLocks/>
          </p:cNvSpPr>
          <p:nvPr/>
        </p:nvSpPr>
        <p:spPr>
          <a:xfrm>
            <a:off x="9898281" y="5594662"/>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6" name="Content Placeholder 5">
            <a:extLst>
              <a:ext uri="{FF2B5EF4-FFF2-40B4-BE49-F238E27FC236}">
                <a16:creationId xmlns:a16="http://schemas.microsoft.com/office/drawing/2014/main" id="{AD357ECF-0120-47DB-929E-AF29C77CE97B}"/>
              </a:ext>
            </a:extLst>
          </p:cNvPr>
          <p:cNvSpPr txBox="1">
            <a:spLocks/>
          </p:cNvSpPr>
          <p:nvPr/>
        </p:nvSpPr>
        <p:spPr>
          <a:xfrm>
            <a:off x="10848564" y="5594662"/>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57" name="Content Placeholder 5">
            <a:extLst>
              <a:ext uri="{FF2B5EF4-FFF2-40B4-BE49-F238E27FC236}">
                <a16:creationId xmlns:a16="http://schemas.microsoft.com/office/drawing/2014/main" id="{01F4A1C8-E356-40DE-85D3-2DB19CB4AF3F}"/>
              </a:ext>
            </a:extLst>
          </p:cNvPr>
          <p:cNvSpPr txBox="1">
            <a:spLocks/>
          </p:cNvSpPr>
          <p:nvPr/>
        </p:nvSpPr>
        <p:spPr>
          <a:xfrm>
            <a:off x="9898282" y="227446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58" name="Content Placeholder 5">
            <a:extLst>
              <a:ext uri="{FF2B5EF4-FFF2-40B4-BE49-F238E27FC236}">
                <a16:creationId xmlns:a16="http://schemas.microsoft.com/office/drawing/2014/main" id="{FBC66BD3-8AD5-462A-AC22-4AD89B456989}"/>
              </a:ext>
            </a:extLst>
          </p:cNvPr>
          <p:cNvSpPr txBox="1">
            <a:spLocks/>
          </p:cNvSpPr>
          <p:nvPr/>
        </p:nvSpPr>
        <p:spPr>
          <a:xfrm>
            <a:off x="9898282" y="263641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31" name="Google Shape;3159;p227">
            <a:extLst>
              <a:ext uri="{FF2B5EF4-FFF2-40B4-BE49-F238E27FC236}">
                <a16:creationId xmlns:a16="http://schemas.microsoft.com/office/drawing/2014/main" id="{D7BE4D2C-8EF7-4EAD-882C-06F445B71C83}"/>
              </a:ext>
            </a:extLst>
          </p:cNvPr>
          <p:cNvSpPr/>
          <p:nvPr/>
        </p:nvSpPr>
        <p:spPr>
          <a:xfrm>
            <a:off x="486021" y="6306231"/>
            <a:ext cx="11308815" cy="409585"/>
          </a:xfrm>
          <a:prstGeom prst="rect">
            <a:avLst/>
          </a:prstGeom>
          <a:noFill/>
          <a:ln>
            <a:noFill/>
          </a:ln>
        </p:spPr>
        <p:txBody>
          <a:bodyPr spcFirstLastPara="1" wrap="square" lIns="91425" tIns="45700" rIns="91425" bIns="45700" anchor="ctr" anchorCtr="0">
            <a:noAutofit/>
          </a:bodyPr>
          <a:lstStyle/>
          <a:p>
            <a:r>
              <a:rPr lang="en-US" sz="700" b="1" dirty="0">
                <a:solidFill>
                  <a:schemeClr val="dk1"/>
                </a:solidFill>
                <a:latin typeface="Arial"/>
                <a:ea typeface="Arial"/>
                <a:cs typeface="Arial"/>
                <a:sym typeface="Arial"/>
              </a:rPr>
              <a:t>*</a:t>
            </a:r>
            <a:r>
              <a:rPr lang="en-US" sz="700" dirty="0">
                <a:solidFill>
                  <a:schemeClr val="dk1"/>
                </a:solidFill>
                <a:latin typeface="Arial"/>
                <a:ea typeface="Arial"/>
                <a:cs typeface="Arial"/>
                <a:sym typeface="Arial"/>
              </a:rPr>
              <a:t>The APSC continues to develop </a:t>
            </a:r>
            <a:r>
              <a:rPr lang="en-US" sz="700" dirty="0">
                <a:solidFill>
                  <a:srgbClr val="5F2E74"/>
                </a:solidFill>
                <a:latin typeface="Arial"/>
                <a:ea typeface="Arial"/>
                <a:cs typeface="Arial"/>
                <a:sym typeface="Arial"/>
                <a:hlinkClick r:id="rId4">
                  <a:extLst>
                    <a:ext uri="{A12FA001-AC4F-418D-AE19-62706E023703}">
                      <ahyp:hlinkClr xmlns="" xmlns:ahyp="http://schemas.microsoft.com/office/drawing/2018/hyperlinkcolor" val="tx"/>
                    </a:ext>
                  </a:extLst>
                </a:hlinkClick>
              </a:rPr>
              <a:t>the APS Academy</a:t>
            </a:r>
            <a:r>
              <a:rPr lang="en-US" sz="700" dirty="0">
                <a:solidFill>
                  <a:schemeClr val="dk1"/>
                </a:solidFill>
                <a:latin typeface="Arial"/>
                <a:ea typeface="Arial"/>
                <a:cs typeface="Arial"/>
                <a:sym typeface="Arial"/>
              </a:rPr>
              <a:t>, an enterprise-wide learning and development initiative expected to support individual agency L&amp;D activities. </a:t>
            </a:r>
            <a:r>
              <a:rPr lang="en-US" sz="700" dirty="0">
                <a:solidFill>
                  <a:schemeClr val="dk1"/>
                </a:solidFill>
                <a:latin typeface="Arial"/>
                <a:cs typeface="Arial"/>
                <a:sym typeface="Arial"/>
              </a:rPr>
              <a:t>The </a:t>
            </a:r>
            <a:r>
              <a:rPr lang="en-US" sz="700" dirty="0">
                <a:solidFill>
                  <a:srgbClr val="5F2E74"/>
                </a:solidFill>
                <a:latin typeface="Arial"/>
                <a:cs typeface="Arial"/>
                <a:sym typeface="Arial"/>
                <a:hlinkClick r:id="rId5">
                  <a:extLst>
                    <a:ext uri="{A12FA001-AC4F-418D-AE19-62706E023703}">
                      <ahyp:hlinkClr xmlns="" xmlns:ahyp="http://schemas.microsoft.com/office/drawing/2018/hyperlinkcolor" val="tx"/>
                    </a:ext>
                  </a:extLst>
                </a:hlinkClick>
              </a:rPr>
              <a:t>APS Academy Leadership &amp; Management offering</a:t>
            </a:r>
            <a:r>
              <a:rPr lang="en-US" sz="700" dirty="0">
                <a:solidFill>
                  <a:srgbClr val="5F2E74"/>
                </a:solidFill>
                <a:latin typeface="Arial"/>
                <a:cs typeface="Arial"/>
                <a:sym typeface="Arial"/>
              </a:rPr>
              <a:t> </a:t>
            </a:r>
            <a:r>
              <a:rPr lang="en-US" sz="700" dirty="0">
                <a:solidFill>
                  <a:schemeClr val="dk1"/>
                </a:solidFill>
                <a:latin typeface="Arial"/>
                <a:cs typeface="Arial"/>
                <a:sym typeface="Arial"/>
              </a:rPr>
              <a:t>includes: The Public Sector Management Program (PSMP) for APS6-EL2 staff , the SES Leadership Capability Framework and secondment opportunities (including Jawun), Sir Roland Wilson Foundation PhD Scholarship. **Also leverage resources available via APS Human Resources (HR) Working Group, developed to provide an agile approach to mature the working planning capability across the APS in a structured and engaging manner.</a:t>
            </a:r>
            <a:endParaRPr lang="en-US" sz="700" dirty="0">
              <a:solidFill>
                <a:schemeClr val="dk1"/>
              </a:solidFill>
              <a:latin typeface="Arial"/>
              <a:cs typeface="Arial"/>
            </a:endParaRPr>
          </a:p>
        </p:txBody>
      </p:sp>
      <p:sp>
        <p:nvSpPr>
          <p:cNvPr id="4" name="Slide Number Placeholder 3">
            <a:extLst>
              <a:ext uri="{FF2B5EF4-FFF2-40B4-BE49-F238E27FC236}">
                <a16:creationId xmlns:a16="http://schemas.microsoft.com/office/drawing/2014/main" id="{2696FCDC-34DF-A7D5-3F19-65C18B15B03D}"/>
              </a:ext>
            </a:extLst>
          </p:cNvPr>
          <p:cNvSpPr>
            <a:spLocks noGrp="1"/>
          </p:cNvSpPr>
          <p:nvPr>
            <p:ph type="sldNum" sz="quarter" idx="12"/>
          </p:nvPr>
        </p:nvSpPr>
        <p:spPr>
          <a:xfrm>
            <a:off x="11061523" y="6145658"/>
            <a:ext cx="362274" cy="180000"/>
          </a:xfrm>
        </p:spPr>
        <p:txBody>
          <a:bodyPr/>
          <a:lstStyle/>
          <a:p>
            <a:fld id="{C0F55C17-AF72-40D4-ADBD-B5505DEBF9BA}" type="slidenum">
              <a:rPr lang="en-AU" smtClean="0"/>
              <a:t>32</a:t>
            </a:fld>
            <a:endParaRPr lang="en-US" dirty="0"/>
          </a:p>
        </p:txBody>
      </p:sp>
      <p:sp>
        <p:nvSpPr>
          <p:cNvPr id="35" name="TextBox 34">
            <a:extLst>
              <a:ext uri="{FF2B5EF4-FFF2-40B4-BE49-F238E27FC236}">
                <a16:creationId xmlns:a16="http://schemas.microsoft.com/office/drawing/2014/main" id="{E4B34916-9E17-4C5C-AD1F-864B1FB5E929}"/>
              </a:ext>
            </a:extLst>
          </p:cNvPr>
          <p:cNvSpPr txBox="1"/>
          <p:nvPr/>
        </p:nvSpPr>
        <p:spPr>
          <a:xfrm>
            <a:off x="486021" y="6162792"/>
            <a:ext cx="11070269" cy="230832"/>
          </a:xfrm>
          <a:prstGeom prst="rect">
            <a:avLst/>
          </a:prstGeom>
          <a:no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spTree>
    <p:extLst>
      <p:ext uri="{BB962C8B-B14F-4D97-AF65-F5344CB8AC3E}">
        <p14:creationId xmlns:p14="http://schemas.microsoft.com/office/powerpoint/2010/main" val="36911108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17847" y="169855"/>
            <a:ext cx="6992824" cy="1376364"/>
          </a:xfrm>
        </p:spPr>
        <p:txBody>
          <a:bodyPr>
            <a:noAutofit/>
          </a:bodyPr>
          <a:lstStyle/>
          <a:p>
            <a:r>
              <a:rPr lang="en-US" dirty="0">
                <a:solidFill>
                  <a:schemeClr val="accent6"/>
                </a:solidFill>
              </a:rPr>
              <a:t>Pillar: Diversity, Inclusion and Wellbeing</a:t>
            </a:r>
            <a:r>
              <a:rPr lang="en-US" dirty="0">
                <a:solidFill>
                  <a:schemeClr val="tx2"/>
                </a:solidFill>
              </a:rPr>
              <a:t> </a:t>
            </a:r>
            <a:endParaRPr lang="en-AU" dirty="0">
              <a:solidFill>
                <a:schemeClr val="tx2"/>
              </a:solidFill>
            </a:endParaRPr>
          </a:p>
        </p:txBody>
      </p:sp>
      <p:sp>
        <p:nvSpPr>
          <p:cNvPr id="20" name="Google Shape;2328;p209">
            <a:extLst>
              <a:ext uri="{FF2B5EF4-FFF2-40B4-BE49-F238E27FC236}">
                <a16:creationId xmlns:a16="http://schemas.microsoft.com/office/drawing/2014/main" id="{386CBFFC-43E6-42A4-B688-A539214FA3DA}"/>
              </a:ext>
            </a:extLst>
          </p:cNvPr>
          <p:cNvSpPr/>
          <p:nvPr/>
        </p:nvSpPr>
        <p:spPr>
          <a:xfrm>
            <a:off x="483556" y="1843492"/>
            <a:ext cx="8398375" cy="3905888"/>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marL="447675" indent="-447675">
              <a:spcBef>
                <a:spcPts val="300"/>
              </a:spcBef>
              <a:buClr>
                <a:schemeClr val="tx1"/>
              </a:buClr>
              <a:tabLst>
                <a:tab pos="447675" algn="l"/>
              </a:tabLst>
              <a:defRPr/>
            </a:pPr>
            <a:r>
              <a:rPr lang="en-GB" sz="1050" b="1" dirty="0">
                <a:solidFill>
                  <a:schemeClr val="accent4"/>
                </a:solidFill>
              </a:rPr>
              <a:t>DIW1</a:t>
            </a:r>
            <a:r>
              <a:rPr lang="en-GB" sz="1050" i="1" dirty="0">
                <a:solidFill>
                  <a:prstClr val="black"/>
                </a:solidFill>
              </a:rPr>
              <a:t>	</a:t>
            </a:r>
            <a:r>
              <a:rPr lang="en-US" sz="1050" dirty="0">
                <a:solidFill>
                  <a:prstClr val="black"/>
                </a:solidFill>
              </a:rPr>
              <a:t>Appoint an SES Officer as </a:t>
            </a:r>
            <a:r>
              <a:rPr lang="en-US" sz="1050" b="1" dirty="0">
                <a:solidFill>
                  <a:schemeClr val="accent4"/>
                </a:solidFill>
              </a:rPr>
              <a:t>Diversity Champion </a:t>
            </a:r>
            <a:r>
              <a:rPr lang="en-US" sz="1050" dirty="0">
                <a:latin typeface="Calibri" panose="020F0502020204030204"/>
              </a:rPr>
              <a:t>and </a:t>
            </a:r>
            <a:r>
              <a:rPr lang="en-US" sz="1050" b="1" dirty="0">
                <a:solidFill>
                  <a:schemeClr val="accent4"/>
                </a:solidFill>
              </a:rPr>
              <a:t>establish a workforce-led Diversity, Inclusion and Wellbeing Officers Network </a:t>
            </a:r>
            <a:r>
              <a:rPr lang="en-US" sz="1050" dirty="0">
                <a:solidFill>
                  <a:prstClr val="black"/>
                </a:solidFill>
              </a:rPr>
              <a:t>to sponsor, promote and lead the strategic direction for diversity initiatives, represent the Commission at external networks and </a:t>
            </a:r>
            <a:r>
              <a:rPr lang="en-US" sz="1050" dirty="0"/>
              <a:t>support ongoing initiatives. The Commission can leverage diversity champions and the wider network officers to introduce and speak to wellness </a:t>
            </a:r>
            <a:r>
              <a:rPr lang="en-US" sz="1050" dirty="0">
                <a:solidFill>
                  <a:prstClr val="black"/>
                </a:solidFill>
              </a:rPr>
              <a:t>initiatives</a:t>
            </a:r>
            <a:r>
              <a:rPr lang="en-US" sz="1050" dirty="0"/>
              <a:t> during the new starter induction program </a:t>
            </a:r>
            <a:r>
              <a:rPr lang="en-US" sz="1050" b="1" dirty="0"/>
              <a:t>WS1</a:t>
            </a:r>
            <a:r>
              <a:rPr lang="en-US" sz="1050" dirty="0"/>
              <a:t>.   </a:t>
            </a:r>
          </a:p>
          <a:p>
            <a:pPr marL="447675" indent="-447675">
              <a:spcBef>
                <a:spcPts val="300"/>
              </a:spcBef>
              <a:buClr>
                <a:schemeClr val="tx1"/>
              </a:buClr>
              <a:tabLst>
                <a:tab pos="447675" algn="l"/>
              </a:tabLst>
              <a:defRPr/>
            </a:pPr>
            <a:r>
              <a:rPr lang="en-US" sz="1050" b="1" dirty="0">
                <a:solidFill>
                  <a:schemeClr val="accent4"/>
                </a:solidFill>
                <a:latin typeface="Calibri" panose="020F0502020204030204"/>
              </a:rPr>
              <a:t>DIW2</a:t>
            </a:r>
            <a:r>
              <a:rPr lang="en-US" sz="1050" dirty="0">
                <a:solidFill>
                  <a:prstClr val="black"/>
                </a:solidFill>
              </a:rPr>
              <a:t> 	Develop a</a:t>
            </a:r>
            <a:r>
              <a:rPr lang="en-US" sz="1050" dirty="0">
                <a:solidFill>
                  <a:schemeClr val="accent6"/>
                </a:solidFill>
              </a:rPr>
              <a:t> </a:t>
            </a:r>
            <a:r>
              <a:rPr lang="en-US" sz="1050" b="1" dirty="0">
                <a:solidFill>
                  <a:schemeClr val="accent4"/>
                </a:solidFill>
                <a:cs typeface="Calibri Light"/>
              </a:rPr>
              <a:t>Diversity and Inclusion Strategy and Action Plan </a:t>
            </a:r>
            <a:r>
              <a:rPr lang="en-US" sz="1050" dirty="0"/>
              <a:t>that </a:t>
            </a:r>
            <a:r>
              <a:rPr lang="en-AU" sz="1050" dirty="0">
                <a:solidFill>
                  <a:prstClr val="black"/>
                </a:solidFill>
              </a:rPr>
              <a:t>outlines our whole of business approach to improving access and inclusion for our identified diversity groups</a:t>
            </a:r>
            <a:r>
              <a:rPr lang="en-US" sz="1050" dirty="0">
                <a:cs typeface="Calibri Light"/>
              </a:rPr>
              <a:t>, </a:t>
            </a:r>
            <a:r>
              <a:rPr lang="en-AU" sz="1050" dirty="0"/>
              <a:t>embedding the voice of those with a lived experience in disability and </a:t>
            </a:r>
            <a:r>
              <a:rPr lang="en-US" sz="1050" dirty="0">
                <a:cs typeface="Calibri Light"/>
              </a:rPr>
              <a:t>s</a:t>
            </a:r>
            <a:r>
              <a:rPr lang="en-US" sz="1050" b="0" dirty="0">
                <a:cs typeface="Calibri Light"/>
              </a:rPr>
              <a:t>triving to be </a:t>
            </a:r>
            <a:r>
              <a:rPr lang="en-US" sz="1050" b="1" dirty="0">
                <a:solidFill>
                  <a:schemeClr val="accent4"/>
                </a:solidFill>
                <a:cs typeface="Calibri Light"/>
              </a:rPr>
              <a:t>an Employee of Choice of people with disability </a:t>
            </a:r>
            <a:r>
              <a:rPr lang="en-US" sz="1050" dirty="0">
                <a:solidFill>
                  <a:prstClr val="black"/>
                </a:solidFill>
              </a:rPr>
              <a:t>including a clear goal to increase representation of people with disability </a:t>
            </a:r>
            <a:r>
              <a:rPr lang="en-US" sz="1050" dirty="0" smtClean="0">
                <a:solidFill>
                  <a:prstClr val="black"/>
                </a:solidFill>
              </a:rPr>
              <a:t>working at </a:t>
            </a:r>
            <a:r>
              <a:rPr lang="en-US" sz="1050" dirty="0">
                <a:solidFill>
                  <a:prstClr val="black"/>
                </a:solidFill>
              </a:rPr>
              <a:t>the Commission </a:t>
            </a:r>
          </a:p>
          <a:p>
            <a:pPr marL="447675" indent="-447675">
              <a:spcBef>
                <a:spcPts val="300"/>
              </a:spcBef>
              <a:buClr>
                <a:schemeClr val="tx1"/>
              </a:buClr>
              <a:tabLst>
                <a:tab pos="447675" algn="l"/>
              </a:tabLst>
              <a:defRPr/>
            </a:pPr>
            <a:r>
              <a:rPr lang="en-AU" sz="1050" b="1" dirty="0">
                <a:solidFill>
                  <a:schemeClr val="accent4"/>
                </a:solidFill>
                <a:latin typeface="Calibri" panose="020F0502020204030204"/>
              </a:rPr>
              <a:t>DIW3 	Continue building diverse talent pipelines </a:t>
            </a:r>
            <a:r>
              <a:rPr lang="en-AU" sz="1050" dirty="0">
                <a:latin typeface="Calibri" panose="020F0502020204030204"/>
              </a:rPr>
              <a:t>by leveraging existing, external programs, partnerships and resources to customise and enhance the recruitment, selection and </a:t>
            </a:r>
            <a:r>
              <a:rPr lang="en-AU" sz="1050" dirty="0" smtClean="0">
                <a:latin typeface="Calibri" panose="020F0502020204030204"/>
              </a:rPr>
              <a:t>on boarding </a:t>
            </a:r>
            <a:r>
              <a:rPr lang="en-AU" sz="1050" dirty="0">
                <a:latin typeface="Calibri" panose="020F0502020204030204"/>
              </a:rPr>
              <a:t>processes for our identified diversity groups. Other strategies may include </a:t>
            </a:r>
            <a:r>
              <a:rPr lang="en-AU" sz="1050" b="1" dirty="0">
                <a:solidFill>
                  <a:schemeClr val="accent4"/>
                </a:solidFill>
                <a:sym typeface="Arial"/>
              </a:rPr>
              <a:t>embracing a geographically distributed workforce in a hybrid environment</a:t>
            </a:r>
            <a:r>
              <a:rPr lang="en-AU" sz="1050" b="1" dirty="0">
                <a:solidFill>
                  <a:schemeClr val="accent6"/>
                </a:solidFill>
                <a:sym typeface="Arial"/>
              </a:rPr>
              <a:t>, </a:t>
            </a:r>
            <a:r>
              <a:rPr lang="en-AU" sz="1050" dirty="0">
                <a:solidFill>
                  <a:prstClr val="black"/>
                </a:solidFill>
                <a:sym typeface="Arial"/>
              </a:rPr>
              <a:t>including </a:t>
            </a:r>
            <a:r>
              <a:rPr lang="en-US" sz="1050" dirty="0">
                <a:solidFill>
                  <a:prstClr val="black"/>
                </a:solidFill>
                <a:sym typeface="Arial"/>
              </a:rPr>
              <a:t>review of the Flexible Work Policy for opportunities and barriers to attract and retain a diverse, modern workforce. Other considerations may incrementally include: </a:t>
            </a:r>
            <a:r>
              <a:rPr lang="en-US" sz="1050" dirty="0">
                <a:solidFill>
                  <a:prstClr val="black"/>
                </a:solidFill>
              </a:rPr>
              <a:t>introducing remote work optionality in specified circumstances, advertising roles with part or full time optionality </a:t>
            </a:r>
            <a:endParaRPr lang="en-AU" sz="1050" dirty="0">
              <a:cs typeface="Calibri Light"/>
            </a:endParaRPr>
          </a:p>
          <a:p>
            <a:pPr marL="447675" indent="-447675">
              <a:spcBef>
                <a:spcPts val="300"/>
              </a:spcBef>
              <a:buClr>
                <a:schemeClr val="tx1"/>
              </a:buClr>
              <a:tabLst>
                <a:tab pos="447675" algn="l"/>
              </a:tabLst>
              <a:defRPr/>
            </a:pPr>
            <a:r>
              <a:rPr lang="en-US" sz="1050" b="1" dirty="0">
                <a:solidFill>
                  <a:schemeClr val="accent4"/>
                </a:solidFill>
                <a:cs typeface="Calibri Light"/>
              </a:rPr>
              <a:t>DIW4 	</a:t>
            </a:r>
            <a:r>
              <a:rPr lang="en-AU" sz="1050" dirty="0">
                <a:solidFill>
                  <a:prstClr val="black"/>
                </a:solidFill>
              </a:rPr>
              <a:t>Leverage </a:t>
            </a:r>
            <a:r>
              <a:rPr lang="en-AU" sz="1050" b="1" dirty="0">
                <a:solidFill>
                  <a:schemeClr val="accent4"/>
                </a:solidFill>
              </a:rPr>
              <a:t>Australian Network on Disability membership </a:t>
            </a:r>
            <a:r>
              <a:rPr lang="en-AU" sz="1050" dirty="0">
                <a:solidFill>
                  <a:prstClr val="black"/>
                </a:solidFill>
              </a:rPr>
              <a:t>and keep up to date with best practice in accessibility and inclusion including annual participation in the </a:t>
            </a:r>
            <a:r>
              <a:rPr lang="en-GB" sz="1050" i="1" dirty="0">
                <a:solidFill>
                  <a:prstClr val="black"/>
                </a:solidFill>
                <a:hlinkClick r:id="rId3">
                  <a:extLst>
                    <a:ext uri="{A12FA001-AC4F-418D-AE19-62706E023703}">
                      <ahyp:hlinkClr xmlns="" xmlns:ahyp="http://schemas.microsoft.com/office/drawing/2018/hyperlinkcolor" val="tx"/>
                    </a:ext>
                  </a:extLst>
                </a:hlinkClick>
              </a:rPr>
              <a:t>Access and Inclusion Index</a:t>
            </a:r>
            <a:endParaRPr lang="en-AU" sz="1050" dirty="0">
              <a:cs typeface="Calibri Light"/>
            </a:endParaRPr>
          </a:p>
          <a:p>
            <a:pPr marL="447675" indent="-447675">
              <a:spcBef>
                <a:spcPts val="300"/>
              </a:spcBef>
              <a:buClr>
                <a:schemeClr val="tx1"/>
              </a:buClr>
              <a:tabLst>
                <a:tab pos="447675" algn="l"/>
              </a:tabLst>
              <a:defRPr/>
            </a:pPr>
            <a:r>
              <a:rPr lang="en-AU" sz="1050" b="1" dirty="0">
                <a:solidFill>
                  <a:schemeClr val="accent4"/>
                </a:solidFill>
                <a:latin typeface="Calibri" panose="020F0502020204030204"/>
              </a:rPr>
              <a:t>DIW5 	</a:t>
            </a:r>
            <a:r>
              <a:rPr lang="en-GB" sz="1050" b="1" dirty="0">
                <a:solidFill>
                  <a:schemeClr val="accent4"/>
                </a:solidFill>
                <a:latin typeface="Calibri" panose="020F0502020204030204"/>
                <a:ea typeface="+mn-lt"/>
                <a:cs typeface="+mn-lt"/>
              </a:rPr>
              <a:t>P</a:t>
            </a:r>
            <a:r>
              <a:rPr lang="en-GB" sz="1050" b="1" dirty="0">
                <a:solidFill>
                  <a:schemeClr val="accent4"/>
                </a:solidFill>
                <a:ea typeface="+mn-lt"/>
                <a:cs typeface="+mn-lt"/>
              </a:rPr>
              <a:t>ilot an early career program (internship/work experience programs) </a:t>
            </a:r>
            <a:r>
              <a:rPr lang="en-GB" sz="1050" b="1" dirty="0">
                <a:solidFill>
                  <a:schemeClr val="accent4"/>
                </a:solidFill>
                <a:cs typeface="Calibri Light"/>
              </a:rPr>
              <a:t>to support people with disability</a:t>
            </a:r>
            <a:r>
              <a:rPr lang="en-GB" sz="1050" b="1" dirty="0">
                <a:solidFill>
                  <a:schemeClr val="accent6"/>
                </a:solidFill>
                <a:cs typeface="Calibri Light"/>
              </a:rPr>
              <a:t> </a:t>
            </a:r>
            <a:r>
              <a:rPr lang="en-GB" sz="1050" dirty="0">
                <a:cs typeface="Calibri Light"/>
              </a:rPr>
              <a:t>to develop valuable skills and experience, leading to pathways for employment, drawing on existing external resources such as </a:t>
            </a:r>
            <a:r>
              <a:rPr lang="en-GB" sz="1050" dirty="0">
                <a:solidFill>
                  <a:prstClr val="black"/>
                </a:solidFill>
              </a:rPr>
              <a:t>participation in the Australian Network on Disability Stepping Into internship program or the Services Australia Aurora Neurodiversity Program in partnership with Specialisterne</a:t>
            </a:r>
            <a:endParaRPr lang="en-US" sz="1050" dirty="0">
              <a:solidFill>
                <a:prstClr val="black"/>
              </a:solidFill>
              <a:sym typeface="Arial"/>
            </a:endParaRPr>
          </a:p>
          <a:p>
            <a:pPr marL="447675" indent="-447675">
              <a:spcBef>
                <a:spcPts val="300"/>
              </a:spcBef>
              <a:buClr>
                <a:schemeClr val="tx1"/>
              </a:buClr>
              <a:tabLst>
                <a:tab pos="447675" algn="l"/>
              </a:tabLst>
              <a:defRPr/>
            </a:pPr>
            <a:r>
              <a:rPr lang="en-US" sz="1050" b="1" dirty="0">
                <a:solidFill>
                  <a:schemeClr val="accent4"/>
                </a:solidFill>
                <a:sym typeface="Arial"/>
              </a:rPr>
              <a:t>DIW6</a:t>
            </a:r>
            <a:r>
              <a:rPr lang="en-US" sz="1050" dirty="0">
                <a:solidFill>
                  <a:prstClr val="black"/>
                </a:solidFill>
                <a:sym typeface="Arial"/>
              </a:rPr>
              <a:t>	</a:t>
            </a:r>
            <a:r>
              <a:rPr lang="en-US" sz="1050" dirty="0">
                <a:solidFill>
                  <a:prstClr val="black"/>
                </a:solidFill>
              </a:rPr>
              <a:t>Introduce a </a:t>
            </a:r>
            <a:r>
              <a:rPr lang="en-US" sz="1050" b="1" dirty="0">
                <a:solidFill>
                  <a:schemeClr val="accent4"/>
                </a:solidFill>
              </a:rPr>
              <a:t>Wellbeing Program to support leaders and the broader workforce to foster physical and psychological wellbeing, build capability and combat burnout </a:t>
            </a:r>
            <a:r>
              <a:rPr lang="en-US" sz="1050" dirty="0">
                <a:solidFill>
                  <a:prstClr val="black"/>
                </a:solidFill>
              </a:rPr>
              <a:t>including training in debriefing, reflective practice, self-care and mentoring. Initially, introduce a </a:t>
            </a:r>
            <a:r>
              <a:rPr lang="en-US" sz="1050" dirty="0"/>
              <a:t>program of informal, tailored learning opportunities, such as virtual wellness workshops and panel discussions to build momentum, educate and promote awareness </a:t>
            </a:r>
          </a:p>
          <a:p>
            <a:pPr marL="447675" indent="-447675">
              <a:spcBef>
                <a:spcPts val="300"/>
              </a:spcBef>
              <a:buClr>
                <a:schemeClr val="tx1"/>
              </a:buClr>
              <a:tabLst>
                <a:tab pos="447675" algn="l"/>
              </a:tabLst>
              <a:defRPr/>
            </a:pPr>
            <a:r>
              <a:rPr lang="en-US" sz="1050" b="1" dirty="0">
                <a:solidFill>
                  <a:schemeClr val="accent4"/>
                </a:solidFill>
              </a:rPr>
              <a:t>DIW7	Invest in tools, systems, processes and resources</a:t>
            </a:r>
            <a:r>
              <a:rPr lang="en-US" sz="1050" dirty="0">
                <a:solidFill>
                  <a:prstClr val="black"/>
                </a:solidFill>
              </a:rPr>
              <a:t> that support and enable inclusion, belonging and wellbeing in our everyday work life such as workflow, case load management and collaboration tools </a:t>
            </a:r>
            <a:r>
              <a:rPr lang="en-US" sz="800" dirty="0">
                <a:solidFill>
                  <a:prstClr val="black"/>
                </a:solidFill>
              </a:rPr>
              <a:t>(Refer Digital and Data </a:t>
            </a:r>
            <a:r>
              <a:rPr lang="en-US" sz="800" dirty="0" smtClean="0">
                <a:solidFill>
                  <a:prstClr val="black"/>
                </a:solidFill>
              </a:rPr>
              <a:t>Roadmap) </a:t>
            </a:r>
            <a:r>
              <a:rPr lang="en-US" sz="1050" dirty="0">
                <a:solidFill>
                  <a:prstClr val="black"/>
                </a:solidFill>
              </a:rPr>
              <a:t>and establishing a national register of community contacts</a:t>
            </a:r>
          </a:p>
          <a:p>
            <a:pPr marL="447675" indent="-447675">
              <a:spcBef>
                <a:spcPts val="300"/>
              </a:spcBef>
              <a:buClr>
                <a:schemeClr val="tx1"/>
              </a:buClr>
              <a:tabLst>
                <a:tab pos="449263" algn="l"/>
              </a:tabLst>
              <a:defRPr/>
            </a:pPr>
            <a:r>
              <a:rPr kumimoji="0" lang="en-AU" sz="1050" i="0" u="none" strike="noStrike" kern="1200" cap="none" spc="0" normalizeH="0" baseline="0" noProof="0" dirty="0">
                <a:ln>
                  <a:noFill/>
                </a:ln>
                <a:solidFill>
                  <a:prstClr val="black"/>
                </a:solidFill>
                <a:effectLst/>
                <a:uLnTx/>
                <a:uFillTx/>
                <a:latin typeface="Calibri" panose="020F0502020204030204"/>
                <a:ea typeface="+mn-ea"/>
                <a:cs typeface="+mn-cs"/>
              </a:rPr>
              <a:t>	</a:t>
            </a:r>
          </a:p>
          <a:p>
            <a:pPr>
              <a:spcBef>
                <a:spcPts val="300"/>
              </a:spcBef>
              <a:buClr>
                <a:schemeClr val="tx1"/>
              </a:buClr>
              <a:tabLst>
                <a:tab pos="449263" algn="l"/>
              </a:tabLst>
              <a:defRPr/>
            </a:pPr>
            <a:endParaRPr lang="en-AU" sz="1000" b="1" dirty="0">
              <a:solidFill>
                <a:prstClr val="black"/>
              </a:solidFill>
              <a:latin typeface="Calibri" panose="020F0502020204030204"/>
            </a:endParaRPr>
          </a:p>
        </p:txBody>
      </p:sp>
      <p:sp>
        <p:nvSpPr>
          <p:cNvPr id="12" name="Content Placeholder 5">
            <a:extLst>
              <a:ext uri="{FF2B5EF4-FFF2-40B4-BE49-F238E27FC236}">
                <a16:creationId xmlns:a16="http://schemas.microsoft.com/office/drawing/2014/main" id="{18EC1947-17F2-4493-B362-4A96C09F0673}"/>
              </a:ext>
            </a:extLst>
          </p:cNvPr>
          <p:cNvSpPr txBox="1">
            <a:spLocks/>
          </p:cNvSpPr>
          <p:nvPr/>
        </p:nvSpPr>
        <p:spPr>
          <a:xfrm>
            <a:off x="483556" y="1550566"/>
            <a:ext cx="8398375" cy="292926"/>
          </a:xfrm>
          <a:prstGeom prst="rect">
            <a:avLst/>
          </a:prstGeom>
          <a:solidFill>
            <a:schemeClr val="accent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14" name="Content Placeholder 5">
            <a:extLst>
              <a:ext uri="{FF2B5EF4-FFF2-40B4-BE49-F238E27FC236}">
                <a16:creationId xmlns:a16="http://schemas.microsoft.com/office/drawing/2014/main" id="{476F6408-E7B9-4341-B926-F922D0E13AEA}"/>
              </a:ext>
            </a:extLst>
          </p:cNvPr>
          <p:cNvSpPr txBox="1">
            <a:spLocks/>
          </p:cNvSpPr>
          <p:nvPr/>
        </p:nvSpPr>
        <p:spPr>
          <a:xfrm>
            <a:off x="8958132" y="1550566"/>
            <a:ext cx="801591" cy="292926"/>
          </a:xfrm>
          <a:prstGeom prst="rect">
            <a:avLst/>
          </a:prstGeom>
          <a:solidFill>
            <a:schemeClr val="accent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15" name="Content Placeholder 5">
            <a:extLst>
              <a:ext uri="{FF2B5EF4-FFF2-40B4-BE49-F238E27FC236}">
                <a16:creationId xmlns:a16="http://schemas.microsoft.com/office/drawing/2014/main" id="{F90D2420-6DF6-4ADB-AA8A-E14F72F5CAB1}"/>
              </a:ext>
            </a:extLst>
          </p:cNvPr>
          <p:cNvSpPr txBox="1">
            <a:spLocks/>
          </p:cNvSpPr>
          <p:nvPr/>
        </p:nvSpPr>
        <p:spPr>
          <a:xfrm>
            <a:off x="9898283" y="1550566"/>
            <a:ext cx="803702" cy="292926"/>
          </a:xfrm>
          <a:prstGeom prst="rect">
            <a:avLst/>
          </a:prstGeom>
          <a:solidFill>
            <a:schemeClr val="accent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16" name="Content Placeholder 5">
            <a:extLst>
              <a:ext uri="{FF2B5EF4-FFF2-40B4-BE49-F238E27FC236}">
                <a16:creationId xmlns:a16="http://schemas.microsoft.com/office/drawing/2014/main" id="{DA8FE764-95E7-4557-970E-8E2D86CA5A4C}"/>
              </a:ext>
            </a:extLst>
          </p:cNvPr>
          <p:cNvSpPr txBox="1">
            <a:spLocks/>
          </p:cNvSpPr>
          <p:nvPr/>
        </p:nvSpPr>
        <p:spPr>
          <a:xfrm>
            <a:off x="10840545" y="1550566"/>
            <a:ext cx="803702" cy="292926"/>
          </a:xfrm>
          <a:prstGeom prst="rect">
            <a:avLst/>
          </a:prstGeom>
          <a:solidFill>
            <a:schemeClr val="accent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17" name="Content Placeholder 5">
            <a:extLst>
              <a:ext uri="{FF2B5EF4-FFF2-40B4-BE49-F238E27FC236}">
                <a16:creationId xmlns:a16="http://schemas.microsoft.com/office/drawing/2014/main" id="{11C8C3C4-2AEF-45FC-B4B3-D1026224A8D6}"/>
              </a:ext>
            </a:extLst>
          </p:cNvPr>
          <p:cNvSpPr txBox="1">
            <a:spLocks/>
          </p:cNvSpPr>
          <p:nvPr/>
        </p:nvSpPr>
        <p:spPr>
          <a:xfrm>
            <a:off x="8958132" y="1912516"/>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18" name="Content Placeholder 5">
            <a:extLst>
              <a:ext uri="{FF2B5EF4-FFF2-40B4-BE49-F238E27FC236}">
                <a16:creationId xmlns:a16="http://schemas.microsoft.com/office/drawing/2014/main" id="{35349E5E-8BA6-409E-AC09-08F88803F737}"/>
              </a:ext>
            </a:extLst>
          </p:cNvPr>
          <p:cNvSpPr txBox="1">
            <a:spLocks/>
          </p:cNvSpPr>
          <p:nvPr/>
        </p:nvSpPr>
        <p:spPr>
          <a:xfrm>
            <a:off x="9898283" y="1912516"/>
            <a:ext cx="803702"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19" name="Content Placeholder 5">
            <a:extLst>
              <a:ext uri="{FF2B5EF4-FFF2-40B4-BE49-F238E27FC236}">
                <a16:creationId xmlns:a16="http://schemas.microsoft.com/office/drawing/2014/main" id="{03CC3BA6-CD44-4052-9DC8-E9396A0592A3}"/>
              </a:ext>
            </a:extLst>
          </p:cNvPr>
          <p:cNvSpPr txBox="1">
            <a:spLocks/>
          </p:cNvSpPr>
          <p:nvPr/>
        </p:nvSpPr>
        <p:spPr>
          <a:xfrm>
            <a:off x="10840545" y="1912516"/>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endParaRPr lang="en-US" dirty="0"/>
          </a:p>
        </p:txBody>
      </p:sp>
      <p:sp>
        <p:nvSpPr>
          <p:cNvPr id="53" name="TextBox 52">
            <a:extLst>
              <a:ext uri="{FF2B5EF4-FFF2-40B4-BE49-F238E27FC236}">
                <a16:creationId xmlns:a16="http://schemas.microsoft.com/office/drawing/2014/main" id="{C23E9887-1603-4632-AA28-BD1AB7B94D31}"/>
              </a:ext>
            </a:extLst>
          </p:cNvPr>
          <p:cNvSpPr txBox="1"/>
          <p:nvPr/>
        </p:nvSpPr>
        <p:spPr>
          <a:xfrm>
            <a:off x="483556" y="5937449"/>
            <a:ext cx="11070269" cy="230832"/>
          </a:xfrm>
          <a:prstGeom prst="rect">
            <a:avLst/>
          </a:prstGeom>
          <a:solidFill>
            <a:schemeClr val="bg1"/>
          </a:solid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pic>
        <p:nvPicPr>
          <p:cNvPr id="45" name="Picture 44">
            <a:extLst>
              <a:ext uri="{FF2B5EF4-FFF2-40B4-BE49-F238E27FC236}">
                <a16:creationId xmlns:a16="http://schemas.microsoft.com/office/drawing/2014/main" id="{911A3540-392B-48EB-AFFF-7568052A9113}"/>
              </a:ext>
            </a:extLst>
          </p:cNvPr>
          <p:cNvPicPr>
            <a:picLocks noChangeAspect="1"/>
          </p:cNvPicPr>
          <p:nvPr/>
        </p:nvPicPr>
        <p:blipFill>
          <a:blip r:embed="rId4"/>
          <a:stretch>
            <a:fillRect/>
          </a:stretch>
        </p:blipFill>
        <p:spPr>
          <a:xfrm>
            <a:off x="376947" y="469356"/>
            <a:ext cx="991311" cy="824353"/>
          </a:xfrm>
          <a:prstGeom prst="rect">
            <a:avLst/>
          </a:prstGeom>
        </p:spPr>
      </p:pic>
      <p:sp>
        <p:nvSpPr>
          <p:cNvPr id="54" name="Content Placeholder 5">
            <a:extLst>
              <a:ext uri="{FF2B5EF4-FFF2-40B4-BE49-F238E27FC236}">
                <a16:creationId xmlns:a16="http://schemas.microsoft.com/office/drawing/2014/main" id="{7B1219A6-E30B-4F9D-B815-111964FA8714}"/>
              </a:ext>
            </a:extLst>
          </p:cNvPr>
          <p:cNvSpPr txBox="1">
            <a:spLocks/>
          </p:cNvSpPr>
          <p:nvPr/>
        </p:nvSpPr>
        <p:spPr>
          <a:xfrm>
            <a:off x="8958132" y="2590352"/>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5" name="Content Placeholder 5">
            <a:extLst>
              <a:ext uri="{FF2B5EF4-FFF2-40B4-BE49-F238E27FC236}">
                <a16:creationId xmlns:a16="http://schemas.microsoft.com/office/drawing/2014/main" id="{9771E94B-8602-4B4B-935D-9DC487A3D395}"/>
              </a:ext>
            </a:extLst>
          </p:cNvPr>
          <p:cNvSpPr txBox="1">
            <a:spLocks/>
          </p:cNvSpPr>
          <p:nvPr/>
        </p:nvSpPr>
        <p:spPr>
          <a:xfrm>
            <a:off x="9898283" y="2590352"/>
            <a:ext cx="803702" cy="292926"/>
          </a:xfrm>
          <a:prstGeom prst="rect">
            <a:avLst/>
          </a:prstGeom>
          <a:solidFill>
            <a:srgbClr val="F1CEED"/>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56" name="Content Placeholder 5">
            <a:extLst>
              <a:ext uri="{FF2B5EF4-FFF2-40B4-BE49-F238E27FC236}">
                <a16:creationId xmlns:a16="http://schemas.microsoft.com/office/drawing/2014/main" id="{22BAE78B-B77B-4559-8C12-CE989BE5D493}"/>
              </a:ext>
            </a:extLst>
          </p:cNvPr>
          <p:cNvSpPr txBox="1">
            <a:spLocks/>
          </p:cNvSpPr>
          <p:nvPr/>
        </p:nvSpPr>
        <p:spPr>
          <a:xfrm>
            <a:off x="10840545" y="2590352"/>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cs typeface="Calibri"/>
              </a:rPr>
              <a:t>3</a:t>
            </a:r>
          </a:p>
        </p:txBody>
      </p:sp>
      <p:sp>
        <p:nvSpPr>
          <p:cNvPr id="61" name="Content Placeholder 5">
            <a:extLst>
              <a:ext uri="{FF2B5EF4-FFF2-40B4-BE49-F238E27FC236}">
                <a16:creationId xmlns:a16="http://schemas.microsoft.com/office/drawing/2014/main" id="{5E164B83-F6AE-46EC-B310-D661A197298E}"/>
              </a:ext>
            </a:extLst>
          </p:cNvPr>
          <p:cNvSpPr txBox="1">
            <a:spLocks/>
          </p:cNvSpPr>
          <p:nvPr/>
        </p:nvSpPr>
        <p:spPr>
          <a:xfrm>
            <a:off x="8958132" y="3177350"/>
            <a:ext cx="801591" cy="292926"/>
          </a:xfrm>
          <a:prstGeom prst="rect">
            <a:avLst/>
          </a:prstGeom>
          <a:solidFill>
            <a:schemeClr val="accent4">
              <a:lumMod val="20000"/>
              <a:lumOff val="8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05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igh</a:t>
            </a:r>
          </a:p>
        </p:txBody>
      </p:sp>
      <p:sp>
        <p:nvSpPr>
          <p:cNvPr id="62" name="Content Placeholder 5">
            <a:extLst>
              <a:ext uri="{FF2B5EF4-FFF2-40B4-BE49-F238E27FC236}">
                <a16:creationId xmlns:a16="http://schemas.microsoft.com/office/drawing/2014/main" id="{28A4409A-E3E9-4571-B844-6319C55B07A9}"/>
              </a:ext>
            </a:extLst>
          </p:cNvPr>
          <p:cNvSpPr txBox="1">
            <a:spLocks/>
          </p:cNvSpPr>
          <p:nvPr/>
        </p:nvSpPr>
        <p:spPr>
          <a:xfrm>
            <a:off x="9898283" y="3177350"/>
            <a:ext cx="803702" cy="292926"/>
          </a:xfrm>
          <a:prstGeom prst="rect">
            <a:avLst/>
          </a:prstGeom>
          <a:solidFill>
            <a:schemeClr val="accent4">
              <a:lumMod val="20000"/>
              <a:lumOff val="8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05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igh</a:t>
            </a:r>
          </a:p>
        </p:txBody>
      </p:sp>
      <p:sp>
        <p:nvSpPr>
          <p:cNvPr id="63" name="Content Placeholder 5">
            <a:extLst>
              <a:ext uri="{FF2B5EF4-FFF2-40B4-BE49-F238E27FC236}">
                <a16:creationId xmlns:a16="http://schemas.microsoft.com/office/drawing/2014/main" id="{BFB45490-7B77-4FA5-81B2-F1D938280913}"/>
              </a:ext>
            </a:extLst>
          </p:cNvPr>
          <p:cNvSpPr txBox="1">
            <a:spLocks/>
          </p:cNvSpPr>
          <p:nvPr/>
        </p:nvSpPr>
        <p:spPr>
          <a:xfrm>
            <a:off x="10840545" y="3177350"/>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p>
        </p:txBody>
      </p:sp>
      <p:sp>
        <p:nvSpPr>
          <p:cNvPr id="64" name="Content Placeholder 5">
            <a:extLst>
              <a:ext uri="{FF2B5EF4-FFF2-40B4-BE49-F238E27FC236}">
                <a16:creationId xmlns:a16="http://schemas.microsoft.com/office/drawing/2014/main" id="{A7367C35-6A9D-49BE-8771-3B0295B35626}"/>
              </a:ext>
            </a:extLst>
          </p:cNvPr>
          <p:cNvSpPr txBox="1">
            <a:spLocks/>
          </p:cNvSpPr>
          <p:nvPr/>
        </p:nvSpPr>
        <p:spPr>
          <a:xfrm>
            <a:off x="8958132" y="5394782"/>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65" name="Content Placeholder 5">
            <a:extLst>
              <a:ext uri="{FF2B5EF4-FFF2-40B4-BE49-F238E27FC236}">
                <a16:creationId xmlns:a16="http://schemas.microsoft.com/office/drawing/2014/main" id="{E4133141-18EE-40C3-9CD4-93200F2751E1}"/>
              </a:ext>
            </a:extLst>
          </p:cNvPr>
          <p:cNvSpPr txBox="1">
            <a:spLocks/>
          </p:cNvSpPr>
          <p:nvPr/>
        </p:nvSpPr>
        <p:spPr>
          <a:xfrm>
            <a:off x="9898283" y="5394782"/>
            <a:ext cx="803702" cy="292926"/>
          </a:xfrm>
          <a:prstGeom prst="rect">
            <a:avLst/>
          </a:prstGeom>
          <a:solidFill>
            <a:schemeClr val="bg2">
              <a:lumMod val="9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Low</a:t>
            </a:r>
          </a:p>
        </p:txBody>
      </p:sp>
      <p:sp>
        <p:nvSpPr>
          <p:cNvPr id="66" name="Content Placeholder 5">
            <a:extLst>
              <a:ext uri="{FF2B5EF4-FFF2-40B4-BE49-F238E27FC236}">
                <a16:creationId xmlns:a16="http://schemas.microsoft.com/office/drawing/2014/main" id="{638F7196-E210-4037-BEC7-F79CADE1DD4E}"/>
              </a:ext>
            </a:extLst>
          </p:cNvPr>
          <p:cNvSpPr txBox="1">
            <a:spLocks/>
          </p:cNvSpPr>
          <p:nvPr/>
        </p:nvSpPr>
        <p:spPr>
          <a:xfrm>
            <a:off x="10840545" y="5394782"/>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cs typeface="Calibri"/>
              </a:rPr>
              <a:t>3</a:t>
            </a:r>
          </a:p>
        </p:txBody>
      </p:sp>
      <p:sp>
        <p:nvSpPr>
          <p:cNvPr id="67" name="Content Placeholder 5">
            <a:extLst>
              <a:ext uri="{FF2B5EF4-FFF2-40B4-BE49-F238E27FC236}">
                <a16:creationId xmlns:a16="http://schemas.microsoft.com/office/drawing/2014/main" id="{C1CDC8CF-5765-4D59-ABD1-92B9DC8B5038}"/>
              </a:ext>
            </a:extLst>
          </p:cNvPr>
          <p:cNvSpPr txBox="1">
            <a:spLocks/>
          </p:cNvSpPr>
          <p:nvPr/>
        </p:nvSpPr>
        <p:spPr>
          <a:xfrm>
            <a:off x="8958132" y="3848231"/>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dirty="0"/>
              <a:t>Moderate</a:t>
            </a:r>
          </a:p>
        </p:txBody>
      </p:sp>
      <p:sp>
        <p:nvSpPr>
          <p:cNvPr id="68" name="Content Placeholder 5">
            <a:extLst>
              <a:ext uri="{FF2B5EF4-FFF2-40B4-BE49-F238E27FC236}">
                <a16:creationId xmlns:a16="http://schemas.microsoft.com/office/drawing/2014/main" id="{4A4EDA03-898D-4C33-AFF9-01299AE41376}"/>
              </a:ext>
            </a:extLst>
          </p:cNvPr>
          <p:cNvSpPr txBox="1">
            <a:spLocks/>
          </p:cNvSpPr>
          <p:nvPr/>
        </p:nvSpPr>
        <p:spPr>
          <a:xfrm>
            <a:off x="9898283" y="3848231"/>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dirty="0"/>
              <a:t>Moderate</a:t>
            </a:r>
          </a:p>
        </p:txBody>
      </p:sp>
      <p:sp>
        <p:nvSpPr>
          <p:cNvPr id="69" name="Content Placeholder 5">
            <a:extLst>
              <a:ext uri="{FF2B5EF4-FFF2-40B4-BE49-F238E27FC236}">
                <a16:creationId xmlns:a16="http://schemas.microsoft.com/office/drawing/2014/main" id="{41CC5D43-518E-4A4C-B1B4-F81A0017B688}"/>
              </a:ext>
            </a:extLst>
          </p:cNvPr>
          <p:cNvSpPr txBox="1">
            <a:spLocks/>
          </p:cNvSpPr>
          <p:nvPr/>
        </p:nvSpPr>
        <p:spPr>
          <a:xfrm>
            <a:off x="10840545" y="3848136"/>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70" name="Content Placeholder 5">
            <a:extLst>
              <a:ext uri="{FF2B5EF4-FFF2-40B4-BE49-F238E27FC236}">
                <a16:creationId xmlns:a16="http://schemas.microsoft.com/office/drawing/2014/main" id="{65E8D323-1CA1-428A-8133-99B714B50EB0}"/>
              </a:ext>
            </a:extLst>
          </p:cNvPr>
          <p:cNvSpPr txBox="1">
            <a:spLocks/>
          </p:cNvSpPr>
          <p:nvPr/>
        </p:nvSpPr>
        <p:spPr>
          <a:xfrm>
            <a:off x="8958132" y="4326871"/>
            <a:ext cx="801591" cy="292926"/>
          </a:xfrm>
          <a:prstGeom prst="rect">
            <a:avLst/>
          </a:prstGeom>
          <a:solidFill>
            <a:schemeClr val="accent4">
              <a:lumMod val="20000"/>
              <a:lumOff val="8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05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igh</a:t>
            </a:r>
          </a:p>
        </p:txBody>
      </p:sp>
      <p:sp>
        <p:nvSpPr>
          <p:cNvPr id="71" name="Content Placeholder 5">
            <a:extLst>
              <a:ext uri="{FF2B5EF4-FFF2-40B4-BE49-F238E27FC236}">
                <a16:creationId xmlns:a16="http://schemas.microsoft.com/office/drawing/2014/main" id="{8A2DA52B-F95A-44D6-83EE-8141653EAA12}"/>
              </a:ext>
            </a:extLst>
          </p:cNvPr>
          <p:cNvSpPr txBox="1">
            <a:spLocks/>
          </p:cNvSpPr>
          <p:nvPr/>
        </p:nvSpPr>
        <p:spPr>
          <a:xfrm>
            <a:off x="9898283" y="4326871"/>
            <a:ext cx="803702" cy="292926"/>
          </a:xfrm>
          <a:prstGeom prst="rect">
            <a:avLst/>
          </a:prstGeom>
          <a:solidFill>
            <a:schemeClr val="accent4">
              <a:lumMod val="20000"/>
              <a:lumOff val="8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05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igh</a:t>
            </a:r>
          </a:p>
        </p:txBody>
      </p:sp>
      <p:sp>
        <p:nvSpPr>
          <p:cNvPr id="72" name="Content Placeholder 5">
            <a:extLst>
              <a:ext uri="{FF2B5EF4-FFF2-40B4-BE49-F238E27FC236}">
                <a16:creationId xmlns:a16="http://schemas.microsoft.com/office/drawing/2014/main" id="{3036CFDC-20CF-4F10-9DE8-8104DE060922}"/>
              </a:ext>
            </a:extLst>
          </p:cNvPr>
          <p:cNvSpPr txBox="1">
            <a:spLocks/>
          </p:cNvSpPr>
          <p:nvPr/>
        </p:nvSpPr>
        <p:spPr>
          <a:xfrm>
            <a:off x="10840545" y="4326871"/>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73" name="Content Placeholder 5">
            <a:extLst>
              <a:ext uri="{FF2B5EF4-FFF2-40B4-BE49-F238E27FC236}">
                <a16:creationId xmlns:a16="http://schemas.microsoft.com/office/drawing/2014/main" id="{6171B139-F0EB-4416-9274-DA3A03A14C4F}"/>
              </a:ext>
            </a:extLst>
          </p:cNvPr>
          <p:cNvSpPr txBox="1">
            <a:spLocks/>
          </p:cNvSpPr>
          <p:nvPr/>
        </p:nvSpPr>
        <p:spPr>
          <a:xfrm>
            <a:off x="8958132" y="4890928"/>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74" name="Content Placeholder 5">
            <a:extLst>
              <a:ext uri="{FF2B5EF4-FFF2-40B4-BE49-F238E27FC236}">
                <a16:creationId xmlns:a16="http://schemas.microsoft.com/office/drawing/2014/main" id="{1ACFA204-35D8-47EA-A65C-DC79F9FF8FCB}"/>
              </a:ext>
            </a:extLst>
          </p:cNvPr>
          <p:cNvSpPr txBox="1">
            <a:spLocks/>
          </p:cNvSpPr>
          <p:nvPr/>
        </p:nvSpPr>
        <p:spPr>
          <a:xfrm>
            <a:off x="9898283" y="4890928"/>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dirty="0"/>
              <a:t>Moderate</a:t>
            </a:r>
          </a:p>
        </p:txBody>
      </p:sp>
      <p:sp>
        <p:nvSpPr>
          <p:cNvPr id="75" name="Content Placeholder 5">
            <a:extLst>
              <a:ext uri="{FF2B5EF4-FFF2-40B4-BE49-F238E27FC236}">
                <a16:creationId xmlns:a16="http://schemas.microsoft.com/office/drawing/2014/main" id="{601E6EF0-86FE-40CD-9F18-0B24AB37FCA2}"/>
              </a:ext>
            </a:extLst>
          </p:cNvPr>
          <p:cNvSpPr txBox="1">
            <a:spLocks/>
          </p:cNvSpPr>
          <p:nvPr/>
        </p:nvSpPr>
        <p:spPr>
          <a:xfrm>
            <a:off x="10840545" y="4890928"/>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4" name="Slide Number Placeholder 3">
            <a:extLst>
              <a:ext uri="{FF2B5EF4-FFF2-40B4-BE49-F238E27FC236}">
                <a16:creationId xmlns:a16="http://schemas.microsoft.com/office/drawing/2014/main" id="{9BADAAFA-6B05-14A2-E349-482C6C09E4DF}"/>
              </a:ext>
            </a:extLst>
          </p:cNvPr>
          <p:cNvSpPr>
            <a:spLocks noGrp="1"/>
          </p:cNvSpPr>
          <p:nvPr>
            <p:ph type="sldNum" sz="quarter" idx="12"/>
          </p:nvPr>
        </p:nvSpPr>
        <p:spPr/>
        <p:txBody>
          <a:bodyPr/>
          <a:lstStyle/>
          <a:p>
            <a:fld id="{C0F55C17-AF72-40D4-ADBD-B5505DEBF9BA}" type="slidenum">
              <a:rPr lang="en-AU" smtClean="0"/>
              <a:t>33</a:t>
            </a:fld>
            <a:endParaRPr lang="en-US" dirty="0"/>
          </a:p>
        </p:txBody>
      </p:sp>
      <p:sp>
        <p:nvSpPr>
          <p:cNvPr id="2" name="Footer Placeholder 1">
            <a:extLst>
              <a:ext uri="{FF2B5EF4-FFF2-40B4-BE49-F238E27FC236}">
                <a16:creationId xmlns:a16="http://schemas.microsoft.com/office/drawing/2014/main" id="{9C0741DB-F761-8135-0E05-83E9FF54CF42}"/>
              </a:ext>
            </a:extLst>
          </p:cNvPr>
          <p:cNvSpPr>
            <a:spLocks noGrp="1"/>
          </p:cNvSpPr>
          <p:nvPr>
            <p:ph type="ftr" sz="quarter" idx="11"/>
          </p:nvPr>
        </p:nvSpPr>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247109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lstStyle/>
          <a:p>
            <a:r>
              <a:rPr lang="en-AU" dirty="0"/>
              <a:t>Appendix</a:t>
            </a:r>
          </a:p>
        </p:txBody>
      </p:sp>
      <p:sp>
        <p:nvSpPr>
          <p:cNvPr id="5" name="Slide Number Placeholder 4">
            <a:extLst>
              <a:ext uri="{FF2B5EF4-FFF2-40B4-BE49-F238E27FC236}">
                <a16:creationId xmlns:a16="http://schemas.microsoft.com/office/drawing/2014/main" id="{DB694BAD-74F6-2DB2-2AB3-0AEE4D1EB764}"/>
              </a:ext>
            </a:extLst>
          </p:cNvPr>
          <p:cNvSpPr>
            <a:spLocks noGrp="1"/>
          </p:cNvSpPr>
          <p:nvPr>
            <p:ph type="sldNum" sz="quarter" idx="12"/>
          </p:nvPr>
        </p:nvSpPr>
        <p:spPr/>
        <p:txBody>
          <a:bodyPr/>
          <a:lstStyle/>
          <a:p>
            <a:fld id="{C0F55C17-AF72-40D4-ADBD-B5505DEBF9BA}" type="slidenum">
              <a:rPr lang="en-AU" smtClean="0"/>
              <a:pPr/>
              <a:t>34</a:t>
            </a:fld>
            <a:endParaRPr lang="en-US" dirty="0"/>
          </a:p>
        </p:txBody>
      </p:sp>
    </p:spTree>
    <p:extLst>
      <p:ext uri="{BB962C8B-B14F-4D97-AF65-F5344CB8AC3E}">
        <p14:creationId xmlns:p14="http://schemas.microsoft.com/office/powerpoint/2010/main" val="28185692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08C0DBF3-4654-48FA-838A-0410BEC9C5EF}"/>
              </a:ext>
            </a:extLst>
          </p:cNvPr>
          <p:cNvSpPr txBox="1"/>
          <p:nvPr/>
        </p:nvSpPr>
        <p:spPr>
          <a:xfrm>
            <a:off x="1239868" y="3070650"/>
            <a:ext cx="778602"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800" dirty="0">
                <a:solidFill>
                  <a:schemeClr val="bg2">
                    <a:lumMod val="25000"/>
                  </a:schemeClr>
                </a:solidFill>
                <a:latin typeface="+mn-lt"/>
                <a:ea typeface="+mn-ea"/>
              </a:rPr>
              <a:t>FY22</a:t>
            </a:r>
          </a:p>
          <a:p>
            <a:r>
              <a:rPr lang="en-AU" sz="1800" dirty="0">
                <a:solidFill>
                  <a:schemeClr val="bg2">
                    <a:lumMod val="25000"/>
                  </a:schemeClr>
                </a:solidFill>
                <a:latin typeface="+mn-lt"/>
                <a:ea typeface="+mn-ea"/>
              </a:rPr>
              <a:t>26.1%</a:t>
            </a:r>
          </a:p>
        </p:txBody>
      </p:sp>
      <p:sp>
        <p:nvSpPr>
          <p:cNvPr id="4" name="Footer Placeholder 3">
            <a:extLst>
              <a:ext uri="{FF2B5EF4-FFF2-40B4-BE49-F238E27FC236}">
                <a16:creationId xmlns:a16="http://schemas.microsoft.com/office/drawing/2014/main" id="{A3455D95-CCCD-4000-8A6F-6398A2A537DD}"/>
              </a:ext>
            </a:extLst>
          </p:cNvPr>
          <p:cNvSpPr>
            <a:spLocks noGrp="1"/>
          </p:cNvSpPr>
          <p:nvPr>
            <p:ph type="ftr" sz="quarter" idx="11"/>
          </p:nvPr>
        </p:nvSpPr>
        <p:spPr>
          <a:xfrm>
            <a:off x="1170097" y="6342355"/>
            <a:ext cx="6783813" cy="180000"/>
          </a:xfrm>
        </p:spPr>
        <p:txBody>
          <a:bodyPr/>
          <a:lstStyle/>
          <a:p>
            <a:pPr algn="ctr"/>
            <a:r>
              <a:rPr lang="en-AU" smtClean="0"/>
              <a:t>NDIS Commission Workforce Plan 2023-2028</a:t>
            </a:r>
            <a:endParaRPr lang="en-US" dirty="0"/>
          </a:p>
        </p:txBody>
      </p:sp>
      <p:sp>
        <p:nvSpPr>
          <p:cNvPr id="8" name="Title 4">
            <a:extLst>
              <a:ext uri="{FF2B5EF4-FFF2-40B4-BE49-F238E27FC236}">
                <a16:creationId xmlns:a16="http://schemas.microsoft.com/office/drawing/2014/main" id="{F780F49E-C76D-419E-9D43-8661331B3495}"/>
              </a:ext>
            </a:extLst>
          </p:cNvPr>
          <p:cNvSpPr txBox="1">
            <a:spLocks/>
          </p:cNvSpPr>
          <p:nvPr/>
        </p:nvSpPr>
        <p:spPr>
          <a:xfrm>
            <a:off x="503691" y="498100"/>
            <a:ext cx="8268644" cy="673562"/>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800" dirty="0">
                <a:solidFill>
                  <a:schemeClr val="tx2"/>
                </a:solidFill>
              </a:rPr>
              <a:t>Appendix A: Current state benchmarking </a:t>
            </a:r>
            <a:endParaRPr lang="en-AU" sz="2800" dirty="0">
              <a:solidFill>
                <a:schemeClr val="tx2"/>
              </a:solidFill>
            </a:endParaRPr>
          </a:p>
        </p:txBody>
      </p:sp>
      <p:sp>
        <p:nvSpPr>
          <p:cNvPr id="10" name="Google Shape;2191;p207">
            <a:extLst>
              <a:ext uri="{FF2B5EF4-FFF2-40B4-BE49-F238E27FC236}">
                <a16:creationId xmlns:a16="http://schemas.microsoft.com/office/drawing/2014/main" id="{86489AEB-C4C1-4CFC-92E3-59B5F49DE2DE}"/>
              </a:ext>
            </a:extLst>
          </p:cNvPr>
          <p:cNvSpPr/>
          <p:nvPr/>
        </p:nvSpPr>
        <p:spPr>
          <a:xfrm>
            <a:off x="503690" y="1516844"/>
            <a:ext cx="3289131" cy="347120"/>
          </a:xfrm>
          <a:prstGeom prst="rect">
            <a:avLst/>
          </a:prstGeom>
          <a:solidFill>
            <a:schemeClr val="tx2"/>
          </a:solidFill>
          <a:ln>
            <a:noFill/>
          </a:ln>
        </p:spPr>
        <p:txBody>
          <a:bodyPr spcFirstLastPara="1" wrap="square" lIns="91425" tIns="45700" rIns="91425" bIns="45700" anchor="ctr" anchorCtr="0">
            <a:noAutofit/>
          </a:bodyPr>
          <a:lstStyle/>
          <a:p>
            <a:pPr algn="ctr">
              <a:buClr>
                <a:srgbClr val="000000"/>
              </a:buClr>
            </a:pPr>
            <a:r>
              <a:rPr lang="en-AU" sz="1200" b="1" kern="0" dirty="0">
                <a:solidFill>
                  <a:srgbClr val="FFFFFF"/>
                </a:solidFill>
                <a:cs typeface="Arial"/>
                <a:sym typeface="Arial"/>
              </a:rPr>
              <a:t>Turnover Rate  </a:t>
            </a:r>
            <a:endParaRPr lang="en-US" sz="1200" b="1" kern="0" dirty="0">
              <a:solidFill>
                <a:srgbClr val="FFFFFF"/>
              </a:solidFill>
              <a:cs typeface="Arial"/>
            </a:endParaRPr>
          </a:p>
        </p:txBody>
      </p:sp>
      <p:sp>
        <p:nvSpPr>
          <p:cNvPr id="12" name="Google Shape;2205;p207">
            <a:extLst>
              <a:ext uri="{FF2B5EF4-FFF2-40B4-BE49-F238E27FC236}">
                <a16:creationId xmlns:a16="http://schemas.microsoft.com/office/drawing/2014/main" id="{D9C857CE-0825-40F1-BFB9-3FC071C73111}"/>
              </a:ext>
            </a:extLst>
          </p:cNvPr>
          <p:cNvSpPr/>
          <p:nvPr/>
        </p:nvSpPr>
        <p:spPr>
          <a:xfrm>
            <a:off x="503690" y="3062218"/>
            <a:ext cx="1521052" cy="889080"/>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ea typeface="Arial"/>
              <a:cs typeface="Arial"/>
              <a:sym typeface="Arial"/>
            </a:endParaRPr>
          </a:p>
        </p:txBody>
      </p:sp>
      <p:sp>
        <p:nvSpPr>
          <p:cNvPr id="21" name="TextBox 20">
            <a:extLst>
              <a:ext uri="{FF2B5EF4-FFF2-40B4-BE49-F238E27FC236}">
                <a16:creationId xmlns:a16="http://schemas.microsoft.com/office/drawing/2014/main" id="{C55EFB53-0AB6-4FDC-9A1C-E86A9AA4B1D4}"/>
              </a:ext>
            </a:extLst>
          </p:cNvPr>
          <p:cNvSpPr txBox="1"/>
          <p:nvPr/>
        </p:nvSpPr>
        <p:spPr>
          <a:xfrm>
            <a:off x="503690" y="4154278"/>
            <a:ext cx="1521052" cy="1104262"/>
          </a:xfrm>
          <a:prstGeom prst="rect">
            <a:avLst/>
          </a:prstGeom>
          <a:solidFill>
            <a:schemeClr val="bg2">
              <a:lumMod val="50000"/>
            </a:schemeClr>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200" dirty="0">
                <a:effectLst/>
                <a:latin typeface="+mn-lt"/>
              </a:rPr>
              <a:t>Australian Commission on Safety and Quality in Health Care</a:t>
            </a:r>
          </a:p>
        </p:txBody>
      </p:sp>
      <p:sp>
        <p:nvSpPr>
          <p:cNvPr id="22" name="Rectangle 1">
            <a:extLst>
              <a:ext uri="{FF2B5EF4-FFF2-40B4-BE49-F238E27FC236}">
                <a16:creationId xmlns:a16="http://schemas.microsoft.com/office/drawing/2014/main" id="{DC8D40F8-522F-42B7-837D-C1EF59D0733E}"/>
              </a:ext>
            </a:extLst>
          </p:cNvPr>
          <p:cNvSpPr>
            <a:spLocks noChangeArrowheads="1"/>
          </p:cNvSpPr>
          <p:nvPr/>
        </p:nvSpPr>
        <p:spPr bwMode="auto">
          <a:xfrm>
            <a:off x="2773363" y="39290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
            </a: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4" name="Rectangle 2">
            <a:extLst>
              <a:ext uri="{FF2B5EF4-FFF2-40B4-BE49-F238E27FC236}">
                <a16:creationId xmlns:a16="http://schemas.microsoft.com/office/drawing/2014/main" id="{5D1781BB-1F22-4198-9099-2C8C6802B68A}"/>
              </a:ext>
            </a:extLst>
          </p:cNvPr>
          <p:cNvSpPr>
            <a:spLocks noChangeArrowheads="1"/>
          </p:cNvSpPr>
          <p:nvPr/>
        </p:nvSpPr>
        <p:spPr bwMode="auto">
          <a:xfrm>
            <a:off x="2773363" y="39290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
            </a: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 name="TextBox 26">
            <a:extLst>
              <a:ext uri="{FF2B5EF4-FFF2-40B4-BE49-F238E27FC236}">
                <a16:creationId xmlns:a16="http://schemas.microsoft.com/office/drawing/2014/main" id="{6846F115-6728-42AA-98F9-78410EF907E5}"/>
              </a:ext>
            </a:extLst>
          </p:cNvPr>
          <p:cNvSpPr txBox="1"/>
          <p:nvPr/>
        </p:nvSpPr>
        <p:spPr>
          <a:xfrm>
            <a:off x="500368" y="5259347"/>
            <a:ext cx="1521052"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2400" dirty="0">
                <a:solidFill>
                  <a:schemeClr val="bg2">
                    <a:lumMod val="25000"/>
                  </a:schemeClr>
                </a:solidFill>
                <a:latin typeface="+mn-lt"/>
                <a:ea typeface="+mn-ea"/>
              </a:rPr>
              <a:t>16.2%</a:t>
            </a:r>
          </a:p>
        </p:txBody>
      </p:sp>
      <p:sp>
        <p:nvSpPr>
          <p:cNvPr id="28" name="TextBox 27">
            <a:extLst>
              <a:ext uri="{FF2B5EF4-FFF2-40B4-BE49-F238E27FC236}">
                <a16:creationId xmlns:a16="http://schemas.microsoft.com/office/drawing/2014/main" id="{64EDF6ED-B6C9-49B6-8ED4-6BE2B3E9BFE7}"/>
              </a:ext>
            </a:extLst>
          </p:cNvPr>
          <p:cNvSpPr txBox="1"/>
          <p:nvPr/>
        </p:nvSpPr>
        <p:spPr>
          <a:xfrm>
            <a:off x="2275091" y="3070116"/>
            <a:ext cx="1521052"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2400" dirty="0">
                <a:solidFill>
                  <a:schemeClr val="bg2">
                    <a:lumMod val="25000"/>
                  </a:schemeClr>
                </a:solidFill>
                <a:latin typeface="+mn-lt"/>
                <a:ea typeface="+mn-ea"/>
              </a:rPr>
              <a:t>13.2%</a:t>
            </a:r>
          </a:p>
        </p:txBody>
      </p:sp>
      <p:sp>
        <p:nvSpPr>
          <p:cNvPr id="29" name="TextBox 28">
            <a:extLst>
              <a:ext uri="{FF2B5EF4-FFF2-40B4-BE49-F238E27FC236}">
                <a16:creationId xmlns:a16="http://schemas.microsoft.com/office/drawing/2014/main" id="{37750FF5-12EB-4EC7-B871-907B6E1DF88E}"/>
              </a:ext>
            </a:extLst>
          </p:cNvPr>
          <p:cNvSpPr txBox="1"/>
          <p:nvPr/>
        </p:nvSpPr>
        <p:spPr>
          <a:xfrm>
            <a:off x="2278413" y="1972116"/>
            <a:ext cx="1521052" cy="1104262"/>
          </a:xfrm>
          <a:prstGeom prst="rect">
            <a:avLst/>
          </a:prstGeom>
          <a:solidFill>
            <a:schemeClr val="accent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200" dirty="0">
                <a:latin typeface="+mn-lt"/>
              </a:rPr>
              <a:t>Aged Care Quality and Safety Commission</a:t>
            </a:r>
            <a:endParaRPr lang="en-AU" sz="1200" dirty="0">
              <a:effectLst/>
              <a:latin typeface="+mn-lt"/>
            </a:endParaRPr>
          </a:p>
        </p:txBody>
      </p:sp>
      <p:sp>
        <p:nvSpPr>
          <p:cNvPr id="30" name="TextBox 29">
            <a:extLst>
              <a:ext uri="{FF2B5EF4-FFF2-40B4-BE49-F238E27FC236}">
                <a16:creationId xmlns:a16="http://schemas.microsoft.com/office/drawing/2014/main" id="{0ACCA94A-6CA2-449C-ABA4-2DC8F54838FD}"/>
              </a:ext>
            </a:extLst>
          </p:cNvPr>
          <p:cNvSpPr txBox="1"/>
          <p:nvPr/>
        </p:nvSpPr>
        <p:spPr>
          <a:xfrm>
            <a:off x="2275091" y="4154278"/>
            <a:ext cx="1521052" cy="1104262"/>
          </a:xfrm>
          <a:prstGeom prst="rect">
            <a:avLst/>
          </a:prstGeom>
          <a:solidFill>
            <a:schemeClr val="accent4"/>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200" dirty="0">
                <a:effectLst/>
                <a:latin typeface="+mn-lt"/>
              </a:rPr>
              <a:t>Australian Competition and Consumer Commission</a:t>
            </a:r>
          </a:p>
        </p:txBody>
      </p:sp>
      <p:sp>
        <p:nvSpPr>
          <p:cNvPr id="31" name="TextBox 30">
            <a:extLst>
              <a:ext uri="{FF2B5EF4-FFF2-40B4-BE49-F238E27FC236}">
                <a16:creationId xmlns:a16="http://schemas.microsoft.com/office/drawing/2014/main" id="{0537622C-CC24-4FF8-837C-3BFBDF0CF22A}"/>
              </a:ext>
            </a:extLst>
          </p:cNvPr>
          <p:cNvSpPr txBox="1"/>
          <p:nvPr/>
        </p:nvSpPr>
        <p:spPr>
          <a:xfrm>
            <a:off x="2271769" y="5259347"/>
            <a:ext cx="1521052"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2400" dirty="0">
                <a:solidFill>
                  <a:schemeClr val="bg2">
                    <a:lumMod val="25000"/>
                  </a:schemeClr>
                </a:solidFill>
                <a:latin typeface="+mn-lt"/>
                <a:ea typeface="+mn-ea"/>
              </a:rPr>
              <a:t>11.6%</a:t>
            </a:r>
          </a:p>
        </p:txBody>
      </p:sp>
      <p:sp>
        <p:nvSpPr>
          <p:cNvPr id="32" name="Google Shape;2191;p207">
            <a:extLst>
              <a:ext uri="{FF2B5EF4-FFF2-40B4-BE49-F238E27FC236}">
                <a16:creationId xmlns:a16="http://schemas.microsoft.com/office/drawing/2014/main" id="{50658009-476D-4A85-8E9B-B8CAE5C92D16}"/>
              </a:ext>
            </a:extLst>
          </p:cNvPr>
          <p:cNvSpPr/>
          <p:nvPr/>
        </p:nvSpPr>
        <p:spPr>
          <a:xfrm>
            <a:off x="3929642" y="1516844"/>
            <a:ext cx="7758668" cy="347116"/>
          </a:xfrm>
          <a:prstGeom prst="rect">
            <a:avLst/>
          </a:prstGeom>
          <a:solidFill>
            <a:schemeClr val="tx2"/>
          </a:solidFill>
          <a:ln>
            <a:noFill/>
          </a:ln>
        </p:spPr>
        <p:txBody>
          <a:bodyPr spcFirstLastPara="1" wrap="square" lIns="91425" tIns="45700" rIns="91425" bIns="45700" anchor="ctr" anchorCtr="0">
            <a:noAutofit/>
          </a:bodyPr>
          <a:lstStyle/>
          <a:p>
            <a:pPr algn="ctr">
              <a:buClr>
                <a:srgbClr val="000000"/>
              </a:buClr>
            </a:pPr>
            <a:r>
              <a:rPr lang="en-AU" sz="1200" b="1" kern="0" dirty="0">
                <a:solidFill>
                  <a:srgbClr val="FFFFFF"/>
                </a:solidFill>
                <a:cs typeface="Arial"/>
                <a:sym typeface="Arial"/>
              </a:rPr>
              <a:t>Headcount by classification </a:t>
            </a:r>
            <a:endParaRPr lang="en-US" sz="1200" b="1" kern="0" dirty="0">
              <a:solidFill>
                <a:srgbClr val="FFFFFF"/>
              </a:solidFill>
              <a:cs typeface="Arial"/>
            </a:endParaRPr>
          </a:p>
        </p:txBody>
      </p:sp>
      <mc:AlternateContent xmlns:mc="http://schemas.openxmlformats.org/markup-compatibility/2006">
        <mc:Choice xmlns="" xmlns:cx2="http://schemas.microsoft.com/office/drawing/2015/10/21/chartex" Requires="cx2">
          <p:graphicFrame>
            <p:nvGraphicFramePr>
              <p:cNvPr id="33" name="Chart 32">
                <a:extLst>
                  <a:ext uri="{FF2B5EF4-FFF2-40B4-BE49-F238E27FC236}">
                    <a16:creationId xmlns:a16="http://schemas.microsoft.com/office/drawing/2014/main" id="{97996427-E710-4072-982A-0270821E1195}"/>
                  </a:ext>
                </a:extLst>
              </p:cNvPr>
              <p:cNvGraphicFramePr/>
              <p:nvPr>
                <p:extLst>
                  <p:ext uri="{D42A27DB-BD31-4B8C-83A1-F6EECF244321}">
                    <p14:modId xmlns:p14="http://schemas.microsoft.com/office/powerpoint/2010/main" val="942342444"/>
                  </p:ext>
                </p:extLst>
              </p:nvPr>
            </p:nvGraphicFramePr>
            <p:xfrm>
              <a:off x="7835980" y="1972116"/>
              <a:ext cx="3769847" cy="2014556"/>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33" name="Chart 32">
                <a:extLst>
                  <a:ext uri="{FF2B5EF4-FFF2-40B4-BE49-F238E27FC236}">
                    <a16:creationId xmlns:a16="http://schemas.microsoft.com/office/drawing/2014/main" id="{97996427-E710-4072-982A-0270821E1195}"/>
                  </a:ext>
                </a:extLst>
              </p:cNvPr>
              <p:cNvPicPr>
                <a:picLocks noGrp="1" noRot="1" noChangeAspect="1" noMove="1" noResize="1" noEditPoints="1" noAdjustHandles="1" noChangeArrowheads="1" noChangeShapeType="1"/>
              </p:cNvPicPr>
              <p:nvPr/>
            </p:nvPicPr>
            <p:blipFill>
              <a:blip r:embed="rId4"/>
              <a:stretch>
                <a:fillRect/>
              </a:stretch>
            </p:blipFill>
            <p:spPr>
              <a:xfrm>
                <a:off x="7835980" y="1972116"/>
                <a:ext cx="3769847" cy="2014556"/>
              </a:xfrm>
              <a:prstGeom prst="rect">
                <a:avLst/>
              </a:prstGeom>
            </p:spPr>
          </p:pic>
        </mc:Fallback>
      </mc:AlternateContent>
      <mc:AlternateContent xmlns:mc="http://schemas.openxmlformats.org/markup-compatibility/2006">
        <mc:Choice xmlns="" xmlns:cx2="http://schemas.microsoft.com/office/drawing/2015/10/21/chartex" Requires="cx2">
          <p:graphicFrame>
            <p:nvGraphicFramePr>
              <p:cNvPr id="34" name="Chart 33">
                <a:extLst>
                  <a:ext uri="{FF2B5EF4-FFF2-40B4-BE49-F238E27FC236}">
                    <a16:creationId xmlns:a16="http://schemas.microsoft.com/office/drawing/2014/main" id="{D4F584A5-0DEB-49C0-8BB5-01B477368714}"/>
                  </a:ext>
                </a:extLst>
              </p:cNvPr>
              <p:cNvGraphicFramePr/>
              <p:nvPr>
                <p:extLst>
                  <p:ext uri="{D42A27DB-BD31-4B8C-83A1-F6EECF244321}">
                    <p14:modId xmlns:p14="http://schemas.microsoft.com/office/powerpoint/2010/main" val="4202512196"/>
                  </p:ext>
                </p:extLst>
              </p:nvPr>
            </p:nvGraphicFramePr>
            <p:xfrm>
              <a:off x="3929642" y="4141453"/>
              <a:ext cx="3769846" cy="2004582"/>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34" name="Chart 33">
                <a:extLst>
                  <a:ext uri="{FF2B5EF4-FFF2-40B4-BE49-F238E27FC236}">
                    <a16:creationId xmlns:a16="http://schemas.microsoft.com/office/drawing/2014/main" id="{D4F584A5-0DEB-49C0-8BB5-01B477368714}"/>
                  </a:ext>
                </a:extLst>
              </p:cNvPr>
              <p:cNvPicPr>
                <a:picLocks noGrp="1" noRot="1" noChangeAspect="1" noMove="1" noResize="1" noEditPoints="1" noAdjustHandles="1" noChangeArrowheads="1" noChangeShapeType="1"/>
              </p:cNvPicPr>
              <p:nvPr/>
            </p:nvPicPr>
            <p:blipFill>
              <a:blip r:embed="rId6"/>
              <a:stretch>
                <a:fillRect/>
              </a:stretch>
            </p:blipFill>
            <p:spPr>
              <a:xfrm>
                <a:off x="3929642" y="4141453"/>
                <a:ext cx="3769846" cy="2004582"/>
              </a:xfrm>
              <a:prstGeom prst="rect">
                <a:avLst/>
              </a:prstGeom>
            </p:spPr>
          </p:pic>
        </mc:Fallback>
      </mc:AlternateContent>
      <mc:AlternateContent xmlns:mc="http://schemas.openxmlformats.org/markup-compatibility/2006">
        <mc:Choice xmlns="" xmlns:cx2="http://schemas.microsoft.com/office/drawing/2015/10/21/chartex" Requires="cx2">
          <p:graphicFrame>
            <p:nvGraphicFramePr>
              <p:cNvPr id="35" name="Chart 34">
                <a:extLst>
                  <a:ext uri="{FF2B5EF4-FFF2-40B4-BE49-F238E27FC236}">
                    <a16:creationId xmlns:a16="http://schemas.microsoft.com/office/drawing/2014/main" id="{7F685AE7-B9CD-4500-84AE-DCB127B67239}"/>
                  </a:ext>
                </a:extLst>
              </p:cNvPr>
              <p:cNvGraphicFramePr/>
              <p:nvPr>
                <p:extLst>
                  <p:ext uri="{D42A27DB-BD31-4B8C-83A1-F6EECF244321}">
                    <p14:modId xmlns:p14="http://schemas.microsoft.com/office/powerpoint/2010/main" val="3351268516"/>
                  </p:ext>
                </p:extLst>
              </p:nvPr>
            </p:nvGraphicFramePr>
            <p:xfrm>
              <a:off x="7835982" y="4174879"/>
              <a:ext cx="3769846" cy="1971156"/>
            </p:xfrm>
            <a:graphic>
              <a:graphicData uri="http://schemas.microsoft.com/office/drawing/2014/chartex">
                <cx:chart xmlns:cx="http://schemas.microsoft.com/office/drawing/2014/chartex" xmlns:r="http://schemas.openxmlformats.org/officeDocument/2006/relationships" r:id="rId7"/>
              </a:graphicData>
            </a:graphic>
          </p:graphicFrame>
        </mc:Choice>
        <mc:Fallback>
          <p:pic>
            <p:nvPicPr>
              <p:cNvPr id="35" name="Chart 34">
                <a:extLst>
                  <a:ext uri="{FF2B5EF4-FFF2-40B4-BE49-F238E27FC236}">
                    <a16:creationId xmlns:a16="http://schemas.microsoft.com/office/drawing/2014/main" id="{7F685AE7-B9CD-4500-84AE-DCB127B67239}"/>
                  </a:ext>
                </a:extLst>
              </p:cNvPr>
              <p:cNvPicPr>
                <a:picLocks noGrp="1" noRot="1" noChangeAspect="1" noMove="1" noResize="1" noEditPoints="1" noAdjustHandles="1" noChangeArrowheads="1" noChangeShapeType="1"/>
              </p:cNvPicPr>
              <p:nvPr/>
            </p:nvPicPr>
            <p:blipFill>
              <a:blip r:embed="rId8"/>
              <a:stretch>
                <a:fillRect/>
              </a:stretch>
            </p:blipFill>
            <p:spPr>
              <a:xfrm>
                <a:off x="7835982" y="4174879"/>
                <a:ext cx="3769846" cy="1971156"/>
              </a:xfrm>
              <a:prstGeom prst="rect">
                <a:avLst/>
              </a:prstGeom>
            </p:spPr>
          </p:pic>
        </mc:Fallback>
      </mc:AlternateContent>
      <mc:AlternateContent xmlns:mc="http://schemas.openxmlformats.org/markup-compatibility/2006">
        <mc:Choice xmlns="" xmlns:cx2="http://schemas.microsoft.com/office/drawing/2015/10/21/chartex" Requires="cx2">
          <p:graphicFrame>
            <p:nvGraphicFramePr>
              <p:cNvPr id="41" name="Chart 40">
                <a:extLst>
                  <a:ext uri="{FF2B5EF4-FFF2-40B4-BE49-F238E27FC236}">
                    <a16:creationId xmlns:a16="http://schemas.microsoft.com/office/drawing/2014/main" id="{3AEB9165-8293-4D38-A264-CED9633F0A0E}"/>
                  </a:ext>
                </a:extLst>
              </p:cNvPr>
              <p:cNvGraphicFramePr/>
              <p:nvPr>
                <p:extLst>
                  <p:ext uri="{D42A27DB-BD31-4B8C-83A1-F6EECF244321}">
                    <p14:modId xmlns:p14="http://schemas.microsoft.com/office/powerpoint/2010/main" val="370022359"/>
                  </p:ext>
                </p:extLst>
              </p:nvPr>
            </p:nvGraphicFramePr>
            <p:xfrm>
              <a:off x="3929642" y="1972116"/>
              <a:ext cx="3769846" cy="2032783"/>
            </p:xfrm>
            <a:graphic>
              <a:graphicData uri="http://schemas.microsoft.com/office/drawing/2014/chartex">
                <cx:chart xmlns:cx="http://schemas.microsoft.com/office/drawing/2014/chartex" xmlns:r="http://schemas.openxmlformats.org/officeDocument/2006/relationships" r:id="rId9"/>
              </a:graphicData>
            </a:graphic>
          </p:graphicFrame>
        </mc:Choice>
        <mc:Fallback>
          <p:pic>
            <p:nvPicPr>
              <p:cNvPr id="41" name="Chart 40">
                <a:extLst>
                  <a:ext uri="{FF2B5EF4-FFF2-40B4-BE49-F238E27FC236}">
                    <a16:creationId xmlns:a16="http://schemas.microsoft.com/office/drawing/2014/main" id="{3AEB9165-8293-4D38-A264-CED9633F0A0E}"/>
                  </a:ext>
                </a:extLst>
              </p:cNvPr>
              <p:cNvPicPr>
                <a:picLocks noGrp="1" noRot="1" noChangeAspect="1" noMove="1" noResize="1" noEditPoints="1" noAdjustHandles="1" noChangeArrowheads="1" noChangeShapeType="1"/>
              </p:cNvPicPr>
              <p:nvPr/>
            </p:nvPicPr>
            <p:blipFill>
              <a:blip r:embed="rId10"/>
              <a:stretch>
                <a:fillRect/>
              </a:stretch>
            </p:blipFill>
            <p:spPr>
              <a:xfrm>
                <a:off x="3929642" y="1972116"/>
                <a:ext cx="3769846" cy="2032783"/>
              </a:xfrm>
              <a:prstGeom prst="rect">
                <a:avLst/>
              </a:prstGeom>
            </p:spPr>
          </p:pic>
        </mc:Fallback>
      </mc:AlternateContent>
      <p:sp>
        <p:nvSpPr>
          <p:cNvPr id="42" name="TextBox 41">
            <a:extLst>
              <a:ext uri="{FF2B5EF4-FFF2-40B4-BE49-F238E27FC236}">
                <a16:creationId xmlns:a16="http://schemas.microsoft.com/office/drawing/2014/main" id="{0850C303-9504-4EE5-ABDF-E291AAA9AAF1}"/>
              </a:ext>
            </a:extLst>
          </p:cNvPr>
          <p:cNvSpPr txBox="1"/>
          <p:nvPr/>
        </p:nvSpPr>
        <p:spPr>
          <a:xfrm>
            <a:off x="6543128" y="3612022"/>
            <a:ext cx="1103876" cy="338554"/>
          </a:xfrm>
          <a:prstGeom prst="rect">
            <a:avLst/>
          </a:prstGeom>
          <a:noFill/>
          <a:ln>
            <a:solidFill>
              <a:schemeClr val="bg2">
                <a:lumMod val="90000"/>
              </a:schemeClr>
            </a:solidFill>
          </a:ln>
        </p:spPr>
        <p:txBody>
          <a:bodyPr wrap="square" rtlCol="0">
            <a:spAutoFit/>
          </a:bodyPr>
          <a:lstStyle/>
          <a:p>
            <a:pPr algn="ctr"/>
            <a:r>
              <a:rPr lang="en-AU" sz="800" dirty="0"/>
              <a:t>N=523</a:t>
            </a:r>
          </a:p>
          <a:p>
            <a:pPr algn="ctr"/>
            <a:r>
              <a:rPr lang="en-AU" sz="800" b="1" dirty="0"/>
              <a:t>60%</a:t>
            </a:r>
            <a:r>
              <a:rPr lang="en-AU" sz="800" dirty="0"/>
              <a:t> APS6 and above</a:t>
            </a:r>
          </a:p>
        </p:txBody>
      </p:sp>
      <p:sp>
        <p:nvSpPr>
          <p:cNvPr id="43" name="TextBox 42">
            <a:extLst>
              <a:ext uri="{FF2B5EF4-FFF2-40B4-BE49-F238E27FC236}">
                <a16:creationId xmlns:a16="http://schemas.microsoft.com/office/drawing/2014/main" id="{71C6A480-A7C8-4D12-B802-77DEDB54093F}"/>
              </a:ext>
            </a:extLst>
          </p:cNvPr>
          <p:cNvSpPr txBox="1"/>
          <p:nvPr/>
        </p:nvSpPr>
        <p:spPr>
          <a:xfrm>
            <a:off x="10439662" y="3599669"/>
            <a:ext cx="1120259" cy="338554"/>
          </a:xfrm>
          <a:prstGeom prst="rect">
            <a:avLst/>
          </a:prstGeom>
          <a:noFill/>
          <a:ln>
            <a:solidFill>
              <a:schemeClr val="bg2">
                <a:lumMod val="90000"/>
              </a:schemeClr>
            </a:solidFill>
          </a:ln>
        </p:spPr>
        <p:txBody>
          <a:bodyPr wrap="square" rtlCol="0">
            <a:spAutoFit/>
          </a:bodyPr>
          <a:lstStyle/>
          <a:p>
            <a:pPr algn="ctr"/>
            <a:r>
              <a:rPr lang="en-AU" sz="800" dirty="0"/>
              <a:t>N=590</a:t>
            </a:r>
          </a:p>
          <a:p>
            <a:pPr algn="ctr"/>
            <a:r>
              <a:rPr lang="en-AU" sz="800" b="1" dirty="0"/>
              <a:t>84%</a:t>
            </a:r>
            <a:r>
              <a:rPr lang="en-AU" sz="800" dirty="0"/>
              <a:t> APS6 and above</a:t>
            </a:r>
          </a:p>
        </p:txBody>
      </p:sp>
      <p:sp>
        <p:nvSpPr>
          <p:cNvPr id="44" name="TextBox 43">
            <a:extLst>
              <a:ext uri="{FF2B5EF4-FFF2-40B4-BE49-F238E27FC236}">
                <a16:creationId xmlns:a16="http://schemas.microsoft.com/office/drawing/2014/main" id="{6E91ED9B-5D53-48DA-938B-D05C960C3915}"/>
              </a:ext>
            </a:extLst>
          </p:cNvPr>
          <p:cNvSpPr txBox="1"/>
          <p:nvPr/>
        </p:nvSpPr>
        <p:spPr>
          <a:xfrm>
            <a:off x="10439661" y="5733040"/>
            <a:ext cx="1120259" cy="338554"/>
          </a:xfrm>
          <a:prstGeom prst="rect">
            <a:avLst/>
          </a:prstGeom>
          <a:noFill/>
          <a:ln>
            <a:solidFill>
              <a:schemeClr val="bg2">
                <a:lumMod val="90000"/>
              </a:schemeClr>
            </a:solidFill>
          </a:ln>
        </p:spPr>
        <p:txBody>
          <a:bodyPr wrap="square" rtlCol="0">
            <a:spAutoFit/>
          </a:bodyPr>
          <a:lstStyle/>
          <a:p>
            <a:pPr algn="ctr"/>
            <a:r>
              <a:rPr lang="en-AU" sz="800" dirty="0"/>
              <a:t>N=1049</a:t>
            </a:r>
          </a:p>
          <a:p>
            <a:pPr algn="ctr"/>
            <a:r>
              <a:rPr lang="en-AU" sz="800" b="1" dirty="0"/>
              <a:t>80%</a:t>
            </a:r>
            <a:r>
              <a:rPr lang="en-AU" sz="800" dirty="0"/>
              <a:t> APS6 and above</a:t>
            </a:r>
          </a:p>
        </p:txBody>
      </p:sp>
      <p:sp>
        <p:nvSpPr>
          <p:cNvPr id="45" name="TextBox 44">
            <a:extLst>
              <a:ext uri="{FF2B5EF4-FFF2-40B4-BE49-F238E27FC236}">
                <a16:creationId xmlns:a16="http://schemas.microsoft.com/office/drawing/2014/main" id="{34FB8E9D-F4B3-4058-B216-4D2AEA8487D9}"/>
              </a:ext>
            </a:extLst>
          </p:cNvPr>
          <p:cNvSpPr txBox="1"/>
          <p:nvPr/>
        </p:nvSpPr>
        <p:spPr>
          <a:xfrm>
            <a:off x="6543128" y="5737871"/>
            <a:ext cx="1103876" cy="338554"/>
          </a:xfrm>
          <a:prstGeom prst="rect">
            <a:avLst/>
          </a:prstGeom>
          <a:noFill/>
          <a:ln>
            <a:solidFill>
              <a:schemeClr val="bg2">
                <a:lumMod val="90000"/>
              </a:schemeClr>
            </a:solidFill>
          </a:ln>
        </p:spPr>
        <p:txBody>
          <a:bodyPr wrap="square" rtlCol="0">
            <a:spAutoFit/>
          </a:bodyPr>
          <a:lstStyle/>
          <a:p>
            <a:pPr algn="ctr"/>
            <a:r>
              <a:rPr lang="en-AU" sz="800" dirty="0"/>
              <a:t>N=62</a:t>
            </a:r>
          </a:p>
          <a:p>
            <a:pPr algn="ctr"/>
            <a:r>
              <a:rPr lang="en-AU" sz="800" b="1" dirty="0"/>
              <a:t>95%</a:t>
            </a:r>
            <a:r>
              <a:rPr lang="en-AU" sz="800" dirty="0"/>
              <a:t> APS6 and above</a:t>
            </a:r>
          </a:p>
        </p:txBody>
      </p:sp>
      <p:sp>
        <p:nvSpPr>
          <p:cNvPr id="46" name="Google Shape;2191;p207">
            <a:extLst>
              <a:ext uri="{FF2B5EF4-FFF2-40B4-BE49-F238E27FC236}">
                <a16:creationId xmlns:a16="http://schemas.microsoft.com/office/drawing/2014/main" id="{EE5FD9A8-F165-4A5A-83DD-8B981822D2FC}"/>
              </a:ext>
            </a:extLst>
          </p:cNvPr>
          <p:cNvSpPr/>
          <p:nvPr/>
        </p:nvSpPr>
        <p:spPr>
          <a:xfrm>
            <a:off x="414223" y="6606881"/>
            <a:ext cx="10621665" cy="251578"/>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AU" sz="700" kern="0" dirty="0">
                <a:cs typeface="Arial"/>
                <a:sym typeface="Arial"/>
              </a:rPr>
              <a:t>Current state workforce data as at June 2022 |</a:t>
            </a:r>
            <a:r>
              <a:rPr lang="en-AU" sz="700" b="1" kern="0" dirty="0">
                <a:cs typeface="Arial"/>
                <a:sym typeface="Arial"/>
              </a:rPr>
              <a:t> </a:t>
            </a:r>
            <a:r>
              <a:rPr lang="en-AU" sz="700" kern="0" dirty="0">
                <a:cs typeface="Arial"/>
                <a:sym typeface="Arial"/>
              </a:rPr>
              <a:t>APS Employment data June 30 2021 – June 30 2022  </a:t>
            </a:r>
            <a:endParaRPr lang="en-US" sz="700" kern="0" dirty="0">
              <a:cs typeface="Arial"/>
            </a:endParaRPr>
          </a:p>
        </p:txBody>
      </p:sp>
      <p:sp>
        <p:nvSpPr>
          <p:cNvPr id="47" name="Google Shape;2191;p207">
            <a:extLst>
              <a:ext uri="{FF2B5EF4-FFF2-40B4-BE49-F238E27FC236}">
                <a16:creationId xmlns:a16="http://schemas.microsoft.com/office/drawing/2014/main" id="{507C1592-2E90-47B3-81F7-EAB90227039B}"/>
              </a:ext>
            </a:extLst>
          </p:cNvPr>
          <p:cNvSpPr/>
          <p:nvPr/>
        </p:nvSpPr>
        <p:spPr>
          <a:xfrm>
            <a:off x="414223" y="6480929"/>
            <a:ext cx="10874321" cy="195081"/>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Note: </a:t>
            </a:r>
            <a:r>
              <a:rPr lang="en-AU" sz="700" kern="0" dirty="0">
                <a:cs typeface="Arial"/>
                <a:sym typeface="Arial"/>
              </a:rPr>
              <a:t>There is a +2.9% differential in the FY22 turnover rate shown using the current state data provided by the Commission in comparison to the rate published in the APS employment data 2022</a:t>
            </a:r>
          </a:p>
          <a:p>
            <a:pPr>
              <a:buClr>
                <a:srgbClr val="000000"/>
              </a:buClr>
            </a:pPr>
            <a:r>
              <a:rPr lang="en-AU" sz="700" kern="0" dirty="0">
                <a:cs typeface="Arial"/>
                <a:sym typeface="Arial"/>
              </a:rPr>
              <a:t>N=total headcount as per APS Employment data FY22</a:t>
            </a:r>
            <a:endParaRPr lang="en-US" sz="700" kern="0" dirty="0">
              <a:cs typeface="Arial"/>
            </a:endParaRPr>
          </a:p>
        </p:txBody>
      </p:sp>
      <p:sp>
        <p:nvSpPr>
          <p:cNvPr id="48" name="TextBox 47">
            <a:extLst>
              <a:ext uri="{FF2B5EF4-FFF2-40B4-BE49-F238E27FC236}">
                <a16:creationId xmlns:a16="http://schemas.microsoft.com/office/drawing/2014/main" id="{586C38AB-2A16-4CB8-8661-C3448320B1FC}"/>
              </a:ext>
            </a:extLst>
          </p:cNvPr>
          <p:cNvSpPr txBox="1"/>
          <p:nvPr/>
        </p:nvSpPr>
        <p:spPr>
          <a:xfrm>
            <a:off x="507683" y="3070788"/>
            <a:ext cx="735134"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700" dirty="0">
                <a:solidFill>
                  <a:schemeClr val="bg2">
                    <a:lumMod val="25000"/>
                  </a:schemeClr>
                </a:solidFill>
                <a:latin typeface="+mn-lt"/>
                <a:ea typeface="+mn-ea"/>
              </a:rPr>
              <a:t>FY21</a:t>
            </a:r>
          </a:p>
          <a:p>
            <a:r>
              <a:rPr lang="en-AU" sz="1700" dirty="0">
                <a:solidFill>
                  <a:schemeClr val="bg2">
                    <a:lumMod val="25000"/>
                  </a:schemeClr>
                </a:solidFill>
                <a:latin typeface="+mn-lt"/>
                <a:ea typeface="+mn-ea"/>
              </a:rPr>
              <a:t>15.2%</a:t>
            </a:r>
          </a:p>
        </p:txBody>
      </p:sp>
      <p:sp>
        <p:nvSpPr>
          <p:cNvPr id="16" name="TextBox 15">
            <a:extLst>
              <a:ext uri="{FF2B5EF4-FFF2-40B4-BE49-F238E27FC236}">
                <a16:creationId xmlns:a16="http://schemas.microsoft.com/office/drawing/2014/main" id="{F92E8DA0-D242-4F42-87CE-BE7890E5E787}"/>
              </a:ext>
            </a:extLst>
          </p:cNvPr>
          <p:cNvSpPr txBox="1"/>
          <p:nvPr/>
        </p:nvSpPr>
        <p:spPr>
          <a:xfrm>
            <a:off x="503690" y="1972650"/>
            <a:ext cx="1521052" cy="1104262"/>
          </a:xfrm>
          <a:prstGeom prst="rect">
            <a:avLst/>
          </a:prstGeom>
          <a:solidFill>
            <a:srgbClr val="93C57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200" dirty="0">
                <a:latin typeface="+mn-lt"/>
              </a:rPr>
              <a:t>NDIS Quality and Safeguards Commission* </a:t>
            </a:r>
            <a:endParaRPr lang="en-AU" sz="1200" dirty="0">
              <a:effectLst/>
              <a:latin typeface="+mn-lt"/>
            </a:endParaRPr>
          </a:p>
        </p:txBody>
      </p:sp>
      <p:sp>
        <p:nvSpPr>
          <p:cNvPr id="25" name="Slide Number Placeholder 7">
            <a:extLst>
              <a:ext uri="{FF2B5EF4-FFF2-40B4-BE49-F238E27FC236}">
                <a16:creationId xmlns:a16="http://schemas.microsoft.com/office/drawing/2014/main" id="{345C9818-D277-43D5-8C3B-D4E1FF23278B}"/>
              </a:ext>
            </a:extLst>
          </p:cNvPr>
          <p:cNvSpPr txBox="1">
            <a:spLocks/>
          </p:cNvSpPr>
          <p:nvPr/>
        </p:nvSpPr>
        <p:spPr>
          <a:xfrm>
            <a:off x="11035888" y="6356350"/>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35</a:t>
            </a:fld>
            <a:endParaRPr lang="en-US" dirty="0"/>
          </a:p>
        </p:txBody>
      </p:sp>
    </p:spTree>
    <p:extLst>
      <p:ext uri="{BB962C8B-B14F-4D97-AF65-F5344CB8AC3E}">
        <p14:creationId xmlns:p14="http://schemas.microsoft.com/office/powerpoint/2010/main" val="38184723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C9481882-2244-4E3B-880D-3256596EF2EA}"/>
              </a:ext>
            </a:extLst>
          </p:cNvPr>
          <p:cNvSpPr/>
          <p:nvPr/>
        </p:nvSpPr>
        <p:spPr>
          <a:xfrm>
            <a:off x="6019534" y="4093412"/>
            <a:ext cx="4467155" cy="2204417"/>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Google Shape;2205;p207">
            <a:extLst>
              <a:ext uri="{FF2B5EF4-FFF2-40B4-BE49-F238E27FC236}">
                <a16:creationId xmlns:a16="http://schemas.microsoft.com/office/drawing/2014/main" id="{B557EE3F-56C6-C28E-E479-A8CEB9F5D3E2}"/>
              </a:ext>
            </a:extLst>
          </p:cNvPr>
          <p:cNvSpPr/>
          <p:nvPr/>
        </p:nvSpPr>
        <p:spPr>
          <a:xfrm>
            <a:off x="10591444" y="1801042"/>
            <a:ext cx="1085350" cy="881205"/>
          </a:xfrm>
          <a:prstGeom prst="rect">
            <a:avLst/>
          </a:prstGeom>
          <a:solidFill>
            <a:schemeClr val="accent6">
              <a:lumMod val="75000"/>
            </a:schemeClr>
          </a:solidFill>
          <a:ln>
            <a:noFill/>
          </a:ln>
        </p:spPr>
        <p:txBody>
          <a:bodyPr spcFirstLastPara="1" wrap="square" lIns="91425" tIns="45700" rIns="91425" bIns="45700" anchor="ctr" anchorCtr="0">
            <a:noAutofit/>
          </a:bodyPr>
          <a:lstStyle/>
          <a:p>
            <a:pPr algn="ctr">
              <a:buClr>
                <a:srgbClr val="FFFFFF"/>
              </a:buClr>
              <a:buSzPts val="900"/>
            </a:pPr>
            <a:endParaRPr lang="en-AU" sz="900" kern="0" dirty="0">
              <a:solidFill>
                <a:srgbClr val="FFFFFF"/>
              </a:solidFill>
              <a:latin typeface="+mj-lt"/>
              <a:cs typeface="Arial"/>
              <a:sym typeface="Arial"/>
            </a:endParaRPr>
          </a:p>
        </p:txBody>
      </p:sp>
      <p:sp>
        <p:nvSpPr>
          <p:cNvPr id="11" name="Google Shape;2206;p207">
            <a:extLst>
              <a:ext uri="{FF2B5EF4-FFF2-40B4-BE49-F238E27FC236}">
                <a16:creationId xmlns:a16="http://schemas.microsoft.com/office/drawing/2014/main" id="{638A2646-B02A-3055-24BE-EB62B2C540F1}"/>
              </a:ext>
            </a:extLst>
          </p:cNvPr>
          <p:cNvSpPr txBox="1"/>
          <p:nvPr/>
        </p:nvSpPr>
        <p:spPr>
          <a:xfrm>
            <a:off x="10678136" y="1855471"/>
            <a:ext cx="971033"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523</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2" name="Google Shape;2207;p207">
            <a:extLst>
              <a:ext uri="{FF2B5EF4-FFF2-40B4-BE49-F238E27FC236}">
                <a16:creationId xmlns:a16="http://schemas.microsoft.com/office/drawing/2014/main" id="{85D58103-7EC4-C86A-70B8-BA5F7AEE50CB}"/>
              </a:ext>
            </a:extLst>
          </p:cNvPr>
          <p:cNvSpPr txBox="1"/>
          <p:nvPr/>
        </p:nvSpPr>
        <p:spPr>
          <a:xfrm>
            <a:off x="10667811" y="2331560"/>
            <a:ext cx="929783" cy="276999"/>
          </a:xfrm>
          <a:prstGeom prst="rect">
            <a:avLst/>
          </a:prstGeom>
          <a:no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Total workforce headcount</a:t>
            </a:r>
          </a:p>
        </p:txBody>
      </p:sp>
      <p:sp>
        <p:nvSpPr>
          <p:cNvPr id="9" name="Google Shape;2191;p207">
            <a:extLst>
              <a:ext uri="{FF2B5EF4-FFF2-40B4-BE49-F238E27FC236}">
                <a16:creationId xmlns:a16="http://schemas.microsoft.com/office/drawing/2014/main" id="{AE6228E3-B5CC-F1E4-C42E-7D98D76CA067}"/>
              </a:ext>
            </a:extLst>
          </p:cNvPr>
          <p:cNvSpPr/>
          <p:nvPr/>
        </p:nvSpPr>
        <p:spPr>
          <a:xfrm>
            <a:off x="503691" y="3809801"/>
            <a:ext cx="9972018" cy="251578"/>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Workforce classification by headcount </a:t>
            </a:r>
            <a:endParaRPr lang="en-US" sz="1100" b="1" kern="0" dirty="0">
              <a:solidFill>
                <a:srgbClr val="FFFFFF"/>
              </a:solidFill>
              <a:cs typeface="Arial"/>
            </a:endParaRPr>
          </a:p>
        </p:txBody>
      </p:sp>
      <p:sp>
        <p:nvSpPr>
          <p:cNvPr id="37" name="Google Shape;2191;p207">
            <a:extLst>
              <a:ext uri="{FF2B5EF4-FFF2-40B4-BE49-F238E27FC236}">
                <a16:creationId xmlns:a16="http://schemas.microsoft.com/office/drawing/2014/main" id="{2C0A3ECE-8547-39E8-E3DB-AB83CA7049F4}"/>
              </a:ext>
            </a:extLst>
          </p:cNvPr>
          <p:cNvSpPr/>
          <p:nvPr/>
        </p:nvSpPr>
        <p:spPr>
          <a:xfrm>
            <a:off x="503690" y="1504787"/>
            <a:ext cx="9982999" cy="252000"/>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Workforce composition and flexibility  </a:t>
            </a:r>
            <a:endParaRPr lang="en-US" sz="1100" b="1" kern="0" dirty="0">
              <a:solidFill>
                <a:srgbClr val="FFFFFF"/>
              </a:solidFill>
              <a:cs typeface="Arial"/>
            </a:endParaRPr>
          </a:p>
        </p:txBody>
      </p:sp>
      <p:sp>
        <p:nvSpPr>
          <p:cNvPr id="3" name="TextBox 2">
            <a:extLst>
              <a:ext uri="{FF2B5EF4-FFF2-40B4-BE49-F238E27FC236}">
                <a16:creationId xmlns:a16="http://schemas.microsoft.com/office/drawing/2014/main" id="{93A0EFE9-7355-4950-AC10-B2C5A813D740}"/>
              </a:ext>
            </a:extLst>
          </p:cNvPr>
          <p:cNvSpPr txBox="1"/>
          <p:nvPr/>
        </p:nvSpPr>
        <p:spPr>
          <a:xfrm>
            <a:off x="503691" y="4093412"/>
            <a:ext cx="5469266" cy="2204417"/>
          </a:xfrm>
          <a:prstGeom prst="rect">
            <a:avLst/>
          </a:prstGeom>
          <a:solidFill>
            <a:schemeClr val="bg1">
              <a:lumMod val="95000"/>
            </a:schemeClr>
          </a:solidFill>
        </p:spPr>
        <p:txBody>
          <a:bodyPr wrap="square" lIns="91440" tIns="45720" rIns="91440" bIns="45720" rtlCol="0" anchor="t">
            <a:noAutofit/>
          </a:bodyPr>
          <a:lstStyle/>
          <a:p>
            <a:pPr>
              <a:spcAft>
                <a:spcPts val="500"/>
              </a:spcAft>
            </a:pPr>
            <a:r>
              <a:rPr lang="en-US" sz="1000" dirty="0">
                <a:sym typeface="Arial"/>
              </a:rPr>
              <a:t>The Commission’s current workforce classification profile is most aligned to the typical shape of an Operational (Delivery) APS Agency rather than a Policy Agency. </a:t>
            </a:r>
            <a:r>
              <a:rPr lang="en-US" sz="1000" dirty="0"/>
              <a:t>The APS 4–6 cohorts account for almost 65% of the Commission’s workforce headcount**, followed by the Executive Level cohorts (EL1 and EL2), accounting for almost 22%. </a:t>
            </a:r>
          </a:p>
          <a:p>
            <a:pPr>
              <a:spcAft>
                <a:spcPts val="500"/>
              </a:spcAft>
            </a:pPr>
            <a:r>
              <a:rPr lang="en-US" sz="1000" dirty="0">
                <a:sym typeface="Arial"/>
              </a:rPr>
              <a:t>As the Commission continues the transition as a contemporary regulator, moving from </a:t>
            </a:r>
            <a:r>
              <a:rPr lang="en-US" sz="1000" dirty="0" smtClean="0">
                <a:sym typeface="Arial"/>
              </a:rPr>
              <a:t>start-up </a:t>
            </a:r>
            <a:r>
              <a:rPr lang="en-US" sz="1000" dirty="0">
                <a:sym typeface="Arial"/>
              </a:rPr>
              <a:t>to </a:t>
            </a:r>
            <a:r>
              <a:rPr lang="en-US" sz="1000" dirty="0" smtClean="0">
                <a:sym typeface="Arial"/>
              </a:rPr>
              <a:t>scale-up</a:t>
            </a:r>
            <a:r>
              <a:rPr lang="en-US" sz="1000" dirty="0">
                <a:sym typeface="Arial"/>
              </a:rPr>
              <a:t>, shifts in the classification profile are expected. Determining the future strategy mix as both a delivery and policy agency will be an important strategic discussion. </a:t>
            </a:r>
            <a:r>
              <a:rPr lang="en-US" sz="1000" dirty="0"/>
              <a:t>In time, undertaking strategic workforce planning would provide an opportunity to model changing workforce demand across work functions to understand evolving workforce needs over time. </a:t>
            </a:r>
          </a:p>
          <a:p>
            <a:pPr>
              <a:spcAft>
                <a:spcPts val="500"/>
              </a:spcAft>
            </a:pPr>
            <a:r>
              <a:rPr lang="en-US" sz="1000" dirty="0"/>
              <a:t>The APS 6 cohort </a:t>
            </a:r>
            <a:r>
              <a:rPr lang="en-US" sz="1000" dirty="0" smtClean="0"/>
              <a:t>operates </a:t>
            </a:r>
            <a:r>
              <a:rPr lang="en-US" sz="1000" dirty="0"/>
              <a:t>at the heart of both delivery and policy. As the single largest workforce cohort (36%), developing career pathways, enhancing technical capability, coaching and fostering leadership potential and performance across this cohort will be essential in retaining this cohort and supporting an engaged, skilled and sustainable workforce.</a:t>
            </a:r>
          </a:p>
        </p:txBody>
      </p:sp>
      <p:sp>
        <p:nvSpPr>
          <p:cNvPr id="36" name="AutoShape 6">
            <a:extLst>
              <a:ext uri="{FF2B5EF4-FFF2-40B4-BE49-F238E27FC236}">
                <a16:creationId xmlns:a16="http://schemas.microsoft.com/office/drawing/2014/main" id="{2C72C0C8-EAD0-441D-844B-1B6A3DA781C4}"/>
              </a:ext>
            </a:extLst>
          </p:cNvPr>
          <p:cNvSpPr>
            <a:spLocks noChangeAspect="1" noChangeArrowheads="1"/>
          </p:cNvSpPr>
          <p:nvPr/>
        </p:nvSpPr>
        <p:spPr bwMode="auto">
          <a:xfrm>
            <a:off x="5666509" y="802299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 name="Title 4">
            <a:extLst>
              <a:ext uri="{FF2B5EF4-FFF2-40B4-BE49-F238E27FC236}">
                <a16:creationId xmlns:a16="http://schemas.microsoft.com/office/drawing/2014/main" id="{4A02B0EE-96C3-40EE-B386-1D3B72B15A2E}"/>
              </a:ext>
            </a:extLst>
          </p:cNvPr>
          <p:cNvSpPr txBox="1">
            <a:spLocks/>
          </p:cNvSpPr>
          <p:nvPr/>
        </p:nvSpPr>
        <p:spPr>
          <a:xfrm>
            <a:off x="503691" y="343067"/>
            <a:ext cx="8268644" cy="992778"/>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400" dirty="0">
                <a:solidFill>
                  <a:schemeClr val="tx2"/>
                </a:solidFill>
              </a:rPr>
              <a:t>Current state workforce profile </a:t>
            </a:r>
            <a:r>
              <a:rPr lang="en-US" sz="1600" dirty="0">
                <a:solidFill>
                  <a:schemeClr val="tx2"/>
                </a:solidFill>
              </a:rPr>
              <a:t>(1/2) </a:t>
            </a:r>
          </a:p>
        </p:txBody>
      </p:sp>
      <p:sp>
        <p:nvSpPr>
          <p:cNvPr id="61" name="Google Shape;2191;p207">
            <a:extLst>
              <a:ext uri="{FF2B5EF4-FFF2-40B4-BE49-F238E27FC236}">
                <a16:creationId xmlns:a16="http://schemas.microsoft.com/office/drawing/2014/main" id="{F05C9AA1-E1F9-4F79-B201-30512864633B}"/>
              </a:ext>
            </a:extLst>
          </p:cNvPr>
          <p:cNvSpPr/>
          <p:nvPr/>
        </p:nvSpPr>
        <p:spPr>
          <a:xfrm>
            <a:off x="407673" y="6495652"/>
            <a:ext cx="10621665" cy="251578"/>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AU" sz="700" kern="0" dirty="0">
                <a:cs typeface="Arial"/>
                <a:sym typeface="Arial"/>
              </a:rPr>
              <a:t>Current state workforce data as at June 2022 | * S</a:t>
            </a:r>
            <a:r>
              <a:rPr lang="en-AU" sz="700" dirty="0"/>
              <a:t>ee Appendix B for full workforce headcount breakdown by organisational unit and broader workforce by organisational . </a:t>
            </a:r>
            <a:r>
              <a:rPr lang="en-AU" sz="700" kern="0" dirty="0">
                <a:cs typeface="Arial"/>
                <a:sym typeface="Arial"/>
              </a:rPr>
              <a:t>**Excludes external workforce/contractor/consultants (n=159) due to data availability </a:t>
            </a:r>
            <a:endParaRPr lang="en-US" sz="700" kern="0" dirty="0">
              <a:cs typeface="Arial"/>
            </a:endParaRPr>
          </a:p>
        </p:txBody>
      </p:sp>
      <p:pic>
        <p:nvPicPr>
          <p:cNvPr id="2" name="Picture 4" descr="Chart, funnel chart&#10;&#10;Description automatically generated">
            <a:extLst>
              <a:ext uri="{FF2B5EF4-FFF2-40B4-BE49-F238E27FC236}">
                <a16:creationId xmlns:a16="http://schemas.microsoft.com/office/drawing/2014/main" id="{BC961973-C1FB-1C12-2ED3-33A9D31FC842}"/>
              </a:ext>
            </a:extLst>
          </p:cNvPr>
          <p:cNvPicPr>
            <a:picLocks noChangeAspect="1"/>
          </p:cNvPicPr>
          <p:nvPr/>
        </p:nvPicPr>
        <p:blipFill>
          <a:blip r:embed="rId3"/>
          <a:stretch>
            <a:fillRect/>
          </a:stretch>
        </p:blipFill>
        <p:spPr>
          <a:xfrm>
            <a:off x="6201600" y="4188955"/>
            <a:ext cx="4151109" cy="2027915"/>
          </a:xfrm>
          <a:prstGeom prst="rect">
            <a:avLst/>
          </a:prstGeom>
          <a:ln>
            <a:noFill/>
          </a:ln>
        </p:spPr>
      </p:pic>
      <p:sp>
        <p:nvSpPr>
          <p:cNvPr id="78" name="TextBox 77">
            <a:extLst>
              <a:ext uri="{FF2B5EF4-FFF2-40B4-BE49-F238E27FC236}">
                <a16:creationId xmlns:a16="http://schemas.microsoft.com/office/drawing/2014/main" id="{69BEE31D-103E-4271-B0A7-3C10C3BADEF4}"/>
              </a:ext>
            </a:extLst>
          </p:cNvPr>
          <p:cNvSpPr txBox="1"/>
          <p:nvPr/>
        </p:nvSpPr>
        <p:spPr>
          <a:xfrm>
            <a:off x="499749" y="1821093"/>
            <a:ext cx="5519785" cy="1909772"/>
          </a:xfrm>
          <a:prstGeom prst="rect">
            <a:avLst/>
          </a:prstGeom>
          <a:solidFill>
            <a:schemeClr val="bg1">
              <a:lumMod val="95000"/>
            </a:schemeClr>
          </a:solidFill>
        </p:spPr>
        <p:txBody>
          <a:bodyPr wrap="square" lIns="91440" tIns="45720" rIns="91440" bIns="45720" rtlCol="0" anchor="t">
            <a:noAutofit/>
          </a:bodyPr>
          <a:lstStyle/>
          <a:p>
            <a:pPr>
              <a:spcBef>
                <a:spcPts val="400"/>
              </a:spcBef>
              <a:spcAft>
                <a:spcPts val="400"/>
              </a:spcAft>
            </a:pPr>
            <a:r>
              <a:rPr lang="en-US" sz="1000" dirty="0">
                <a:latin typeface="+mj-lt"/>
              </a:rPr>
              <a:t>The Commission currently draws on a blended workforce model of employees </a:t>
            </a:r>
            <a:r>
              <a:rPr lang="en-US" sz="1000" dirty="0" smtClean="0">
                <a:latin typeface="+mj-lt"/>
              </a:rPr>
              <a:t>and </a:t>
            </a:r>
            <a:r>
              <a:rPr lang="en-US" sz="1000" dirty="0">
                <a:latin typeface="+mj-lt"/>
              </a:rPr>
              <a:t>an external, contractor </a:t>
            </a:r>
            <a:r>
              <a:rPr lang="en-US" sz="1000" dirty="0" smtClean="0">
                <a:latin typeface="+mj-lt"/>
              </a:rPr>
              <a:t>workforce. Following a change of government policy, the Commission is seeking to increase the proportion of APS within the workforce. </a:t>
            </a:r>
            <a:r>
              <a:rPr lang="en-US" sz="1000" dirty="0">
                <a:latin typeface="+mj-lt"/>
              </a:rPr>
              <a:t>Working full-time continues to be the most common employee work pattern (88%), with potential opportunity to access and attract talent from diverse talent pipelines by offering part time and flexible options.</a:t>
            </a:r>
          </a:p>
          <a:p>
            <a:pPr>
              <a:spcAft>
                <a:spcPts val="400"/>
              </a:spcAft>
            </a:pPr>
            <a:r>
              <a:rPr lang="en-US" sz="1000" dirty="0">
                <a:latin typeface="+mj-lt"/>
              </a:rPr>
              <a:t>Almost 50% of the external workforce is spread across three functions that commonly require surge capacity including Reportable Incidents (21.4%), Complaints (13.8%), Contact Centre (10.7%). The remainder of the external workforce is dispersed across 21 teams, in part, reflecting the importance of flexible engagement options to attract and retain talent*.  </a:t>
            </a:r>
            <a:r>
              <a:rPr lang="en-US" sz="1000" dirty="0" smtClean="0">
                <a:latin typeface="+mj-lt"/>
              </a:rPr>
              <a:t>Ongoing consideration of the blended </a:t>
            </a:r>
            <a:r>
              <a:rPr lang="en-US" sz="1000" dirty="0">
                <a:latin typeface="+mj-lt"/>
              </a:rPr>
              <a:t>workforce model </a:t>
            </a:r>
            <a:r>
              <a:rPr lang="en-US" sz="1000" dirty="0" smtClean="0">
                <a:latin typeface="+mj-lt"/>
              </a:rPr>
              <a:t>will be necessary in order to optimise the mix taking into account the </a:t>
            </a:r>
            <a:r>
              <a:rPr lang="en-US" sz="1000" dirty="0">
                <a:latin typeface="+mj-lt"/>
              </a:rPr>
              <a:t>nature and future need for roles performed (sustain surge capacity and/or fill broader capability gaps), length of contracts, market conditions and lead time to competency.</a:t>
            </a:r>
            <a:endParaRPr lang="en-US" sz="1000" dirty="0">
              <a:latin typeface="+mj-lt"/>
              <a:cs typeface="Calibri"/>
            </a:endParaRPr>
          </a:p>
          <a:p>
            <a:pPr>
              <a:spcBef>
                <a:spcPts val="400"/>
              </a:spcBef>
              <a:spcAft>
                <a:spcPts val="400"/>
              </a:spcAft>
            </a:pPr>
            <a:endParaRPr lang="en-US" sz="1000" dirty="0"/>
          </a:p>
          <a:p>
            <a:pPr>
              <a:spcBef>
                <a:spcPts val="400"/>
              </a:spcBef>
              <a:spcAft>
                <a:spcPts val="400"/>
              </a:spcAft>
            </a:pPr>
            <a:endParaRPr lang="en-US" sz="1000" dirty="0"/>
          </a:p>
        </p:txBody>
      </p:sp>
      <p:sp>
        <p:nvSpPr>
          <p:cNvPr id="103" name="Google Shape;2205;p207">
            <a:extLst>
              <a:ext uri="{FF2B5EF4-FFF2-40B4-BE49-F238E27FC236}">
                <a16:creationId xmlns:a16="http://schemas.microsoft.com/office/drawing/2014/main" id="{9784C90C-A857-4401-A22F-7D4E2B00D275}"/>
              </a:ext>
            </a:extLst>
          </p:cNvPr>
          <p:cNvSpPr/>
          <p:nvPr/>
        </p:nvSpPr>
        <p:spPr>
          <a:xfrm>
            <a:off x="10591444" y="2719141"/>
            <a:ext cx="1095676" cy="881205"/>
          </a:xfrm>
          <a:prstGeom prst="rect">
            <a:avLst/>
          </a:prstGeom>
          <a:solidFill>
            <a:schemeClr val="accent6">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latin typeface="+mj-lt"/>
              <a:ea typeface="Arial"/>
              <a:cs typeface="Arial"/>
              <a:sym typeface="Arial"/>
            </a:endParaRPr>
          </a:p>
        </p:txBody>
      </p:sp>
      <p:sp>
        <p:nvSpPr>
          <p:cNvPr id="104" name="Google Shape;2206;p207">
            <a:extLst>
              <a:ext uri="{FF2B5EF4-FFF2-40B4-BE49-F238E27FC236}">
                <a16:creationId xmlns:a16="http://schemas.microsoft.com/office/drawing/2014/main" id="{F5A45B1C-C84B-4D8A-856A-EF1C6FFFEA25}"/>
              </a:ext>
            </a:extLst>
          </p:cNvPr>
          <p:cNvSpPr txBox="1"/>
          <p:nvPr/>
        </p:nvSpPr>
        <p:spPr>
          <a:xfrm>
            <a:off x="10667811" y="2755427"/>
            <a:ext cx="971033"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364</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05" name="Google Shape;2207;p207">
            <a:extLst>
              <a:ext uri="{FF2B5EF4-FFF2-40B4-BE49-F238E27FC236}">
                <a16:creationId xmlns:a16="http://schemas.microsoft.com/office/drawing/2014/main" id="{270954E5-7504-4312-A7DD-249CCF5822E8}"/>
              </a:ext>
            </a:extLst>
          </p:cNvPr>
          <p:cNvSpPr txBox="1"/>
          <p:nvPr/>
        </p:nvSpPr>
        <p:spPr>
          <a:xfrm>
            <a:off x="10684464" y="3142995"/>
            <a:ext cx="971033" cy="415498"/>
          </a:xfrm>
          <a:prstGeom prst="rect">
            <a:avLst/>
          </a:prstGeom>
          <a:no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Total employee workforce  headcount</a:t>
            </a:r>
          </a:p>
        </p:txBody>
      </p:sp>
      <p:sp>
        <p:nvSpPr>
          <p:cNvPr id="113" name="Google Shape;2205;p207">
            <a:extLst>
              <a:ext uri="{FF2B5EF4-FFF2-40B4-BE49-F238E27FC236}">
                <a16:creationId xmlns:a16="http://schemas.microsoft.com/office/drawing/2014/main" id="{B49C6E3C-9BB2-47BD-A6EE-7706D3D04148}"/>
              </a:ext>
            </a:extLst>
          </p:cNvPr>
          <p:cNvSpPr/>
          <p:nvPr/>
        </p:nvSpPr>
        <p:spPr>
          <a:xfrm>
            <a:off x="10591444" y="3632672"/>
            <a:ext cx="1095676" cy="881205"/>
          </a:xfrm>
          <a:prstGeom prst="rect">
            <a:avLst/>
          </a:prstGeom>
          <a:solidFill>
            <a:schemeClr val="accent6">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latin typeface="+mj-lt"/>
              <a:ea typeface="Arial"/>
              <a:cs typeface="Arial"/>
              <a:sym typeface="Arial"/>
            </a:endParaRPr>
          </a:p>
        </p:txBody>
      </p:sp>
      <p:sp>
        <p:nvSpPr>
          <p:cNvPr id="114" name="Google Shape;2206;p207">
            <a:extLst>
              <a:ext uri="{FF2B5EF4-FFF2-40B4-BE49-F238E27FC236}">
                <a16:creationId xmlns:a16="http://schemas.microsoft.com/office/drawing/2014/main" id="{B906E64B-F939-467F-8036-AAB4E7F57DA5}"/>
              </a:ext>
            </a:extLst>
          </p:cNvPr>
          <p:cNvSpPr txBox="1"/>
          <p:nvPr/>
        </p:nvSpPr>
        <p:spPr>
          <a:xfrm>
            <a:off x="10672683" y="3668958"/>
            <a:ext cx="971033"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159</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15" name="Google Shape;2207;p207">
            <a:extLst>
              <a:ext uri="{FF2B5EF4-FFF2-40B4-BE49-F238E27FC236}">
                <a16:creationId xmlns:a16="http://schemas.microsoft.com/office/drawing/2014/main" id="{B23A8D45-6718-429D-9C89-73A4117DEF28}"/>
              </a:ext>
            </a:extLst>
          </p:cNvPr>
          <p:cNvSpPr txBox="1"/>
          <p:nvPr/>
        </p:nvSpPr>
        <p:spPr>
          <a:xfrm>
            <a:off x="10671418" y="4074669"/>
            <a:ext cx="929783" cy="415498"/>
          </a:xfrm>
          <a:prstGeom prst="rect">
            <a:avLst/>
          </a:prstGeom>
          <a:no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Total external workforce headcount</a:t>
            </a:r>
          </a:p>
        </p:txBody>
      </p:sp>
      <p:sp>
        <p:nvSpPr>
          <p:cNvPr id="118" name="Google Shape;2205;p207">
            <a:extLst>
              <a:ext uri="{FF2B5EF4-FFF2-40B4-BE49-F238E27FC236}">
                <a16:creationId xmlns:a16="http://schemas.microsoft.com/office/drawing/2014/main" id="{865C0D0B-CA70-45C7-8F87-A23218F16E02}"/>
              </a:ext>
            </a:extLst>
          </p:cNvPr>
          <p:cNvSpPr/>
          <p:nvPr/>
        </p:nvSpPr>
        <p:spPr>
          <a:xfrm>
            <a:off x="10591444" y="4533912"/>
            <a:ext cx="1095676" cy="881205"/>
          </a:xfrm>
          <a:prstGeom prst="rect">
            <a:avLst/>
          </a:prstGeom>
          <a:solidFill>
            <a:schemeClr val="accent6">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latin typeface="+mj-lt"/>
              <a:ea typeface="Arial"/>
              <a:cs typeface="Arial"/>
              <a:sym typeface="Arial"/>
            </a:endParaRPr>
          </a:p>
        </p:txBody>
      </p:sp>
      <p:sp>
        <p:nvSpPr>
          <p:cNvPr id="119" name="Google Shape;2206;p207">
            <a:extLst>
              <a:ext uri="{FF2B5EF4-FFF2-40B4-BE49-F238E27FC236}">
                <a16:creationId xmlns:a16="http://schemas.microsoft.com/office/drawing/2014/main" id="{C9F33E66-EC49-4A85-BAF5-A0C403AC72B2}"/>
              </a:ext>
            </a:extLst>
          </p:cNvPr>
          <p:cNvSpPr txBox="1"/>
          <p:nvPr/>
        </p:nvSpPr>
        <p:spPr>
          <a:xfrm>
            <a:off x="10667811" y="4588341"/>
            <a:ext cx="971033"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43.5</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20" name="Google Shape;2207;p207">
            <a:extLst>
              <a:ext uri="{FF2B5EF4-FFF2-40B4-BE49-F238E27FC236}">
                <a16:creationId xmlns:a16="http://schemas.microsoft.com/office/drawing/2014/main" id="{FC2A20D5-B833-49D8-A595-820DD142DABA}"/>
              </a:ext>
            </a:extLst>
          </p:cNvPr>
          <p:cNvSpPr txBox="1"/>
          <p:nvPr/>
        </p:nvSpPr>
        <p:spPr>
          <a:xfrm>
            <a:off x="10670965" y="4980147"/>
            <a:ext cx="929783" cy="276999"/>
          </a:xfrm>
          <a:prstGeom prst="rect">
            <a:avLst/>
          </a:prstGeom>
          <a:no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Average </a:t>
            </a:r>
          </a:p>
          <a:p>
            <a:pPr>
              <a:defRPr/>
            </a:pPr>
            <a:r>
              <a:rPr lang="en-AU" sz="900" b="1" kern="0" dirty="0">
                <a:solidFill>
                  <a:srgbClr val="FFFFFF"/>
                </a:solidFill>
                <a:latin typeface="+mj-lt"/>
                <a:cs typeface="Arial"/>
              </a:rPr>
              <a:t>age*</a:t>
            </a:r>
          </a:p>
        </p:txBody>
      </p:sp>
      <p:grpSp>
        <p:nvGrpSpPr>
          <p:cNvPr id="121" name="Google Shape;2201;p207">
            <a:extLst>
              <a:ext uri="{FF2B5EF4-FFF2-40B4-BE49-F238E27FC236}">
                <a16:creationId xmlns:a16="http://schemas.microsoft.com/office/drawing/2014/main" id="{A6579D57-2A42-4741-88FC-E98A44BA7B5C}"/>
              </a:ext>
            </a:extLst>
          </p:cNvPr>
          <p:cNvGrpSpPr/>
          <p:nvPr/>
        </p:nvGrpSpPr>
        <p:grpSpPr>
          <a:xfrm>
            <a:off x="10591444" y="5444677"/>
            <a:ext cx="1095676" cy="881205"/>
            <a:chOff x="6292034" y="2081407"/>
            <a:chExt cx="1183615" cy="932457"/>
          </a:xfrm>
          <a:solidFill>
            <a:schemeClr val="accent6">
              <a:lumMod val="75000"/>
            </a:schemeClr>
          </a:solidFill>
        </p:grpSpPr>
        <p:sp>
          <p:nvSpPr>
            <p:cNvPr id="123" name="Google Shape;2205;p207">
              <a:extLst>
                <a:ext uri="{FF2B5EF4-FFF2-40B4-BE49-F238E27FC236}">
                  <a16:creationId xmlns:a16="http://schemas.microsoft.com/office/drawing/2014/main" id="{37B5ECD2-4154-43A7-AC11-8D4B6E3746EA}"/>
                </a:ext>
              </a:extLst>
            </p:cNvPr>
            <p:cNvSpPr/>
            <p:nvPr/>
          </p:nvSpPr>
          <p:spPr>
            <a:xfrm>
              <a:off x="6292034" y="2081407"/>
              <a:ext cx="1183615" cy="932457"/>
            </a:xfrm>
            <a:prstGeom prst="rect">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latin typeface="+mj-lt"/>
                <a:ea typeface="Arial"/>
                <a:cs typeface="Arial"/>
                <a:sym typeface="Arial"/>
              </a:endParaRPr>
            </a:p>
          </p:txBody>
        </p:sp>
        <p:sp>
          <p:nvSpPr>
            <p:cNvPr id="124" name="Google Shape;2206;p207">
              <a:extLst>
                <a:ext uri="{FF2B5EF4-FFF2-40B4-BE49-F238E27FC236}">
                  <a16:creationId xmlns:a16="http://schemas.microsoft.com/office/drawing/2014/main" id="{3DAAFB10-3D18-481B-9853-5D4ECB8D2ECB}"/>
                </a:ext>
              </a:extLst>
            </p:cNvPr>
            <p:cNvSpPr txBox="1"/>
            <p:nvPr/>
          </p:nvSpPr>
          <p:spPr>
            <a:xfrm>
              <a:off x="6359357" y="2158199"/>
              <a:ext cx="1048969" cy="390813"/>
            </a:xfrm>
            <a:prstGeom prst="rect">
              <a:avLst/>
            </a:prstGeom>
            <a:grp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26.1</a:t>
              </a:r>
              <a:r>
                <a:rPr lang="en-AU" sz="1600" b="1" kern="0" dirty="0">
                  <a:solidFill>
                    <a:srgbClr val="FFFFFF"/>
                  </a:solidFill>
                  <a:latin typeface="+mj-lt"/>
                  <a:cs typeface="Arial"/>
                  <a:sym typeface="Georgia"/>
                </a:rPr>
                <a:t>%</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25" name="Google Shape;2207;p207">
              <a:extLst>
                <a:ext uri="{FF2B5EF4-FFF2-40B4-BE49-F238E27FC236}">
                  <a16:creationId xmlns:a16="http://schemas.microsoft.com/office/drawing/2014/main" id="{C89FB597-BCB3-4034-AACC-88B5238423DD}"/>
                </a:ext>
              </a:extLst>
            </p:cNvPr>
            <p:cNvSpPr txBox="1"/>
            <p:nvPr/>
          </p:nvSpPr>
          <p:spPr>
            <a:xfrm>
              <a:off x="6381574" y="2588470"/>
              <a:ext cx="1004407" cy="293110"/>
            </a:xfrm>
            <a:prstGeom prst="rect">
              <a:avLst/>
            </a:prstGeom>
            <a:grp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Turnover </a:t>
              </a:r>
            </a:p>
            <a:p>
              <a:pPr>
                <a:defRPr/>
              </a:pPr>
              <a:r>
                <a:rPr lang="en-AU" sz="900" b="1" kern="0" dirty="0">
                  <a:solidFill>
                    <a:srgbClr val="FFFFFF"/>
                  </a:solidFill>
                  <a:latin typeface="+mj-lt"/>
                  <a:cs typeface="Arial"/>
                </a:rPr>
                <a:t>rate**</a:t>
              </a:r>
            </a:p>
          </p:txBody>
        </p:sp>
      </p:grpSp>
      <p:sp>
        <p:nvSpPr>
          <p:cNvPr id="135" name="Google Shape;2191;p207">
            <a:extLst>
              <a:ext uri="{FF2B5EF4-FFF2-40B4-BE49-F238E27FC236}">
                <a16:creationId xmlns:a16="http://schemas.microsoft.com/office/drawing/2014/main" id="{AE73F618-5D9F-4181-9789-F00833280E17}"/>
              </a:ext>
            </a:extLst>
          </p:cNvPr>
          <p:cNvSpPr/>
          <p:nvPr/>
        </p:nvSpPr>
        <p:spPr>
          <a:xfrm>
            <a:off x="10591444" y="1504787"/>
            <a:ext cx="1095675" cy="252000"/>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Key metrics</a:t>
            </a:r>
            <a:endParaRPr lang="en-US" sz="1100" b="1" kern="0" dirty="0">
              <a:solidFill>
                <a:srgbClr val="FFFFFF"/>
              </a:solidFill>
              <a:cs typeface="Arial"/>
            </a:endParaRPr>
          </a:p>
        </p:txBody>
      </p:sp>
      <p:pic>
        <p:nvPicPr>
          <p:cNvPr id="5" name="Picture 7" descr="Chart, pie chart&#10;&#10;Description automatically generated">
            <a:extLst>
              <a:ext uri="{FF2B5EF4-FFF2-40B4-BE49-F238E27FC236}">
                <a16:creationId xmlns:a16="http://schemas.microsoft.com/office/drawing/2014/main" id="{BB3768D5-97C4-2A03-6742-B918ED147269}"/>
              </a:ext>
            </a:extLst>
          </p:cNvPr>
          <p:cNvPicPr>
            <a:picLocks noChangeAspect="1"/>
          </p:cNvPicPr>
          <p:nvPr/>
        </p:nvPicPr>
        <p:blipFill>
          <a:blip r:embed="rId4"/>
          <a:stretch>
            <a:fillRect/>
          </a:stretch>
        </p:blipFill>
        <p:spPr>
          <a:xfrm>
            <a:off x="6380624" y="1896241"/>
            <a:ext cx="3744974" cy="1818883"/>
          </a:xfrm>
          <a:prstGeom prst="rect">
            <a:avLst/>
          </a:prstGeom>
          <a:ln>
            <a:noFill/>
          </a:ln>
        </p:spPr>
      </p:pic>
      <p:sp>
        <p:nvSpPr>
          <p:cNvPr id="4" name="Rectangle 3">
            <a:extLst>
              <a:ext uri="{FF2B5EF4-FFF2-40B4-BE49-F238E27FC236}">
                <a16:creationId xmlns:a16="http://schemas.microsoft.com/office/drawing/2014/main" id="{5AB1784E-D0E1-49B3-854C-B30009078A70}"/>
              </a:ext>
            </a:extLst>
          </p:cNvPr>
          <p:cNvSpPr/>
          <p:nvPr/>
        </p:nvSpPr>
        <p:spPr>
          <a:xfrm>
            <a:off x="6078602" y="1826359"/>
            <a:ext cx="4397107" cy="1894633"/>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8" name="Slide Number Placeholder 7">
            <a:extLst>
              <a:ext uri="{FF2B5EF4-FFF2-40B4-BE49-F238E27FC236}">
                <a16:creationId xmlns:a16="http://schemas.microsoft.com/office/drawing/2014/main" id="{21660264-4CCA-4B34-9865-298015222003}"/>
              </a:ext>
            </a:extLst>
          </p:cNvPr>
          <p:cNvSpPr>
            <a:spLocks noGrp="1"/>
          </p:cNvSpPr>
          <p:nvPr>
            <p:ph type="sldNum" sz="quarter" idx="12"/>
          </p:nvPr>
        </p:nvSpPr>
        <p:spPr>
          <a:xfrm>
            <a:off x="11069001" y="6375400"/>
            <a:ext cx="362274" cy="180000"/>
          </a:xfrm>
        </p:spPr>
        <p:txBody>
          <a:bodyPr/>
          <a:lstStyle/>
          <a:p>
            <a:fld id="{C0F55C17-AF72-40D4-ADBD-B5505DEBF9BA}" type="slidenum">
              <a:rPr lang="en-AU" smtClean="0"/>
              <a:t>36</a:t>
            </a:fld>
            <a:endParaRPr lang="en-US" dirty="0"/>
          </a:p>
        </p:txBody>
      </p:sp>
      <p:sp>
        <p:nvSpPr>
          <p:cNvPr id="40" name="Footer Placeholder 1">
            <a:extLst>
              <a:ext uri="{FF2B5EF4-FFF2-40B4-BE49-F238E27FC236}">
                <a16:creationId xmlns:a16="http://schemas.microsoft.com/office/drawing/2014/main" id="{E7152FA3-E101-47F4-8D16-85E974DA3EBC}"/>
              </a:ext>
            </a:extLst>
          </p:cNvPr>
          <p:cNvSpPr>
            <a:spLocks noGrp="1"/>
          </p:cNvSpPr>
          <p:nvPr>
            <p:ph type="ftr" sz="quarter" idx="11"/>
          </p:nvPr>
        </p:nvSpPr>
        <p:spPr>
          <a:xfrm>
            <a:off x="1162662" y="6365264"/>
            <a:ext cx="6783813" cy="180000"/>
          </a:xfrm>
        </p:spPr>
        <p:txBody>
          <a:bodyPr/>
          <a:lstStyle/>
          <a:p>
            <a:pPr algn="ctr"/>
            <a:r>
              <a:rPr lang="en-AU" smtClean="0"/>
              <a:t>NDIS Commission Workforce Plan 2023-2028</a:t>
            </a:r>
            <a:endParaRPr lang="en-US" dirty="0"/>
          </a:p>
        </p:txBody>
      </p:sp>
      <p:sp>
        <p:nvSpPr>
          <p:cNvPr id="33" name="Speech Bubble: Rectangle with Corners Rounded 32">
            <a:extLst>
              <a:ext uri="{FF2B5EF4-FFF2-40B4-BE49-F238E27FC236}">
                <a16:creationId xmlns:a16="http://schemas.microsoft.com/office/drawing/2014/main" id="{647DA341-0699-4DA0-8CBD-5D5EAA70EC23}"/>
              </a:ext>
            </a:extLst>
          </p:cNvPr>
          <p:cNvSpPr/>
          <p:nvPr/>
        </p:nvSpPr>
        <p:spPr>
          <a:xfrm>
            <a:off x="8913019" y="4126892"/>
            <a:ext cx="1650037" cy="775212"/>
          </a:xfrm>
          <a:prstGeom prst="wedgeRoundRectCallout">
            <a:avLst/>
          </a:prstGeom>
          <a:solidFill>
            <a:schemeClr val="bg1">
              <a:lumMod val="9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Box 31">
            <a:extLst>
              <a:ext uri="{FF2B5EF4-FFF2-40B4-BE49-F238E27FC236}">
                <a16:creationId xmlns:a16="http://schemas.microsoft.com/office/drawing/2014/main" id="{817C7F05-311A-477C-B78E-F91FE38B903E}"/>
              </a:ext>
            </a:extLst>
          </p:cNvPr>
          <p:cNvSpPr txBox="1"/>
          <p:nvPr/>
        </p:nvSpPr>
        <p:spPr>
          <a:xfrm>
            <a:off x="8874125" y="4172389"/>
            <a:ext cx="1753699" cy="707886"/>
          </a:xfrm>
          <a:prstGeom prst="rect">
            <a:avLst/>
          </a:prstGeom>
          <a:noFill/>
        </p:spPr>
        <p:txBody>
          <a:bodyPr wrap="square" rtlCol="0">
            <a:spAutoFit/>
          </a:bodyPr>
          <a:lstStyle/>
          <a:p>
            <a:r>
              <a:rPr lang="en-US" sz="800" dirty="0"/>
              <a:t>The workforce composition of the Commission generally has fewer EL staff as a proportion to some other regulatory agencies such as the ACCC  and ACSQHC (See Appendix A)</a:t>
            </a:r>
          </a:p>
        </p:txBody>
      </p:sp>
      <p:sp>
        <p:nvSpPr>
          <p:cNvPr id="39" name="Google Shape;2191;p207">
            <a:extLst>
              <a:ext uri="{FF2B5EF4-FFF2-40B4-BE49-F238E27FC236}">
                <a16:creationId xmlns:a16="http://schemas.microsoft.com/office/drawing/2014/main" id="{246C808A-D016-43B7-A97F-9E9D67A82DF4}"/>
              </a:ext>
            </a:extLst>
          </p:cNvPr>
          <p:cNvSpPr/>
          <p:nvPr/>
        </p:nvSpPr>
        <p:spPr>
          <a:xfrm>
            <a:off x="407673" y="6661952"/>
            <a:ext cx="10874321" cy="195081"/>
          </a:xfrm>
          <a:prstGeom prst="rect">
            <a:avLst/>
          </a:prstGeom>
          <a:no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Note: </a:t>
            </a:r>
            <a:r>
              <a:rPr lang="en-AU" sz="700" kern="0" dirty="0">
                <a:cs typeface="Arial"/>
                <a:sym typeface="Arial"/>
              </a:rPr>
              <a:t>There is a +2.9% differential in the FY22 turnover rate shown using the current state data provided by the Commission in comparison to the rate published in the APS employment data 2022</a:t>
            </a:r>
          </a:p>
        </p:txBody>
      </p:sp>
    </p:spTree>
    <p:extLst>
      <p:ext uri="{BB962C8B-B14F-4D97-AF65-F5344CB8AC3E}">
        <p14:creationId xmlns:p14="http://schemas.microsoft.com/office/powerpoint/2010/main" val="17514499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43003BF-9671-CDDF-E8C3-C13EB37AAA2E}"/>
              </a:ext>
            </a:extLst>
          </p:cNvPr>
          <p:cNvSpPr>
            <a:spLocks noGrp="1"/>
          </p:cNvSpPr>
          <p:nvPr>
            <p:ph type="ftr" sz="quarter" idx="11"/>
          </p:nvPr>
        </p:nvSpPr>
        <p:spPr>
          <a:xfrm>
            <a:off x="1151633" y="6403564"/>
            <a:ext cx="6783813" cy="180000"/>
          </a:xfrm>
        </p:spPr>
        <p:txBody>
          <a:bodyPr/>
          <a:lstStyle/>
          <a:p>
            <a:pPr algn="ctr"/>
            <a:r>
              <a:rPr lang="en-AU" smtClean="0"/>
              <a:t>NDIS Commission Workforce Plan 2023-2028</a:t>
            </a:r>
            <a:endParaRPr lang="en-US" dirty="0"/>
          </a:p>
        </p:txBody>
      </p:sp>
      <p:sp>
        <p:nvSpPr>
          <p:cNvPr id="30" name="Google Shape;2191;p207">
            <a:extLst>
              <a:ext uri="{FF2B5EF4-FFF2-40B4-BE49-F238E27FC236}">
                <a16:creationId xmlns:a16="http://schemas.microsoft.com/office/drawing/2014/main" id="{D2AA6C39-90F1-4EB7-9772-C23D32D27C9E}"/>
              </a:ext>
            </a:extLst>
          </p:cNvPr>
          <p:cNvSpPr/>
          <p:nvPr/>
        </p:nvSpPr>
        <p:spPr>
          <a:xfrm>
            <a:off x="431726" y="6573292"/>
            <a:ext cx="11328546" cy="251578"/>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AU" sz="700" kern="0" dirty="0">
                <a:cs typeface="Arial"/>
                <a:sym typeface="Arial"/>
              </a:rPr>
              <a:t>Current state workforce data as at 27 Sep 2022  | * Data limitations on availability of job families and workforce segments. Organisational unit has been cleansed of work location for each of visual representation. **Excludes external workforce/contractor/consultants (n=159) due to data availability | </a:t>
            </a:r>
            <a:r>
              <a:rPr lang="en-AU" sz="700" b="1" kern="0" dirty="0">
                <a:cs typeface="Arial"/>
                <a:sym typeface="Arial"/>
              </a:rPr>
              <a:t>1</a:t>
            </a:r>
            <a:r>
              <a:rPr lang="en-AU" sz="700" kern="0" dirty="0">
                <a:cs typeface="Arial"/>
                <a:sym typeface="Arial"/>
              </a:rPr>
              <a:t> Salesforce Why Start-ups Face High Attrition Rates, 2022 | </a:t>
            </a:r>
            <a:r>
              <a:rPr lang="en-AU" sz="700" b="1" kern="0" dirty="0">
                <a:cs typeface="Arial"/>
                <a:sym typeface="Arial"/>
              </a:rPr>
              <a:t> 2  </a:t>
            </a:r>
            <a:r>
              <a:rPr lang="en-AU" sz="700" kern="0" dirty="0">
                <a:cs typeface="Arial"/>
                <a:sym typeface="Arial"/>
              </a:rPr>
              <a:t>PwC what Workers Want report, 2022 </a:t>
            </a:r>
          </a:p>
        </p:txBody>
      </p:sp>
      <p:sp>
        <p:nvSpPr>
          <p:cNvPr id="57" name="Title 4">
            <a:extLst>
              <a:ext uri="{FF2B5EF4-FFF2-40B4-BE49-F238E27FC236}">
                <a16:creationId xmlns:a16="http://schemas.microsoft.com/office/drawing/2014/main" id="{4A02B0EE-96C3-40EE-B386-1D3B72B15A2E}"/>
              </a:ext>
            </a:extLst>
          </p:cNvPr>
          <p:cNvSpPr txBox="1">
            <a:spLocks/>
          </p:cNvSpPr>
          <p:nvPr/>
        </p:nvSpPr>
        <p:spPr>
          <a:xfrm>
            <a:off x="503691" y="498100"/>
            <a:ext cx="8268644" cy="673562"/>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400" dirty="0">
                <a:solidFill>
                  <a:schemeClr val="tx2"/>
                </a:solidFill>
              </a:rPr>
              <a:t>Current state workforce profile </a:t>
            </a:r>
            <a:r>
              <a:rPr lang="en-US" sz="1600" dirty="0">
                <a:solidFill>
                  <a:schemeClr val="tx2"/>
                </a:solidFill>
              </a:rPr>
              <a:t>(2/2) </a:t>
            </a:r>
            <a:endParaRPr lang="en-AU" sz="2800" dirty="0">
              <a:solidFill>
                <a:schemeClr val="tx2"/>
              </a:solidFill>
            </a:endParaRPr>
          </a:p>
        </p:txBody>
      </p:sp>
      <p:sp>
        <p:nvSpPr>
          <p:cNvPr id="53" name="Google Shape;2191;p207">
            <a:extLst>
              <a:ext uri="{FF2B5EF4-FFF2-40B4-BE49-F238E27FC236}">
                <a16:creationId xmlns:a16="http://schemas.microsoft.com/office/drawing/2014/main" id="{56C61FBB-DA75-4C57-A25F-2926D3420CB9}"/>
              </a:ext>
            </a:extLst>
          </p:cNvPr>
          <p:cNvSpPr/>
          <p:nvPr/>
        </p:nvSpPr>
        <p:spPr>
          <a:xfrm>
            <a:off x="5143501" y="1501557"/>
            <a:ext cx="6544808" cy="299645"/>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Turnover analysis </a:t>
            </a:r>
            <a:endParaRPr lang="en-US" sz="1100" b="1" kern="0" dirty="0">
              <a:solidFill>
                <a:srgbClr val="FFFFFF"/>
              </a:solidFill>
              <a:cs typeface="Arial"/>
            </a:endParaRPr>
          </a:p>
        </p:txBody>
      </p:sp>
      <p:sp>
        <p:nvSpPr>
          <p:cNvPr id="56" name="TextBox 55">
            <a:extLst>
              <a:ext uri="{FF2B5EF4-FFF2-40B4-BE49-F238E27FC236}">
                <a16:creationId xmlns:a16="http://schemas.microsoft.com/office/drawing/2014/main" id="{62329919-5B77-4D39-BC63-113061204726}"/>
              </a:ext>
            </a:extLst>
          </p:cNvPr>
          <p:cNvSpPr txBox="1"/>
          <p:nvPr/>
        </p:nvSpPr>
        <p:spPr>
          <a:xfrm>
            <a:off x="5143501" y="1859018"/>
            <a:ext cx="2837040" cy="4517805"/>
          </a:xfrm>
          <a:prstGeom prst="rect">
            <a:avLst/>
          </a:prstGeom>
          <a:solidFill>
            <a:schemeClr val="bg1">
              <a:lumMod val="95000"/>
            </a:schemeClr>
          </a:solidFill>
        </p:spPr>
        <p:txBody>
          <a:bodyPr wrap="square" lIns="91440" tIns="45720" rIns="91440" bIns="45720" rtlCol="0" anchor="t">
            <a:noAutofit/>
          </a:bodyPr>
          <a:lstStyle/>
          <a:p>
            <a:pPr>
              <a:spcAft>
                <a:spcPts val="500"/>
              </a:spcAft>
            </a:pPr>
            <a:r>
              <a:rPr lang="en-AU" sz="1000" dirty="0"/>
              <a:t>The Commission has experienced relatively high turnover in the previous financial year equating to 26.1% of total ongoing employee headcount (341). Combined, the APS6 (31) and EL1 (26) cohorts accounted for 52% of all employee separations in FY22.</a:t>
            </a:r>
          </a:p>
          <a:p>
            <a:pPr>
              <a:spcAft>
                <a:spcPts val="500"/>
              </a:spcAft>
            </a:pPr>
            <a:r>
              <a:rPr lang="en-AU" sz="1000" dirty="0"/>
              <a:t>Future potential turnover is reflected in the 2022 APS Employee Census 74% of NDIS QSC respondents indicated that they wanted to leave their current position as soon as possible (12%), within the next 12 months or in the next one to two years (38%).</a:t>
            </a:r>
            <a:endParaRPr lang="en-AU" sz="1000" dirty="0">
              <a:cs typeface="Calibri"/>
            </a:endParaRPr>
          </a:p>
          <a:p>
            <a:pPr>
              <a:spcAft>
                <a:spcPts val="500"/>
              </a:spcAft>
            </a:pPr>
            <a:r>
              <a:rPr lang="en-AU" sz="1000" dirty="0"/>
              <a:t>There are many reasons for turnover to occur. Research indicates higher than average turnover in start-up organisations moving into </a:t>
            </a:r>
            <a:r>
              <a:rPr lang="en-AU" sz="1000" dirty="0" smtClean="0"/>
              <a:t>scale-up</a:t>
            </a:r>
            <a:r>
              <a:rPr lang="en-AU" sz="1000" dirty="0"/>
              <a:t>. This tends to be due to factors such as: limited budgets, higher demands, manual processes and practices and availability of modern equipment and technology including collaboration tools</a:t>
            </a:r>
            <a:r>
              <a:rPr lang="en-US" sz="1000" kern="0" dirty="0">
                <a:solidFill>
                  <a:srgbClr val="000000"/>
                </a:solidFill>
                <a:latin typeface="Arial" panose="020B0604020202020204" pitchFamily="34" charset="0"/>
                <a:ea typeface="MS Gothic" panose="020B0609070205080204" pitchFamily="49" charset="-128"/>
                <a:cs typeface="Arial"/>
                <a:sym typeface="Helvetica Neue"/>
              </a:rPr>
              <a:t>¹</a:t>
            </a:r>
            <a:r>
              <a:rPr lang="en-AU" sz="1000" dirty="0"/>
              <a:t>. Understanding any specific drivers in the Commission will continue to be important for investment in retention strategies.</a:t>
            </a:r>
            <a:endParaRPr lang="en-AU" dirty="0"/>
          </a:p>
          <a:p>
            <a:pPr>
              <a:spcAft>
                <a:spcPts val="500"/>
              </a:spcAft>
            </a:pPr>
            <a:r>
              <a:rPr lang="en-AU" sz="1000" dirty="0"/>
              <a:t>Further analysis and data capture is recommended to gain a deeper understanding of the drivers of turnover and retention. This may be undertaken through the existing APS Census Working Group, SLT forum as well as exit survey and/or interviews.  </a:t>
            </a:r>
            <a:endParaRPr lang="en-US" sz="1000" dirty="0">
              <a:cs typeface="Calibri"/>
            </a:endParaRPr>
          </a:p>
        </p:txBody>
      </p:sp>
      <p:sp>
        <p:nvSpPr>
          <p:cNvPr id="8" name="Slide Number Placeholder 7">
            <a:extLst>
              <a:ext uri="{FF2B5EF4-FFF2-40B4-BE49-F238E27FC236}">
                <a16:creationId xmlns:a16="http://schemas.microsoft.com/office/drawing/2014/main" id="{74A9FC1B-B3DD-45DD-A25B-3614BEFC9AB1}"/>
              </a:ext>
            </a:extLst>
          </p:cNvPr>
          <p:cNvSpPr>
            <a:spLocks noGrp="1"/>
          </p:cNvSpPr>
          <p:nvPr>
            <p:ph type="sldNum" sz="quarter" idx="12"/>
          </p:nvPr>
        </p:nvSpPr>
        <p:spPr/>
        <p:txBody>
          <a:bodyPr/>
          <a:lstStyle/>
          <a:p>
            <a:fld id="{C0F55C17-AF72-40D4-ADBD-B5505DEBF9BA}" type="slidenum">
              <a:rPr lang="en-AU" smtClean="0"/>
              <a:t>37</a:t>
            </a:fld>
            <a:endParaRPr lang="en-US" dirty="0"/>
          </a:p>
        </p:txBody>
      </p:sp>
      <p:sp>
        <p:nvSpPr>
          <p:cNvPr id="64" name="Rectangle 63">
            <a:extLst>
              <a:ext uri="{FF2B5EF4-FFF2-40B4-BE49-F238E27FC236}">
                <a16:creationId xmlns:a16="http://schemas.microsoft.com/office/drawing/2014/main" id="{99B5496D-3DCF-4EFC-89E0-DC3142A401A3}"/>
              </a:ext>
            </a:extLst>
          </p:cNvPr>
          <p:cNvSpPr/>
          <p:nvPr/>
        </p:nvSpPr>
        <p:spPr>
          <a:xfrm>
            <a:off x="8055497" y="1854055"/>
            <a:ext cx="3632811" cy="4502294"/>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0" name="Picture 10" descr="Chart, histogram&#10;&#10;Description automatically generated">
            <a:extLst>
              <a:ext uri="{FF2B5EF4-FFF2-40B4-BE49-F238E27FC236}">
                <a16:creationId xmlns:a16="http://schemas.microsoft.com/office/drawing/2014/main" id="{6E55B27B-AD53-CED4-F0CB-DFDDEE9A8D4F}"/>
              </a:ext>
            </a:extLst>
          </p:cNvPr>
          <p:cNvPicPr>
            <a:picLocks noChangeAspect="1"/>
          </p:cNvPicPr>
          <p:nvPr/>
        </p:nvPicPr>
        <p:blipFill>
          <a:blip r:embed="rId3"/>
          <a:stretch>
            <a:fillRect/>
          </a:stretch>
        </p:blipFill>
        <p:spPr>
          <a:xfrm>
            <a:off x="8108524" y="1966374"/>
            <a:ext cx="3497596" cy="1974079"/>
          </a:xfrm>
          <a:prstGeom prst="rect">
            <a:avLst/>
          </a:prstGeom>
          <a:ln>
            <a:noFill/>
          </a:ln>
        </p:spPr>
      </p:pic>
      <p:pic>
        <p:nvPicPr>
          <p:cNvPr id="11" name="Picture 11">
            <a:extLst>
              <a:ext uri="{FF2B5EF4-FFF2-40B4-BE49-F238E27FC236}">
                <a16:creationId xmlns:a16="http://schemas.microsoft.com/office/drawing/2014/main" id="{65EB98EC-0737-08D3-B96A-7B05DA86EB74}"/>
              </a:ext>
            </a:extLst>
          </p:cNvPr>
          <p:cNvPicPr>
            <a:picLocks noChangeAspect="1"/>
          </p:cNvPicPr>
          <p:nvPr/>
        </p:nvPicPr>
        <p:blipFill>
          <a:blip r:embed="rId4"/>
          <a:stretch>
            <a:fillRect/>
          </a:stretch>
        </p:blipFill>
        <p:spPr>
          <a:xfrm>
            <a:off x="8108524" y="4381158"/>
            <a:ext cx="3518491" cy="1798374"/>
          </a:xfrm>
          <a:prstGeom prst="rect">
            <a:avLst/>
          </a:prstGeom>
          <a:ln>
            <a:noFill/>
          </a:ln>
        </p:spPr>
      </p:pic>
      <p:sp>
        <p:nvSpPr>
          <p:cNvPr id="20" name="Speech Bubble: Rectangle with Corners Rounded 19">
            <a:extLst>
              <a:ext uri="{FF2B5EF4-FFF2-40B4-BE49-F238E27FC236}">
                <a16:creationId xmlns:a16="http://schemas.microsoft.com/office/drawing/2014/main" id="{68EE5AE3-928F-4357-B76D-0B15CCCBC5E1}"/>
              </a:ext>
            </a:extLst>
          </p:cNvPr>
          <p:cNvSpPr/>
          <p:nvPr/>
        </p:nvSpPr>
        <p:spPr>
          <a:xfrm>
            <a:off x="10435102" y="4040281"/>
            <a:ext cx="1483672" cy="954107"/>
          </a:xfrm>
          <a:prstGeom prst="wedgeRoundRectCallout">
            <a:avLst/>
          </a:prstGeom>
          <a:solidFill>
            <a:schemeClr val="bg1">
              <a:lumMod val="9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645BD351-3910-4B91-8545-2C28DCDC9989}"/>
              </a:ext>
            </a:extLst>
          </p:cNvPr>
          <p:cNvSpPr txBox="1"/>
          <p:nvPr/>
        </p:nvSpPr>
        <p:spPr>
          <a:xfrm>
            <a:off x="10435101" y="4040281"/>
            <a:ext cx="1483672" cy="954107"/>
          </a:xfrm>
          <a:prstGeom prst="rect">
            <a:avLst/>
          </a:prstGeom>
          <a:noFill/>
        </p:spPr>
        <p:txBody>
          <a:bodyPr wrap="square" rtlCol="0">
            <a:spAutoFit/>
          </a:bodyPr>
          <a:lstStyle/>
          <a:p>
            <a:r>
              <a:rPr lang="en-US" sz="800" dirty="0"/>
              <a:t>Pre pandemic, the average turnover rate sat at around 10.9%</a:t>
            </a:r>
            <a:r>
              <a:rPr lang="en-US" sz="800" dirty="0">
                <a:sym typeface="Helvetica Neue"/>
              </a:rPr>
              <a:t>²</a:t>
            </a:r>
            <a:r>
              <a:rPr lang="en-US" sz="800" dirty="0"/>
              <a:t>. The current turnover rate of the Commission is 26.1% This is generally higher then other regulatory agencies (See Appendix A).</a:t>
            </a:r>
          </a:p>
        </p:txBody>
      </p:sp>
      <p:sp>
        <p:nvSpPr>
          <p:cNvPr id="23" name="Google Shape;2191;p207">
            <a:extLst>
              <a:ext uri="{FF2B5EF4-FFF2-40B4-BE49-F238E27FC236}">
                <a16:creationId xmlns:a16="http://schemas.microsoft.com/office/drawing/2014/main" id="{DE0CED2C-2D44-4590-8ADD-D3DCB83ADCB1}"/>
              </a:ext>
            </a:extLst>
          </p:cNvPr>
          <p:cNvSpPr/>
          <p:nvPr/>
        </p:nvSpPr>
        <p:spPr>
          <a:xfrm>
            <a:off x="503691" y="1492793"/>
            <a:ext cx="4520217" cy="299645"/>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Our capabilities </a:t>
            </a:r>
            <a:endParaRPr lang="en-US" sz="1100" b="1" kern="0" dirty="0">
              <a:solidFill>
                <a:srgbClr val="FFFFFF"/>
              </a:solidFill>
              <a:cs typeface="Arial"/>
            </a:endParaRPr>
          </a:p>
        </p:txBody>
      </p:sp>
      <p:sp>
        <p:nvSpPr>
          <p:cNvPr id="24" name="TextBox 23">
            <a:extLst>
              <a:ext uri="{FF2B5EF4-FFF2-40B4-BE49-F238E27FC236}">
                <a16:creationId xmlns:a16="http://schemas.microsoft.com/office/drawing/2014/main" id="{036DB1FF-9708-444F-A98F-7E27045F0700}"/>
              </a:ext>
            </a:extLst>
          </p:cNvPr>
          <p:cNvSpPr txBox="1"/>
          <p:nvPr/>
        </p:nvSpPr>
        <p:spPr>
          <a:xfrm>
            <a:off x="495301" y="1854055"/>
            <a:ext cx="4520217" cy="4517805"/>
          </a:xfrm>
          <a:prstGeom prst="rect">
            <a:avLst/>
          </a:prstGeom>
          <a:solidFill>
            <a:schemeClr val="bg1">
              <a:lumMod val="95000"/>
            </a:schemeClr>
          </a:solidFill>
        </p:spPr>
        <p:txBody>
          <a:bodyPr wrap="square" lIns="91440" tIns="45720" rIns="91440" bIns="45720" rtlCol="0" anchor="t">
            <a:noAutofit/>
          </a:bodyPr>
          <a:lstStyle/>
          <a:p>
            <a:pPr>
              <a:spcAft>
                <a:spcPts val="500"/>
              </a:spcAft>
            </a:pPr>
            <a:r>
              <a:rPr lang="en-AU" sz="1000" dirty="0"/>
              <a:t>The Commission’s workforce has deep capability, held functionally as pockets of expertise across the organisation. </a:t>
            </a:r>
            <a:r>
              <a:rPr lang="en-US" sz="1000" dirty="0"/>
              <a:t>Through consultation, </a:t>
            </a:r>
            <a:r>
              <a:rPr lang="en-US" sz="1000" b="1" dirty="0"/>
              <a:t>core behavioural strengths </a:t>
            </a:r>
            <a:r>
              <a:rPr lang="en-US" sz="1000" dirty="0"/>
              <a:t>in empathy, commitment and purpose were evident as well as </a:t>
            </a:r>
            <a:r>
              <a:rPr lang="en-US" sz="1000" b="1" dirty="0"/>
              <a:t>deep capability and experience</a:t>
            </a:r>
            <a:r>
              <a:rPr lang="en-US" sz="1000" dirty="0"/>
              <a:t> in:</a:t>
            </a:r>
          </a:p>
          <a:p>
            <a:pPr>
              <a:spcAft>
                <a:spcPts val="500"/>
              </a:spcAft>
            </a:pPr>
            <a:endParaRPr lang="en-US" sz="1000" dirty="0">
              <a:cs typeface="Calibri"/>
            </a:endParaRPr>
          </a:p>
          <a:p>
            <a:pPr>
              <a:spcAft>
                <a:spcPts val="500"/>
              </a:spcAft>
            </a:pPr>
            <a:endParaRPr lang="en-US" sz="1000" dirty="0"/>
          </a:p>
          <a:p>
            <a:pPr>
              <a:spcAft>
                <a:spcPts val="500"/>
              </a:spcAft>
            </a:pPr>
            <a:endParaRPr lang="en-US" sz="1000" dirty="0"/>
          </a:p>
          <a:p>
            <a:pPr>
              <a:spcAft>
                <a:spcPts val="500"/>
              </a:spcAft>
            </a:pPr>
            <a:endParaRPr lang="en-US" sz="1000" dirty="0"/>
          </a:p>
          <a:p>
            <a:pPr>
              <a:spcAft>
                <a:spcPts val="500"/>
              </a:spcAft>
            </a:pPr>
            <a:endParaRPr lang="en-US" sz="700" dirty="0"/>
          </a:p>
          <a:p>
            <a:pPr>
              <a:spcBef>
                <a:spcPts val="600"/>
              </a:spcBef>
              <a:spcAft>
                <a:spcPts val="500"/>
              </a:spcAft>
            </a:pPr>
            <a:r>
              <a:rPr lang="en-US" sz="1000" dirty="0"/>
              <a:t>Throughout consultation </a:t>
            </a:r>
            <a:r>
              <a:rPr lang="en-US" sz="1000" b="1" dirty="0"/>
              <a:t>continuing to grow capabilities </a:t>
            </a:r>
            <a:r>
              <a:rPr lang="en-US" sz="1000" dirty="0"/>
              <a:t>in the following areas also emerged as a key focus: </a:t>
            </a:r>
            <a:endParaRPr lang="en-US" sz="1000" dirty="0">
              <a:cs typeface="Calibri"/>
            </a:endParaRPr>
          </a:p>
          <a:p>
            <a:pPr>
              <a:spcBef>
                <a:spcPts val="600"/>
              </a:spcBef>
              <a:spcAft>
                <a:spcPts val="500"/>
              </a:spcAft>
            </a:pPr>
            <a:endParaRPr lang="en-US" sz="700" dirty="0"/>
          </a:p>
          <a:p>
            <a:pPr>
              <a:spcBef>
                <a:spcPts val="1000"/>
              </a:spcBef>
              <a:spcAft>
                <a:spcPts val="500"/>
              </a:spcAft>
            </a:pPr>
            <a:endParaRPr lang="en-US" sz="100" dirty="0"/>
          </a:p>
          <a:p>
            <a:pPr>
              <a:spcBef>
                <a:spcPts val="600"/>
              </a:spcBef>
            </a:pPr>
            <a:r>
              <a:rPr lang="en-US" sz="1000" dirty="0"/>
              <a:t>As the Commission </a:t>
            </a:r>
            <a:r>
              <a:rPr lang="en-US" sz="1000" dirty="0" smtClean="0"/>
              <a:t>scales-up, it </a:t>
            </a:r>
            <a:r>
              <a:rPr lang="en-US" sz="1000" dirty="0"/>
              <a:t>must embed core competency across functions, enhancing the depth and breadth of our existing skills and capabilities as ‘One Commission’. This will enable the Commission to build confidence and capability so that staff can operate as ‘regulatory officers’ of the Commission. </a:t>
            </a:r>
            <a:endParaRPr lang="en-US" sz="1000" dirty="0">
              <a:cs typeface="Calibri"/>
            </a:endParaRPr>
          </a:p>
          <a:p>
            <a:pPr>
              <a:spcBef>
                <a:spcPts val="600"/>
              </a:spcBef>
            </a:pPr>
            <a:r>
              <a:rPr lang="en-US" sz="1000" b="1" dirty="0"/>
              <a:t>Developing and embedding core capabilities across all roles </a:t>
            </a:r>
            <a:r>
              <a:rPr lang="en-US" sz="1000" dirty="0"/>
              <a:t>will also enable the continued growth and development of our workforce and enable the Commission in the achievement of </a:t>
            </a:r>
            <a:r>
              <a:rPr lang="en-US" sz="1000" dirty="0" smtClean="0"/>
              <a:t>its </a:t>
            </a:r>
            <a:r>
              <a:rPr lang="en-US" sz="1000" dirty="0"/>
              <a:t>vision. </a:t>
            </a:r>
            <a:endParaRPr lang="en-US" sz="1000" dirty="0">
              <a:cs typeface="Calibri"/>
            </a:endParaRPr>
          </a:p>
          <a:p>
            <a:pPr>
              <a:spcAft>
                <a:spcPts val="500"/>
              </a:spcAft>
            </a:pPr>
            <a:endParaRPr lang="en-US" sz="1000" dirty="0">
              <a:highlight>
                <a:srgbClr val="FFFF00"/>
              </a:highlight>
            </a:endParaRPr>
          </a:p>
        </p:txBody>
      </p:sp>
      <p:sp>
        <p:nvSpPr>
          <p:cNvPr id="43" name="Rectangle: Rounded Corners 42">
            <a:extLst>
              <a:ext uri="{FF2B5EF4-FFF2-40B4-BE49-F238E27FC236}">
                <a16:creationId xmlns:a16="http://schemas.microsoft.com/office/drawing/2014/main" id="{0BFB80A7-3FB2-44F9-B49D-92591ADBB6C8}"/>
              </a:ext>
            </a:extLst>
          </p:cNvPr>
          <p:cNvSpPr/>
          <p:nvPr/>
        </p:nvSpPr>
        <p:spPr>
          <a:xfrm>
            <a:off x="2171346" y="2562424"/>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Clinical behavioural support </a:t>
            </a:r>
          </a:p>
        </p:txBody>
      </p:sp>
      <p:sp>
        <p:nvSpPr>
          <p:cNvPr id="44" name="Rectangle: Rounded Corners 43">
            <a:extLst>
              <a:ext uri="{FF2B5EF4-FFF2-40B4-BE49-F238E27FC236}">
                <a16:creationId xmlns:a16="http://schemas.microsoft.com/office/drawing/2014/main" id="{E224AC05-D0FE-4C80-923B-91C283B9EA0F}"/>
              </a:ext>
            </a:extLst>
          </p:cNvPr>
          <p:cNvSpPr/>
          <p:nvPr/>
        </p:nvSpPr>
        <p:spPr>
          <a:xfrm>
            <a:off x="579644" y="5780409"/>
            <a:ext cx="1041096" cy="5004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Consumer Centricity</a:t>
            </a:r>
          </a:p>
        </p:txBody>
      </p:sp>
      <p:sp>
        <p:nvSpPr>
          <p:cNvPr id="45" name="Rectangle: Rounded Corners 44">
            <a:extLst>
              <a:ext uri="{FF2B5EF4-FFF2-40B4-BE49-F238E27FC236}">
                <a16:creationId xmlns:a16="http://schemas.microsoft.com/office/drawing/2014/main" id="{7EE915B5-884F-4B6E-AE6A-99DE795E8E1E}"/>
              </a:ext>
            </a:extLst>
          </p:cNvPr>
          <p:cNvSpPr/>
          <p:nvPr/>
        </p:nvSpPr>
        <p:spPr>
          <a:xfrm>
            <a:off x="1687119" y="5776987"/>
            <a:ext cx="1041096" cy="5004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Regulation and Risk</a:t>
            </a:r>
          </a:p>
        </p:txBody>
      </p:sp>
      <p:sp>
        <p:nvSpPr>
          <p:cNvPr id="46" name="Rectangle: Rounded Corners 45">
            <a:extLst>
              <a:ext uri="{FF2B5EF4-FFF2-40B4-BE49-F238E27FC236}">
                <a16:creationId xmlns:a16="http://schemas.microsoft.com/office/drawing/2014/main" id="{AACB9ED7-F41F-4743-ADF7-51BC512D1BDB}"/>
              </a:ext>
            </a:extLst>
          </p:cNvPr>
          <p:cNvSpPr/>
          <p:nvPr/>
        </p:nvSpPr>
        <p:spPr>
          <a:xfrm>
            <a:off x="2794595" y="5776987"/>
            <a:ext cx="1041096" cy="5004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Data and Digital</a:t>
            </a:r>
          </a:p>
        </p:txBody>
      </p:sp>
      <p:sp>
        <p:nvSpPr>
          <p:cNvPr id="48" name="Rectangle: Rounded Corners 47">
            <a:extLst>
              <a:ext uri="{FF2B5EF4-FFF2-40B4-BE49-F238E27FC236}">
                <a16:creationId xmlns:a16="http://schemas.microsoft.com/office/drawing/2014/main" id="{60A44251-7984-4F35-8EFB-207B7E39FAB7}"/>
              </a:ext>
            </a:extLst>
          </p:cNvPr>
          <p:cNvSpPr/>
          <p:nvPr/>
        </p:nvSpPr>
        <p:spPr>
          <a:xfrm>
            <a:off x="2748728" y="3140418"/>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Legal</a:t>
            </a:r>
          </a:p>
        </p:txBody>
      </p:sp>
      <p:sp>
        <p:nvSpPr>
          <p:cNvPr id="51" name="Rectangle: Rounded Corners 50">
            <a:extLst>
              <a:ext uri="{FF2B5EF4-FFF2-40B4-BE49-F238E27FC236}">
                <a16:creationId xmlns:a16="http://schemas.microsoft.com/office/drawing/2014/main" id="{E894CB4D-CC6C-408E-A81A-0F148C188D35}"/>
              </a:ext>
            </a:extLst>
          </p:cNvPr>
          <p:cNvSpPr/>
          <p:nvPr/>
        </p:nvSpPr>
        <p:spPr>
          <a:xfrm>
            <a:off x="3911947" y="5776987"/>
            <a:ext cx="1041096" cy="5004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Leadership</a:t>
            </a:r>
          </a:p>
        </p:txBody>
      </p:sp>
      <p:sp>
        <p:nvSpPr>
          <p:cNvPr id="58" name="Rectangle: Rounded Corners 57">
            <a:extLst>
              <a:ext uri="{FF2B5EF4-FFF2-40B4-BE49-F238E27FC236}">
                <a16:creationId xmlns:a16="http://schemas.microsoft.com/office/drawing/2014/main" id="{B940050E-38EE-4C4C-8D49-701340777FC6}"/>
              </a:ext>
            </a:extLst>
          </p:cNvPr>
          <p:cNvSpPr/>
          <p:nvPr/>
        </p:nvSpPr>
        <p:spPr>
          <a:xfrm>
            <a:off x="920062" y="2564049"/>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Regulatory Compliance</a:t>
            </a:r>
          </a:p>
        </p:txBody>
      </p:sp>
      <p:sp>
        <p:nvSpPr>
          <p:cNvPr id="59" name="Rectangle: Rounded Corners 58">
            <a:extLst>
              <a:ext uri="{FF2B5EF4-FFF2-40B4-BE49-F238E27FC236}">
                <a16:creationId xmlns:a16="http://schemas.microsoft.com/office/drawing/2014/main" id="{D8CAE5B6-E3FE-4431-8E91-41B70275BA34}"/>
              </a:ext>
            </a:extLst>
          </p:cNvPr>
          <p:cNvSpPr/>
          <p:nvPr/>
        </p:nvSpPr>
        <p:spPr>
          <a:xfrm>
            <a:off x="1506329" y="3140816"/>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Service Delivery</a:t>
            </a:r>
          </a:p>
        </p:txBody>
      </p:sp>
      <p:sp>
        <p:nvSpPr>
          <p:cNvPr id="62" name="Rectangle: Rounded Corners 61">
            <a:extLst>
              <a:ext uri="{FF2B5EF4-FFF2-40B4-BE49-F238E27FC236}">
                <a16:creationId xmlns:a16="http://schemas.microsoft.com/office/drawing/2014/main" id="{D8BE1B09-625D-4F0D-886A-90154D02E8B9}"/>
              </a:ext>
            </a:extLst>
          </p:cNvPr>
          <p:cNvSpPr/>
          <p:nvPr/>
        </p:nvSpPr>
        <p:spPr>
          <a:xfrm>
            <a:off x="942949" y="4041552"/>
            <a:ext cx="1143797" cy="49887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U" sz="1000" dirty="0">
                <a:solidFill>
                  <a:schemeClr val="bg1"/>
                </a:solidFill>
              </a:rPr>
              <a:t>Regulatory </a:t>
            </a:r>
            <a:r>
              <a:rPr lang="en-AU" sz="1000" dirty="0" smtClean="0">
                <a:solidFill>
                  <a:schemeClr val="bg1"/>
                </a:solidFill>
              </a:rPr>
              <a:t>Approach </a:t>
            </a:r>
            <a:endParaRPr lang="en-AU" sz="1000" dirty="0">
              <a:solidFill>
                <a:schemeClr val="bg1"/>
              </a:solidFill>
            </a:endParaRPr>
          </a:p>
        </p:txBody>
      </p:sp>
      <p:sp>
        <p:nvSpPr>
          <p:cNvPr id="63" name="Rectangle: Rounded Corners 62">
            <a:extLst>
              <a:ext uri="{FF2B5EF4-FFF2-40B4-BE49-F238E27FC236}">
                <a16:creationId xmlns:a16="http://schemas.microsoft.com/office/drawing/2014/main" id="{F002F942-C719-4050-8224-CE137FB1A081}"/>
              </a:ext>
            </a:extLst>
          </p:cNvPr>
          <p:cNvSpPr/>
          <p:nvPr/>
        </p:nvSpPr>
        <p:spPr>
          <a:xfrm>
            <a:off x="3399743" y="4037012"/>
            <a:ext cx="1143797" cy="49887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U" sz="1000" dirty="0">
                <a:solidFill>
                  <a:schemeClr val="bg1"/>
                </a:solidFill>
              </a:rPr>
              <a:t>Education, Engagement and Communications</a:t>
            </a:r>
          </a:p>
        </p:txBody>
      </p:sp>
      <p:sp>
        <p:nvSpPr>
          <p:cNvPr id="65" name="Rectangle: Rounded Corners 64">
            <a:extLst>
              <a:ext uri="{FF2B5EF4-FFF2-40B4-BE49-F238E27FC236}">
                <a16:creationId xmlns:a16="http://schemas.microsoft.com/office/drawing/2014/main" id="{848464E6-FF51-4CD3-A30E-4F9EB33A7924}"/>
              </a:ext>
            </a:extLst>
          </p:cNvPr>
          <p:cNvSpPr/>
          <p:nvPr/>
        </p:nvSpPr>
        <p:spPr>
          <a:xfrm>
            <a:off x="2171346" y="4041552"/>
            <a:ext cx="1143797" cy="49887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U" sz="1000" dirty="0">
                <a:solidFill>
                  <a:schemeClr val="bg1"/>
                </a:solidFill>
              </a:rPr>
              <a:t>Investigations</a:t>
            </a:r>
          </a:p>
        </p:txBody>
      </p:sp>
      <p:sp>
        <p:nvSpPr>
          <p:cNvPr id="66" name="Rectangle: Rounded Corners 65">
            <a:extLst>
              <a:ext uri="{FF2B5EF4-FFF2-40B4-BE49-F238E27FC236}">
                <a16:creationId xmlns:a16="http://schemas.microsoft.com/office/drawing/2014/main" id="{4AE9D838-60C6-45D5-AAA9-D75A892ECD73}"/>
              </a:ext>
            </a:extLst>
          </p:cNvPr>
          <p:cNvSpPr/>
          <p:nvPr/>
        </p:nvSpPr>
        <p:spPr>
          <a:xfrm>
            <a:off x="3390858" y="2560163"/>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Strategy and Policy</a:t>
            </a:r>
          </a:p>
        </p:txBody>
      </p:sp>
      <p:sp>
        <p:nvSpPr>
          <p:cNvPr id="70" name="Google Shape;2191;p207">
            <a:extLst>
              <a:ext uri="{FF2B5EF4-FFF2-40B4-BE49-F238E27FC236}">
                <a16:creationId xmlns:a16="http://schemas.microsoft.com/office/drawing/2014/main" id="{2E6A1606-1F95-4BCB-88F1-84D649975BB7}"/>
              </a:ext>
            </a:extLst>
          </p:cNvPr>
          <p:cNvSpPr/>
          <p:nvPr/>
        </p:nvSpPr>
        <p:spPr>
          <a:xfrm>
            <a:off x="4185615" y="6650255"/>
            <a:ext cx="10874321" cy="195081"/>
          </a:xfrm>
          <a:prstGeom prst="rect">
            <a:avLst/>
          </a:prstGeom>
          <a:noFill/>
          <a:ln>
            <a:noFill/>
          </a:ln>
        </p:spPr>
        <p:txBody>
          <a:bodyPr spcFirstLastPara="1" wrap="square" lIns="91425" tIns="45700" rIns="91425" bIns="45700" anchor="ctr" anchorCtr="0">
            <a:noAutofit/>
          </a:bodyPr>
          <a:lstStyle/>
          <a:p>
            <a:pPr>
              <a:buClr>
                <a:srgbClr val="000000"/>
              </a:buClr>
            </a:pPr>
            <a:r>
              <a:rPr lang="en-AU" sz="700" kern="0" dirty="0">
                <a:cs typeface="Arial"/>
                <a:sym typeface="Arial"/>
              </a:rPr>
              <a:t>| </a:t>
            </a:r>
            <a:r>
              <a:rPr lang="en-AU" sz="700" b="1" kern="0" dirty="0">
                <a:cs typeface="Arial"/>
                <a:sym typeface="Arial"/>
              </a:rPr>
              <a:t>Note: </a:t>
            </a:r>
            <a:r>
              <a:rPr lang="en-AU" sz="700" kern="0" dirty="0">
                <a:cs typeface="Arial"/>
                <a:sym typeface="Arial"/>
              </a:rPr>
              <a:t>There is a +2.9% differential in the FY22 turnover rate shown using the current state data provided by the Commission in comparison to the rate published in the APS employment data 2022</a:t>
            </a:r>
          </a:p>
        </p:txBody>
      </p:sp>
    </p:spTree>
    <p:extLst>
      <p:ext uri="{BB962C8B-B14F-4D97-AF65-F5344CB8AC3E}">
        <p14:creationId xmlns:p14="http://schemas.microsoft.com/office/powerpoint/2010/main" val="36897776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26522" y="175321"/>
            <a:ext cx="8369867" cy="1205373"/>
          </a:xfrm>
        </p:spPr>
        <p:txBody>
          <a:bodyPr>
            <a:normAutofit fontScale="90000"/>
          </a:bodyPr>
          <a:lstStyle/>
          <a:p>
            <a:pPr>
              <a:lnSpc>
                <a:spcPct val="100000"/>
              </a:lnSpc>
            </a:pPr>
            <a:r>
              <a:rPr lang="en-US" sz="3200" dirty="0">
                <a:solidFill>
                  <a:srgbClr val="5F2E74"/>
                </a:solidFill>
              </a:rPr>
              <a:t>Appendix </a:t>
            </a:r>
            <a:r>
              <a:rPr lang="en-US" sz="3200" dirty="0" smtClean="0">
                <a:solidFill>
                  <a:srgbClr val="5F2E74"/>
                </a:solidFill>
              </a:rPr>
              <a:t>C: </a:t>
            </a:r>
            <a:r>
              <a:rPr lang="en-US" dirty="0" smtClean="0">
                <a:solidFill>
                  <a:schemeClr val="tx2"/>
                </a:solidFill>
              </a:rPr>
              <a:t>Opportunities</a:t>
            </a:r>
            <a:br>
              <a:rPr lang="en-US" dirty="0" smtClean="0">
                <a:solidFill>
                  <a:schemeClr val="tx2"/>
                </a:solidFill>
              </a:rPr>
            </a:br>
            <a:r>
              <a:rPr lang="en-US" dirty="0" smtClean="0">
                <a:solidFill>
                  <a:schemeClr val="tx2"/>
                </a:solidFill>
              </a:rPr>
              <a:t>Opportunity spotlight: </a:t>
            </a:r>
            <a:r>
              <a:rPr lang="en-AU" b="1" dirty="0" smtClean="0">
                <a:solidFill>
                  <a:schemeClr val="tx2"/>
                </a:solidFill>
                <a:latin typeface="Calibri" panose="020F0502020204030204"/>
              </a:rPr>
              <a:t>‘One Commission’ New Starter </a:t>
            </a:r>
            <a:r>
              <a:rPr lang="en-AU" dirty="0" smtClean="0">
                <a:solidFill>
                  <a:schemeClr val="tx2"/>
                </a:solidFill>
                <a:latin typeface="Calibri" panose="020F0502020204030204"/>
              </a:rPr>
              <a:t>I</a:t>
            </a:r>
            <a:r>
              <a:rPr lang="en-AU" b="1" dirty="0" smtClean="0">
                <a:solidFill>
                  <a:schemeClr val="tx2"/>
                </a:solidFill>
                <a:latin typeface="Calibri" panose="020F0502020204030204"/>
              </a:rPr>
              <a:t>nduction </a:t>
            </a:r>
            <a:r>
              <a:rPr lang="en-AU" dirty="0" smtClean="0">
                <a:solidFill>
                  <a:schemeClr val="tx2"/>
                </a:solidFill>
                <a:latin typeface="Calibri" panose="020F0502020204030204"/>
              </a:rPr>
              <a:t>P</a:t>
            </a:r>
            <a:r>
              <a:rPr lang="en-AU" b="1" dirty="0" smtClean="0">
                <a:solidFill>
                  <a:schemeClr val="tx2"/>
                </a:solidFill>
                <a:latin typeface="Calibri" panose="020F0502020204030204"/>
              </a:rPr>
              <a:t>rogram (WS1)</a:t>
            </a:r>
            <a:endParaRPr lang="en-AU" dirty="0">
              <a:solidFill>
                <a:schemeClr val="tx2"/>
              </a:solidFill>
            </a:endParaRPr>
          </a:p>
        </p:txBody>
      </p:sp>
      <p:sp>
        <p:nvSpPr>
          <p:cNvPr id="61" name="TextBox 60">
            <a:extLst>
              <a:ext uri="{FF2B5EF4-FFF2-40B4-BE49-F238E27FC236}">
                <a16:creationId xmlns:a16="http://schemas.microsoft.com/office/drawing/2014/main" id="{428A52A3-D47E-4E68-B838-1CC7109878BD}"/>
              </a:ext>
            </a:extLst>
          </p:cNvPr>
          <p:cNvSpPr txBox="1"/>
          <p:nvPr/>
        </p:nvSpPr>
        <p:spPr>
          <a:xfrm>
            <a:off x="486893" y="1502096"/>
            <a:ext cx="11255109" cy="600164"/>
          </a:xfrm>
          <a:prstGeom prst="rect">
            <a:avLst/>
          </a:prstGeom>
          <a:solidFill>
            <a:schemeClr val="bg2"/>
          </a:solidFill>
        </p:spPr>
        <p:txBody>
          <a:bodyPr wrap="square">
            <a:spAutoFit/>
          </a:bodyPr>
          <a:lstStyle/>
          <a:p>
            <a:pPr algn="ctr">
              <a:spcBef>
                <a:spcPts val="300"/>
              </a:spcBef>
              <a:buClr>
                <a:schemeClr val="tx1"/>
              </a:buClr>
              <a:tabLst>
                <a:tab pos="449263" algn="l"/>
              </a:tabLst>
              <a:defRPr/>
            </a:pPr>
            <a:r>
              <a:rPr lang="en-AU" sz="1100" b="0" dirty="0">
                <a:solidFill>
                  <a:prstClr val="black"/>
                </a:solidFill>
                <a:latin typeface="Calibri" panose="020F0502020204030204"/>
              </a:rPr>
              <a:t>Equip our workforce with a ‘One Commission’ approach and mindset from day one through design and delivery of a </a:t>
            </a:r>
            <a:r>
              <a:rPr lang="en-AU" sz="1100" b="1" dirty="0">
                <a:solidFill>
                  <a:schemeClr val="tx2"/>
                </a:solidFill>
                <a:latin typeface="Calibri" panose="020F0502020204030204"/>
              </a:rPr>
              <a:t>‘One Commission’ new starter induction program </a:t>
            </a:r>
            <a:r>
              <a:rPr lang="en-AU" sz="1100" b="0" dirty="0">
                <a:solidFill>
                  <a:prstClr val="black"/>
                </a:solidFill>
                <a:latin typeface="Calibri" panose="020F0502020204030204"/>
              </a:rPr>
              <a:t>that educates, connects and confirms expectations of new starters to our operating context, organisational priorities, structures, ways of working and introduces core skills for all roles delivered as part of a staged </a:t>
            </a:r>
            <a:r>
              <a:rPr lang="en-AU" sz="1100" b="0" dirty="0" smtClean="0">
                <a:solidFill>
                  <a:prstClr val="black"/>
                </a:solidFill>
                <a:latin typeface="Calibri" panose="020F0502020204030204"/>
              </a:rPr>
              <a:t>on boarding </a:t>
            </a:r>
            <a:r>
              <a:rPr lang="en-AU" sz="1100" b="0" dirty="0">
                <a:solidFill>
                  <a:prstClr val="black"/>
                </a:solidFill>
                <a:latin typeface="Calibri" panose="020F0502020204030204"/>
              </a:rPr>
              <a:t>experience. An effective </a:t>
            </a:r>
            <a:r>
              <a:rPr lang="en-AU" sz="1100" b="0" dirty="0" smtClean="0">
                <a:solidFill>
                  <a:prstClr val="black"/>
                </a:solidFill>
                <a:latin typeface="Calibri" panose="020F0502020204030204"/>
              </a:rPr>
              <a:t>on boarding </a:t>
            </a:r>
            <a:r>
              <a:rPr lang="en-AU" sz="1100" b="0" dirty="0">
                <a:solidFill>
                  <a:prstClr val="black"/>
                </a:solidFill>
                <a:latin typeface="Calibri" panose="020F0502020204030204"/>
              </a:rPr>
              <a:t>program enhances the employee experience from the start of employment, whilst also enabling a consistent approach to </a:t>
            </a:r>
            <a:r>
              <a:rPr lang="en-AU" sz="1100" b="0" dirty="0" smtClean="0">
                <a:solidFill>
                  <a:prstClr val="black"/>
                </a:solidFill>
                <a:latin typeface="Calibri" panose="020F0502020204030204"/>
              </a:rPr>
              <a:t>on boarding.</a:t>
            </a:r>
            <a:endParaRPr lang="en-AU" sz="1100" b="0" dirty="0">
              <a:solidFill>
                <a:prstClr val="black"/>
              </a:solidFill>
              <a:latin typeface="Calibri" panose="020F0502020204030204"/>
            </a:endParaRPr>
          </a:p>
        </p:txBody>
      </p:sp>
      <p:grpSp>
        <p:nvGrpSpPr>
          <p:cNvPr id="51" name="Google Shape;6708;p149">
            <a:extLst>
              <a:ext uri="{FF2B5EF4-FFF2-40B4-BE49-F238E27FC236}">
                <a16:creationId xmlns:a16="http://schemas.microsoft.com/office/drawing/2014/main" id="{4A2838D2-101D-41C9-A259-739EE80788A2}"/>
              </a:ext>
            </a:extLst>
          </p:cNvPr>
          <p:cNvGrpSpPr/>
          <p:nvPr/>
        </p:nvGrpSpPr>
        <p:grpSpPr>
          <a:xfrm>
            <a:off x="909803" y="2662796"/>
            <a:ext cx="9594348" cy="3802431"/>
            <a:chOff x="422033" y="2395483"/>
            <a:chExt cx="7248722" cy="2980309"/>
          </a:xfrm>
        </p:grpSpPr>
        <p:grpSp>
          <p:nvGrpSpPr>
            <p:cNvPr id="52" name="Google Shape;6709;p149">
              <a:extLst>
                <a:ext uri="{FF2B5EF4-FFF2-40B4-BE49-F238E27FC236}">
                  <a16:creationId xmlns:a16="http://schemas.microsoft.com/office/drawing/2014/main" id="{335A4E4F-47DB-4EE4-B029-BF155C635712}"/>
                </a:ext>
              </a:extLst>
            </p:cNvPr>
            <p:cNvGrpSpPr/>
            <p:nvPr/>
          </p:nvGrpSpPr>
          <p:grpSpPr>
            <a:xfrm>
              <a:off x="422033" y="2395483"/>
              <a:ext cx="7248722" cy="2980309"/>
              <a:chOff x="772481" y="2571986"/>
              <a:chExt cx="8067171" cy="3485306"/>
            </a:xfrm>
          </p:grpSpPr>
          <p:grpSp>
            <p:nvGrpSpPr>
              <p:cNvPr id="78" name="Google Shape;6710;p149">
                <a:extLst>
                  <a:ext uri="{FF2B5EF4-FFF2-40B4-BE49-F238E27FC236}">
                    <a16:creationId xmlns:a16="http://schemas.microsoft.com/office/drawing/2014/main" id="{EB381D4E-5FF0-4C99-8DA0-33F325BE8710}"/>
                  </a:ext>
                </a:extLst>
              </p:cNvPr>
              <p:cNvGrpSpPr/>
              <p:nvPr/>
            </p:nvGrpSpPr>
            <p:grpSpPr>
              <a:xfrm>
                <a:off x="772481" y="3417892"/>
                <a:ext cx="7888892" cy="1941634"/>
                <a:chOff x="772481" y="3417892"/>
                <a:chExt cx="7888892" cy="1941634"/>
              </a:xfrm>
            </p:grpSpPr>
            <p:sp>
              <p:nvSpPr>
                <p:cNvPr id="91" name="Google Shape;6711;p149">
                  <a:extLst>
                    <a:ext uri="{FF2B5EF4-FFF2-40B4-BE49-F238E27FC236}">
                      <a16:creationId xmlns:a16="http://schemas.microsoft.com/office/drawing/2014/main" id="{690A8B33-ABB8-4A60-A164-72A28EB960E6}"/>
                    </a:ext>
                  </a:extLst>
                </p:cNvPr>
                <p:cNvSpPr/>
                <p:nvPr/>
              </p:nvSpPr>
              <p:spPr>
                <a:xfrm rot="5400000">
                  <a:off x="1136570" y="4130492"/>
                  <a:ext cx="1800000" cy="374801"/>
                </a:xfrm>
                <a:prstGeom prst="parallelogram">
                  <a:avLst>
                    <a:gd name="adj" fmla="val 112950"/>
                  </a:avLst>
                </a:prstGeom>
                <a:solidFill>
                  <a:schemeClr val="accent6">
                    <a:lumMod val="20000"/>
                    <a:lumOff val="8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2" name="Google Shape;6712;p149">
                  <a:extLst>
                    <a:ext uri="{FF2B5EF4-FFF2-40B4-BE49-F238E27FC236}">
                      <a16:creationId xmlns:a16="http://schemas.microsoft.com/office/drawing/2014/main" id="{BBE2B823-E428-4728-B647-2C15EEB1F059}"/>
                    </a:ext>
                  </a:extLst>
                </p:cNvPr>
                <p:cNvSpPr/>
                <p:nvPr/>
              </p:nvSpPr>
              <p:spPr>
                <a:xfrm rot="5400000">
                  <a:off x="2584748" y="4130492"/>
                  <a:ext cx="1800000" cy="374801"/>
                </a:xfrm>
                <a:prstGeom prst="parallelogram">
                  <a:avLst>
                    <a:gd name="adj" fmla="val 112950"/>
                  </a:avLst>
                </a:prstGeom>
                <a:solidFill>
                  <a:schemeClr val="tx2">
                    <a:lumMod val="20000"/>
                    <a:lumOff val="8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3" name="Google Shape;6713;p149">
                  <a:extLst>
                    <a:ext uri="{FF2B5EF4-FFF2-40B4-BE49-F238E27FC236}">
                      <a16:creationId xmlns:a16="http://schemas.microsoft.com/office/drawing/2014/main" id="{4CBDB167-44B2-4654-BD3D-6EE34BDE0F3A}"/>
                    </a:ext>
                  </a:extLst>
                </p:cNvPr>
                <p:cNvSpPr/>
                <p:nvPr/>
              </p:nvSpPr>
              <p:spPr>
                <a:xfrm rot="5400000">
                  <a:off x="4032925" y="4130492"/>
                  <a:ext cx="1800000" cy="374801"/>
                </a:xfrm>
                <a:prstGeom prst="parallelogram">
                  <a:avLst>
                    <a:gd name="adj" fmla="val 112950"/>
                  </a:avLst>
                </a:prstGeom>
                <a:solidFill>
                  <a:schemeClr val="accent3">
                    <a:lumMod val="20000"/>
                    <a:lumOff val="8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4" name="Google Shape;6714;p149">
                  <a:extLst>
                    <a:ext uri="{FF2B5EF4-FFF2-40B4-BE49-F238E27FC236}">
                      <a16:creationId xmlns:a16="http://schemas.microsoft.com/office/drawing/2014/main" id="{9F6C2FD3-5BFA-4BFE-8F15-D56BC0D73579}"/>
                    </a:ext>
                  </a:extLst>
                </p:cNvPr>
                <p:cNvSpPr/>
                <p:nvPr/>
              </p:nvSpPr>
              <p:spPr>
                <a:xfrm rot="5400000">
                  <a:off x="5481103" y="4130492"/>
                  <a:ext cx="1800000" cy="374801"/>
                </a:xfrm>
                <a:prstGeom prst="parallelogram">
                  <a:avLst>
                    <a:gd name="adj" fmla="val 112950"/>
                  </a:avLst>
                </a:prstGeom>
                <a:solidFill>
                  <a:schemeClr val="accent4">
                    <a:lumMod val="40000"/>
                    <a:lumOff val="6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5" name="Google Shape;6715;p149">
                  <a:extLst>
                    <a:ext uri="{FF2B5EF4-FFF2-40B4-BE49-F238E27FC236}">
                      <a16:creationId xmlns:a16="http://schemas.microsoft.com/office/drawing/2014/main" id="{0183F333-1B09-4CCE-9AE3-F11E77AC236A}"/>
                    </a:ext>
                  </a:extLst>
                </p:cNvPr>
                <p:cNvSpPr/>
                <p:nvPr/>
              </p:nvSpPr>
              <p:spPr>
                <a:xfrm rot="5400000">
                  <a:off x="6929281" y="4130492"/>
                  <a:ext cx="1800000" cy="374801"/>
                </a:xfrm>
                <a:prstGeom prst="parallelogram">
                  <a:avLst>
                    <a:gd name="adj" fmla="val 112950"/>
                  </a:avLst>
                </a:prstGeom>
                <a:solidFill>
                  <a:schemeClr val="bg2">
                    <a:lumMod val="9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7" name="Google Shape;6717;p149">
                  <a:extLst>
                    <a:ext uri="{FF2B5EF4-FFF2-40B4-BE49-F238E27FC236}">
                      <a16:creationId xmlns:a16="http://schemas.microsoft.com/office/drawing/2014/main" id="{9E4BF157-D641-45E0-9E1C-A35231893680}"/>
                    </a:ext>
                  </a:extLst>
                </p:cNvPr>
                <p:cNvSpPr/>
                <p:nvPr/>
              </p:nvSpPr>
              <p:spPr>
                <a:xfrm>
                  <a:off x="2220658" y="3417892"/>
                  <a:ext cx="1080000" cy="1800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8" name="Google Shape;6718;p149">
                  <a:extLst>
                    <a:ext uri="{FF2B5EF4-FFF2-40B4-BE49-F238E27FC236}">
                      <a16:creationId xmlns:a16="http://schemas.microsoft.com/office/drawing/2014/main" id="{5032F3E4-B440-4978-8CFB-6904BB966BD4}"/>
                    </a:ext>
                  </a:extLst>
                </p:cNvPr>
                <p:cNvSpPr/>
                <p:nvPr/>
              </p:nvSpPr>
              <p:spPr>
                <a:xfrm>
                  <a:off x="3668836" y="3417892"/>
                  <a:ext cx="1080000" cy="1800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9" name="Google Shape;6719;p149">
                  <a:extLst>
                    <a:ext uri="{FF2B5EF4-FFF2-40B4-BE49-F238E27FC236}">
                      <a16:creationId xmlns:a16="http://schemas.microsoft.com/office/drawing/2014/main" id="{4559D420-C3DA-4210-AF4E-0C1C61C000ED}"/>
                    </a:ext>
                  </a:extLst>
                </p:cNvPr>
                <p:cNvSpPr/>
                <p:nvPr/>
              </p:nvSpPr>
              <p:spPr>
                <a:xfrm>
                  <a:off x="5117013" y="3417892"/>
                  <a:ext cx="1080000" cy="1800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100" name="Google Shape;6720;p149">
                  <a:extLst>
                    <a:ext uri="{FF2B5EF4-FFF2-40B4-BE49-F238E27FC236}">
                      <a16:creationId xmlns:a16="http://schemas.microsoft.com/office/drawing/2014/main" id="{DEB321B6-C649-452F-8297-ECAAFB79B452}"/>
                    </a:ext>
                  </a:extLst>
                </p:cNvPr>
                <p:cNvSpPr/>
                <p:nvPr/>
              </p:nvSpPr>
              <p:spPr>
                <a:xfrm>
                  <a:off x="6565191" y="3417892"/>
                  <a:ext cx="1080000" cy="1800000"/>
                </a:xfrm>
                <a:prstGeom prst="rect">
                  <a:avLst/>
                </a:prstGeom>
                <a:solidFill>
                  <a:schemeClr val="bg2">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102" name="Google Shape;6722;p149">
                  <a:extLst>
                    <a:ext uri="{FF2B5EF4-FFF2-40B4-BE49-F238E27FC236}">
                      <a16:creationId xmlns:a16="http://schemas.microsoft.com/office/drawing/2014/main" id="{7C211ABF-C6D2-4ABB-9228-D85E909788A1}"/>
                    </a:ext>
                  </a:extLst>
                </p:cNvPr>
                <p:cNvSpPr/>
                <p:nvPr/>
              </p:nvSpPr>
              <p:spPr>
                <a:xfrm rot="16200000">
                  <a:off x="412481" y="3777892"/>
                  <a:ext cx="1800000" cy="1080000"/>
                </a:xfrm>
                <a:custGeom>
                  <a:avLst/>
                  <a:gdLst/>
                  <a:ahLst/>
                  <a:cxnLst/>
                  <a:rect l="l" t="t" r="r" b="b"/>
                  <a:pathLst>
                    <a:path w="1807800" h="1080000" extrusionOk="0">
                      <a:moveTo>
                        <a:pt x="0" y="0"/>
                      </a:moveTo>
                      <a:lnTo>
                        <a:pt x="1807800" y="0"/>
                      </a:lnTo>
                      <a:lnTo>
                        <a:pt x="1807800" y="1080000"/>
                      </a:lnTo>
                      <a:lnTo>
                        <a:pt x="0" y="1080000"/>
                      </a:lnTo>
                      <a:lnTo>
                        <a:pt x="384070" y="540000"/>
                      </a:lnTo>
                      <a:lnTo>
                        <a:pt x="0" y="0"/>
                      </a:lnTo>
                      <a:close/>
                    </a:path>
                  </a:pathLst>
                </a:cu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103" name="Google Shape;6723;p149">
                  <a:extLst>
                    <a:ext uri="{FF2B5EF4-FFF2-40B4-BE49-F238E27FC236}">
                      <a16:creationId xmlns:a16="http://schemas.microsoft.com/office/drawing/2014/main" id="{A091F7C1-AE5C-462E-998A-433B0C5BFD5D}"/>
                    </a:ext>
                  </a:extLst>
                </p:cNvPr>
                <p:cNvSpPr/>
                <p:nvPr/>
              </p:nvSpPr>
              <p:spPr>
                <a:xfrm rot="5400000">
                  <a:off x="7437373" y="4135526"/>
                  <a:ext cx="1800000" cy="6480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grpSp>
          <p:sp>
            <p:nvSpPr>
              <p:cNvPr id="79" name="Google Shape;6724;p149">
                <a:extLst>
                  <a:ext uri="{FF2B5EF4-FFF2-40B4-BE49-F238E27FC236}">
                    <a16:creationId xmlns:a16="http://schemas.microsoft.com/office/drawing/2014/main" id="{0C31E566-2C28-4E3E-BA67-744BBA308673}"/>
                  </a:ext>
                </a:extLst>
              </p:cNvPr>
              <p:cNvSpPr/>
              <p:nvPr/>
            </p:nvSpPr>
            <p:spPr>
              <a:xfrm>
                <a:off x="834070" y="2571986"/>
                <a:ext cx="2843317" cy="668095"/>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1000" b="1" dirty="0">
                    <a:solidFill>
                      <a:schemeClr val="accent6"/>
                    </a:solidFill>
                    <a:ea typeface="Arial"/>
                    <a:cs typeface="Arial"/>
                    <a:sym typeface="Arial"/>
                  </a:rPr>
                  <a:t>Module one </a:t>
                </a:r>
                <a:r>
                  <a:rPr lang="en-US" sz="800" b="1" dirty="0">
                    <a:solidFill>
                      <a:schemeClr val="accent6"/>
                    </a:solidFill>
                    <a:ea typeface="Arial"/>
                    <a:cs typeface="Arial"/>
                    <a:sym typeface="Arial"/>
                  </a:rPr>
                  <a:t>(1 hour) </a:t>
                </a:r>
                <a:endParaRPr lang="en-US" sz="800" dirty="0"/>
              </a:p>
              <a:p>
                <a:pPr marL="0" marR="0" lvl="0" indent="0" algn="l" rtl="0">
                  <a:spcBef>
                    <a:spcPts val="0"/>
                  </a:spcBef>
                  <a:spcAft>
                    <a:spcPts val="0"/>
                  </a:spcAft>
                  <a:buNone/>
                </a:pPr>
                <a:r>
                  <a:rPr lang="en-US" sz="1000" dirty="0">
                    <a:solidFill>
                      <a:srgbClr val="000000"/>
                    </a:solidFill>
                    <a:ea typeface="Arial"/>
                    <a:cs typeface="Arial"/>
                    <a:sym typeface="Arial"/>
                  </a:rPr>
                  <a:t>Welcome to the Commission</a:t>
                </a:r>
              </a:p>
              <a:p>
                <a:pPr marL="0" marR="0" lvl="0" indent="0" algn="l" rtl="0">
                  <a:spcBef>
                    <a:spcPts val="0"/>
                  </a:spcBef>
                  <a:spcAft>
                    <a:spcPts val="0"/>
                  </a:spcAft>
                  <a:buNone/>
                </a:pPr>
                <a:r>
                  <a:rPr lang="en-US" sz="1000" dirty="0">
                    <a:solidFill>
                      <a:srgbClr val="000000"/>
                    </a:solidFill>
                    <a:ea typeface="Arial"/>
                    <a:cs typeface="Arial"/>
                    <a:sym typeface="Arial"/>
                  </a:rPr>
                  <a:t>Introductions and getting to know other new starters</a:t>
                </a:r>
              </a:p>
              <a:p>
                <a:pPr marL="0" marR="0" lvl="0" indent="0" algn="l" rtl="0">
                  <a:spcBef>
                    <a:spcPts val="0"/>
                  </a:spcBef>
                  <a:spcAft>
                    <a:spcPts val="0"/>
                  </a:spcAft>
                  <a:buNone/>
                </a:pPr>
                <a:r>
                  <a:rPr lang="en-US" sz="1000" dirty="0">
                    <a:solidFill>
                      <a:srgbClr val="000000"/>
                    </a:solidFill>
                    <a:ea typeface="Arial"/>
                    <a:cs typeface="Arial"/>
                    <a:sym typeface="Arial"/>
                  </a:rPr>
                  <a:t>What it means to be a contemporary regulator</a:t>
                </a:r>
              </a:p>
              <a:p>
                <a:r>
                  <a:rPr lang="en-US" sz="1000" dirty="0">
                    <a:solidFill>
                      <a:srgbClr val="000000"/>
                    </a:solidFill>
                    <a:ea typeface="Arial"/>
                    <a:cs typeface="Arial"/>
                    <a:sym typeface="Arial"/>
                  </a:rPr>
                  <a:t>Working as ‘One Commission’, approach and mindset</a:t>
                </a:r>
              </a:p>
              <a:p>
                <a:pPr marL="0" marR="0" lvl="0" indent="0" algn="l" rtl="0">
                  <a:spcBef>
                    <a:spcPts val="0"/>
                  </a:spcBef>
                  <a:spcAft>
                    <a:spcPts val="0"/>
                  </a:spcAft>
                  <a:buNone/>
                </a:pPr>
                <a:r>
                  <a:rPr lang="en-US" sz="1000" dirty="0">
                    <a:solidFill>
                      <a:srgbClr val="000000"/>
                    </a:solidFill>
                    <a:ea typeface="Arial"/>
                    <a:cs typeface="Arial"/>
                    <a:sym typeface="Arial"/>
                  </a:rPr>
                  <a:t>Our ambition, purpose and strategic direction</a:t>
                </a:r>
              </a:p>
            </p:txBody>
          </p:sp>
          <p:cxnSp>
            <p:nvCxnSpPr>
              <p:cNvPr id="80" name="Google Shape;6725;p149">
                <a:extLst>
                  <a:ext uri="{FF2B5EF4-FFF2-40B4-BE49-F238E27FC236}">
                    <a16:creationId xmlns:a16="http://schemas.microsoft.com/office/drawing/2014/main" id="{72DE0517-3569-4128-86EC-E6686779F41A}"/>
                  </a:ext>
                </a:extLst>
              </p:cNvPr>
              <p:cNvCxnSpPr>
                <a:cxnSpLocks/>
                <a:endCxn id="102" idx="1"/>
              </p:cNvCxnSpPr>
              <p:nvPr/>
            </p:nvCxnSpPr>
            <p:spPr>
              <a:xfrm>
                <a:off x="780870" y="2579435"/>
                <a:ext cx="0" cy="838500"/>
              </a:xfrm>
              <a:prstGeom prst="straightConnector1">
                <a:avLst/>
              </a:prstGeom>
              <a:noFill/>
              <a:ln w="28575" cap="flat" cmpd="sng">
                <a:solidFill>
                  <a:schemeClr val="accent6"/>
                </a:solidFill>
                <a:prstDash val="solid"/>
                <a:round/>
                <a:headEnd type="none" w="sm" len="sm"/>
                <a:tailEnd type="none" w="sm" len="sm"/>
              </a:ln>
            </p:spPr>
          </p:cxnSp>
          <p:sp>
            <p:nvSpPr>
              <p:cNvPr id="81" name="Google Shape;6726;p149">
                <a:extLst>
                  <a:ext uri="{FF2B5EF4-FFF2-40B4-BE49-F238E27FC236}">
                    <a16:creationId xmlns:a16="http://schemas.microsoft.com/office/drawing/2014/main" id="{3F85174D-54B3-4F41-977D-7D76D4274971}"/>
                  </a:ext>
                </a:extLst>
              </p:cNvPr>
              <p:cNvSpPr/>
              <p:nvPr/>
            </p:nvSpPr>
            <p:spPr>
              <a:xfrm>
                <a:off x="2287034" y="5274924"/>
                <a:ext cx="2661050" cy="59876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b="1" dirty="0">
                    <a:solidFill>
                      <a:schemeClr val="dk2"/>
                    </a:solidFill>
                    <a:ea typeface="Arial"/>
                    <a:cs typeface="Arial"/>
                    <a:sym typeface="Arial"/>
                  </a:rPr>
                  <a:t>Module two </a:t>
                </a:r>
                <a:r>
                  <a:rPr lang="en-GB" sz="800" b="1" dirty="0">
                    <a:solidFill>
                      <a:schemeClr val="dk2"/>
                    </a:solidFill>
                    <a:ea typeface="Arial"/>
                    <a:cs typeface="Arial"/>
                    <a:sym typeface="Arial"/>
                  </a:rPr>
                  <a:t>(1 hour) </a:t>
                </a:r>
                <a:r>
                  <a:rPr lang="en-GB" sz="800" dirty="0">
                    <a:solidFill>
                      <a:schemeClr val="dk2"/>
                    </a:solidFill>
                    <a:ea typeface="Arial"/>
                    <a:cs typeface="Arial"/>
                    <a:sym typeface="Arial"/>
                  </a:rPr>
                  <a:t> </a:t>
                </a:r>
                <a:endParaRPr dirty="0"/>
              </a:p>
              <a:p>
                <a:pPr marL="0" marR="0" lvl="0" indent="0" algn="l" rtl="0">
                  <a:spcBef>
                    <a:spcPts val="0"/>
                  </a:spcBef>
                  <a:spcAft>
                    <a:spcPts val="0"/>
                  </a:spcAft>
                  <a:buNone/>
                </a:pPr>
                <a:r>
                  <a:rPr lang="en-US" sz="1000" dirty="0">
                    <a:solidFill>
                      <a:srgbClr val="000000"/>
                    </a:solidFill>
                    <a:ea typeface="Arial"/>
                    <a:cs typeface="Arial"/>
                    <a:sym typeface="Arial"/>
                  </a:rPr>
                  <a:t>Understanding our cultural principles</a:t>
                </a:r>
              </a:p>
              <a:p>
                <a:pPr marL="0" marR="0" lvl="0" indent="0" algn="l" rtl="0">
                  <a:spcBef>
                    <a:spcPts val="0"/>
                  </a:spcBef>
                  <a:spcAft>
                    <a:spcPts val="0"/>
                  </a:spcAft>
                  <a:buNone/>
                </a:pPr>
                <a:r>
                  <a:rPr lang="en-GB" sz="1000" dirty="0">
                    <a:solidFill>
                      <a:srgbClr val="000000"/>
                    </a:solidFill>
                    <a:ea typeface="Arial"/>
                    <a:cs typeface="Arial"/>
                    <a:sym typeface="Arial"/>
                  </a:rPr>
                  <a:t>Our employee rewards and recognition program</a:t>
                </a:r>
              </a:p>
              <a:p>
                <a:pPr marL="0" marR="0" lvl="0" indent="0" algn="l" rtl="0">
                  <a:spcBef>
                    <a:spcPts val="0"/>
                  </a:spcBef>
                  <a:spcAft>
                    <a:spcPts val="0"/>
                  </a:spcAft>
                  <a:buNone/>
                </a:pPr>
                <a:r>
                  <a:rPr lang="en-GB" sz="1000" dirty="0">
                    <a:solidFill>
                      <a:srgbClr val="000000"/>
                    </a:solidFill>
                    <a:ea typeface="Arial"/>
                    <a:cs typeface="Arial"/>
                    <a:sym typeface="Arial"/>
                  </a:rPr>
                  <a:t>Key policies, procedures, documents and mandatory training </a:t>
                </a:r>
              </a:p>
              <a:p>
                <a:pPr marL="0" marR="0" lvl="0" indent="0" algn="l" rtl="0">
                  <a:spcBef>
                    <a:spcPts val="0"/>
                  </a:spcBef>
                  <a:spcAft>
                    <a:spcPts val="0"/>
                  </a:spcAft>
                  <a:buNone/>
                </a:pPr>
                <a:r>
                  <a:rPr lang="en-GB" sz="1000" dirty="0">
                    <a:solidFill>
                      <a:srgbClr val="000000"/>
                    </a:solidFill>
                    <a:ea typeface="Arial"/>
                    <a:cs typeface="Arial"/>
                    <a:sym typeface="Arial"/>
                  </a:rPr>
                  <a:t>Our systems and tools</a:t>
                </a:r>
              </a:p>
              <a:p>
                <a:pPr marL="0" marR="0" lvl="0" indent="0" algn="l" rtl="0">
                  <a:spcBef>
                    <a:spcPts val="0"/>
                  </a:spcBef>
                  <a:spcAft>
                    <a:spcPts val="0"/>
                  </a:spcAft>
                  <a:buNone/>
                </a:pPr>
                <a:r>
                  <a:rPr lang="en-GB" sz="1000" dirty="0">
                    <a:solidFill>
                      <a:srgbClr val="000000"/>
                    </a:solidFill>
                    <a:ea typeface="Arial"/>
                    <a:cs typeface="Arial"/>
                    <a:sym typeface="Arial"/>
                  </a:rPr>
                  <a:t>Where to go for help and more information </a:t>
                </a:r>
              </a:p>
            </p:txBody>
          </p:sp>
          <p:cxnSp>
            <p:nvCxnSpPr>
              <p:cNvPr id="82" name="Google Shape;6727;p149">
                <a:extLst>
                  <a:ext uri="{FF2B5EF4-FFF2-40B4-BE49-F238E27FC236}">
                    <a16:creationId xmlns:a16="http://schemas.microsoft.com/office/drawing/2014/main" id="{CEF32FC0-3BEB-40A3-BD94-901060EF0505}"/>
                  </a:ext>
                </a:extLst>
              </p:cNvPr>
              <p:cNvCxnSpPr/>
              <p:nvPr/>
            </p:nvCxnSpPr>
            <p:spPr>
              <a:xfrm rot="10800000">
                <a:off x="2232166" y="5206130"/>
                <a:ext cx="0" cy="851162"/>
              </a:xfrm>
              <a:prstGeom prst="straightConnector1">
                <a:avLst/>
              </a:prstGeom>
              <a:noFill/>
              <a:ln w="28575" cap="flat" cmpd="sng">
                <a:solidFill>
                  <a:schemeClr val="dk2"/>
                </a:solidFill>
                <a:prstDash val="solid"/>
                <a:round/>
                <a:headEnd type="none" w="sm" len="sm"/>
                <a:tailEnd type="none" w="sm" len="sm"/>
              </a:ln>
            </p:spPr>
          </p:cxnSp>
          <p:sp>
            <p:nvSpPr>
              <p:cNvPr id="83" name="Google Shape;6728;p149">
                <a:extLst>
                  <a:ext uri="{FF2B5EF4-FFF2-40B4-BE49-F238E27FC236}">
                    <a16:creationId xmlns:a16="http://schemas.microsoft.com/office/drawing/2014/main" id="{31743438-2759-43E3-A3EA-C7A6C43F276D}"/>
                  </a:ext>
                </a:extLst>
              </p:cNvPr>
              <p:cNvSpPr/>
              <p:nvPr/>
            </p:nvSpPr>
            <p:spPr>
              <a:xfrm>
                <a:off x="3722237" y="2578492"/>
                <a:ext cx="2649476" cy="893185"/>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1000" b="1" dirty="0">
                    <a:solidFill>
                      <a:schemeClr val="accent3"/>
                    </a:solidFill>
                    <a:ea typeface="Arial"/>
                    <a:cs typeface="Arial"/>
                    <a:sym typeface="Arial"/>
                  </a:rPr>
                  <a:t>Module three  </a:t>
                </a:r>
                <a:r>
                  <a:rPr lang="en-US" sz="800" b="1" dirty="0">
                    <a:solidFill>
                      <a:schemeClr val="accent3"/>
                    </a:solidFill>
                    <a:ea typeface="Arial"/>
                    <a:cs typeface="Arial"/>
                    <a:sym typeface="Arial"/>
                  </a:rPr>
                  <a:t>(2 hours) </a:t>
                </a:r>
                <a:endParaRPr sz="1400" dirty="0"/>
              </a:p>
              <a:p>
                <a:r>
                  <a:rPr lang="en-GB" sz="1000" dirty="0">
                    <a:solidFill>
                      <a:srgbClr val="000000"/>
                    </a:solidFill>
                    <a:cs typeface="Arial"/>
                    <a:sym typeface="Arial"/>
                  </a:rPr>
                  <a:t>Purpose/role of Commission and our broader landscape</a:t>
                </a:r>
                <a:endParaRPr lang="en-GB" sz="1000" dirty="0">
                  <a:solidFill>
                    <a:srgbClr val="000000"/>
                  </a:solidFill>
                  <a:ea typeface="Arial"/>
                  <a:cs typeface="Arial"/>
                  <a:sym typeface="Arial"/>
                </a:endParaRPr>
              </a:p>
              <a:p>
                <a:pPr marL="0" marR="0" lvl="0" indent="0" algn="l" rtl="0">
                  <a:spcBef>
                    <a:spcPts val="0"/>
                  </a:spcBef>
                  <a:spcAft>
                    <a:spcPts val="0"/>
                  </a:spcAft>
                  <a:buNone/>
                </a:pPr>
                <a:r>
                  <a:rPr lang="en-GB" sz="1000" dirty="0">
                    <a:solidFill>
                      <a:srgbClr val="000000"/>
                    </a:solidFill>
                    <a:cs typeface="Arial"/>
                    <a:sym typeface="Arial"/>
                  </a:rPr>
                  <a:t>Commission functions and structure</a:t>
                </a:r>
              </a:p>
              <a:p>
                <a:pPr marL="0" marR="0" lvl="0" indent="0" algn="l" rtl="0">
                  <a:spcBef>
                    <a:spcPts val="0"/>
                  </a:spcBef>
                  <a:spcAft>
                    <a:spcPts val="0"/>
                  </a:spcAft>
                  <a:buNone/>
                </a:pPr>
                <a:r>
                  <a:rPr lang="en-GB" sz="1000" dirty="0">
                    <a:solidFill>
                      <a:srgbClr val="000000"/>
                    </a:solidFill>
                    <a:cs typeface="Arial"/>
                    <a:sym typeface="Arial"/>
                  </a:rPr>
                  <a:t>Overview of some of the roles and responsibilities </a:t>
                </a:r>
              </a:p>
              <a:p>
                <a:pPr marL="0" marR="0" lvl="0" indent="0" algn="l" rtl="0">
                  <a:spcBef>
                    <a:spcPts val="0"/>
                  </a:spcBef>
                  <a:spcAft>
                    <a:spcPts val="0"/>
                  </a:spcAft>
                  <a:buNone/>
                </a:pPr>
                <a:r>
                  <a:rPr lang="en-GB" sz="1000" dirty="0">
                    <a:solidFill>
                      <a:srgbClr val="000000"/>
                    </a:solidFill>
                    <a:cs typeface="Arial"/>
                    <a:sym typeface="Arial"/>
                  </a:rPr>
                  <a:t>Examples of the work undertaken by the Commission</a:t>
                </a:r>
                <a:endParaRPr dirty="0"/>
              </a:p>
            </p:txBody>
          </p:sp>
          <p:cxnSp>
            <p:nvCxnSpPr>
              <p:cNvPr id="84" name="Google Shape;6729;p149">
                <a:extLst>
                  <a:ext uri="{FF2B5EF4-FFF2-40B4-BE49-F238E27FC236}">
                    <a16:creationId xmlns:a16="http://schemas.microsoft.com/office/drawing/2014/main" id="{8F9FC63D-92D5-491E-BB53-7AEC5AA96E0F}"/>
                  </a:ext>
                </a:extLst>
              </p:cNvPr>
              <p:cNvCxnSpPr/>
              <p:nvPr/>
            </p:nvCxnSpPr>
            <p:spPr>
              <a:xfrm>
                <a:off x="3683604" y="2579435"/>
                <a:ext cx="0" cy="851162"/>
              </a:xfrm>
              <a:prstGeom prst="straightConnector1">
                <a:avLst/>
              </a:prstGeom>
              <a:noFill/>
              <a:ln w="28575" cap="flat" cmpd="sng">
                <a:solidFill>
                  <a:schemeClr val="accent3"/>
                </a:solidFill>
                <a:prstDash val="solid"/>
                <a:round/>
                <a:headEnd type="none" w="sm" len="sm"/>
                <a:tailEnd type="none" w="sm" len="sm"/>
              </a:ln>
            </p:spPr>
          </p:cxnSp>
          <p:sp>
            <p:nvSpPr>
              <p:cNvPr id="85" name="Google Shape;6730;p149">
                <a:extLst>
                  <a:ext uri="{FF2B5EF4-FFF2-40B4-BE49-F238E27FC236}">
                    <a16:creationId xmlns:a16="http://schemas.microsoft.com/office/drawing/2014/main" id="{B5B556FA-F18F-481A-8E90-9743AD453A0A}"/>
                  </a:ext>
                </a:extLst>
              </p:cNvPr>
              <p:cNvSpPr/>
              <p:nvPr/>
            </p:nvSpPr>
            <p:spPr>
              <a:xfrm>
                <a:off x="5174306" y="5250234"/>
                <a:ext cx="2667977" cy="76295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b="1" dirty="0">
                    <a:solidFill>
                      <a:schemeClr val="accent5"/>
                    </a:solidFill>
                    <a:ea typeface="Arial"/>
                    <a:cs typeface="Arial"/>
                    <a:sym typeface="Arial"/>
                  </a:rPr>
                  <a:t>Module four </a:t>
                </a:r>
                <a:r>
                  <a:rPr lang="en-GB" sz="800" b="1" dirty="0">
                    <a:solidFill>
                      <a:schemeClr val="accent5"/>
                    </a:solidFill>
                    <a:ea typeface="Arial"/>
                    <a:cs typeface="Arial"/>
                    <a:sym typeface="Arial"/>
                  </a:rPr>
                  <a:t>(4 hours) </a:t>
                </a:r>
                <a:r>
                  <a:rPr lang="en-GB" sz="800" dirty="0">
                    <a:solidFill>
                      <a:schemeClr val="accent5"/>
                    </a:solidFill>
                    <a:ea typeface="Arial"/>
                    <a:cs typeface="Arial"/>
                    <a:sym typeface="Arial"/>
                  </a:rPr>
                  <a:t> </a:t>
                </a:r>
                <a:endParaRPr dirty="0"/>
              </a:p>
              <a:p>
                <a:pPr marL="0" marR="0" lvl="0" indent="0" algn="l" rtl="0">
                  <a:spcBef>
                    <a:spcPts val="0"/>
                  </a:spcBef>
                  <a:spcAft>
                    <a:spcPts val="0"/>
                  </a:spcAft>
                  <a:buNone/>
                </a:pPr>
                <a:r>
                  <a:rPr lang="en-GB" sz="1000" dirty="0">
                    <a:solidFill>
                      <a:srgbClr val="000000"/>
                    </a:solidFill>
                    <a:ea typeface="Arial"/>
                    <a:cs typeface="Arial"/>
                    <a:sym typeface="Arial"/>
                  </a:rPr>
                  <a:t>The role of a contemporary regulator, the approach and the role the Commission plays to drive quality and safeguarding</a:t>
                </a:r>
                <a:endParaRPr lang="en-GB" sz="800" dirty="0">
                  <a:solidFill>
                    <a:srgbClr val="000000"/>
                  </a:solidFill>
                  <a:ea typeface="Arial"/>
                  <a:cs typeface="Arial"/>
                  <a:sym typeface="Arial"/>
                </a:endParaRPr>
              </a:p>
              <a:p>
                <a:pPr marL="0" marR="0" lvl="0" indent="0" algn="l" rtl="0">
                  <a:spcBef>
                    <a:spcPts val="0"/>
                  </a:spcBef>
                  <a:spcAft>
                    <a:spcPts val="0"/>
                  </a:spcAft>
                  <a:buNone/>
                </a:pPr>
                <a:r>
                  <a:rPr lang="en-GB" sz="1000" dirty="0">
                    <a:solidFill>
                      <a:srgbClr val="000000"/>
                    </a:solidFill>
                    <a:ea typeface="Arial"/>
                    <a:cs typeface="Arial"/>
                    <a:sym typeface="Arial"/>
                  </a:rPr>
                  <a:t>An introduction to risk, risk based approaches</a:t>
                </a:r>
              </a:p>
              <a:p>
                <a:pPr marL="0" marR="0" lvl="0" indent="0" algn="l" rtl="0">
                  <a:spcBef>
                    <a:spcPts val="0"/>
                  </a:spcBef>
                  <a:spcAft>
                    <a:spcPts val="0"/>
                  </a:spcAft>
                  <a:buNone/>
                </a:pPr>
                <a:r>
                  <a:rPr lang="en-GB" sz="1000" dirty="0">
                    <a:solidFill>
                      <a:srgbClr val="000000"/>
                    </a:solidFill>
                    <a:ea typeface="Arial"/>
                    <a:cs typeface="Arial"/>
                    <a:sym typeface="Arial"/>
                  </a:rPr>
                  <a:t>Introductory disability awareness</a:t>
                </a:r>
              </a:p>
              <a:p>
                <a:pPr marL="0" marR="0" lvl="0" indent="0" algn="l" rtl="0">
                  <a:spcBef>
                    <a:spcPts val="0"/>
                  </a:spcBef>
                  <a:spcAft>
                    <a:spcPts val="0"/>
                  </a:spcAft>
                  <a:buNone/>
                </a:pPr>
                <a:r>
                  <a:rPr lang="en-GB" sz="1000" dirty="0">
                    <a:solidFill>
                      <a:srgbClr val="000000"/>
                    </a:solidFill>
                    <a:ea typeface="Arial"/>
                    <a:cs typeface="Arial"/>
                    <a:sym typeface="Arial"/>
                  </a:rPr>
                  <a:t>How this comes together</a:t>
                </a:r>
              </a:p>
            </p:txBody>
          </p:sp>
          <p:cxnSp>
            <p:nvCxnSpPr>
              <p:cNvPr id="86" name="Google Shape;6731;p149">
                <a:extLst>
                  <a:ext uri="{FF2B5EF4-FFF2-40B4-BE49-F238E27FC236}">
                    <a16:creationId xmlns:a16="http://schemas.microsoft.com/office/drawing/2014/main" id="{B21CF62D-DEC2-4B7E-BE8D-3358E7CF2E78}"/>
                  </a:ext>
                </a:extLst>
              </p:cNvPr>
              <p:cNvCxnSpPr/>
              <p:nvPr/>
            </p:nvCxnSpPr>
            <p:spPr>
              <a:xfrm rot="10800000">
                <a:off x="5126367" y="5206130"/>
                <a:ext cx="0" cy="851162"/>
              </a:xfrm>
              <a:prstGeom prst="straightConnector1">
                <a:avLst/>
              </a:prstGeom>
              <a:noFill/>
              <a:ln w="28575" cap="flat" cmpd="sng">
                <a:solidFill>
                  <a:schemeClr val="accent5"/>
                </a:solidFill>
                <a:prstDash val="solid"/>
                <a:round/>
                <a:headEnd type="none" w="sm" len="sm"/>
                <a:tailEnd type="none" w="sm" len="sm"/>
              </a:ln>
            </p:spPr>
          </p:cxnSp>
          <p:sp>
            <p:nvSpPr>
              <p:cNvPr id="87" name="Google Shape;6732;p149">
                <a:extLst>
                  <a:ext uri="{FF2B5EF4-FFF2-40B4-BE49-F238E27FC236}">
                    <a16:creationId xmlns:a16="http://schemas.microsoft.com/office/drawing/2014/main" id="{24D445D0-7E08-4978-AE91-B046F19077BF}"/>
                  </a:ext>
                </a:extLst>
              </p:cNvPr>
              <p:cNvSpPr/>
              <p:nvPr/>
            </p:nvSpPr>
            <p:spPr>
              <a:xfrm>
                <a:off x="6620283" y="2596209"/>
                <a:ext cx="2219369" cy="668095"/>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b="1" dirty="0">
                    <a:solidFill>
                      <a:schemeClr val="accent1"/>
                    </a:solidFill>
                    <a:ea typeface="Arial"/>
                    <a:cs typeface="Arial"/>
                    <a:sym typeface="Arial"/>
                  </a:rPr>
                  <a:t>Module five </a:t>
                </a:r>
                <a:r>
                  <a:rPr lang="en-GB" sz="800" b="1" dirty="0">
                    <a:solidFill>
                      <a:schemeClr val="accent1"/>
                    </a:solidFill>
                    <a:ea typeface="Arial"/>
                    <a:cs typeface="Arial"/>
                    <a:sym typeface="Arial"/>
                  </a:rPr>
                  <a:t>(1 hour)</a:t>
                </a:r>
              </a:p>
              <a:p>
                <a:pPr marL="0" marR="0" lvl="0" indent="0" algn="l" rtl="0">
                  <a:spcBef>
                    <a:spcPts val="0"/>
                  </a:spcBef>
                  <a:spcAft>
                    <a:spcPts val="0"/>
                  </a:spcAft>
                  <a:buNone/>
                </a:pPr>
                <a:r>
                  <a:rPr lang="en-GB" sz="1000" dirty="0">
                    <a:ea typeface="Arial"/>
                    <a:cs typeface="Arial"/>
                    <a:sym typeface="Arial"/>
                  </a:rPr>
                  <a:t>Senior Leader Interactive Q&amp;A</a:t>
                </a:r>
              </a:p>
              <a:p>
                <a:pPr marL="0" marR="0" lvl="0" indent="0" algn="l" rtl="0">
                  <a:spcBef>
                    <a:spcPts val="0"/>
                  </a:spcBef>
                  <a:spcAft>
                    <a:spcPts val="0"/>
                  </a:spcAft>
                  <a:buNone/>
                </a:pPr>
                <a:r>
                  <a:rPr lang="en-GB" sz="1000" dirty="0">
                    <a:ea typeface="Arial"/>
                    <a:cs typeface="Arial"/>
                    <a:sym typeface="Arial"/>
                  </a:rPr>
                  <a:t>Summary of modules</a:t>
                </a:r>
              </a:p>
              <a:p>
                <a:r>
                  <a:rPr lang="en-GB" sz="1000" dirty="0">
                    <a:ea typeface="Arial"/>
                    <a:cs typeface="Arial"/>
                    <a:sym typeface="Arial"/>
                  </a:rPr>
                  <a:t>Designing my personal new starter action plan</a:t>
                </a:r>
              </a:p>
              <a:p>
                <a:pPr marL="0" marR="0" lvl="0" indent="0" algn="l" rtl="0">
                  <a:spcBef>
                    <a:spcPts val="0"/>
                  </a:spcBef>
                  <a:spcAft>
                    <a:spcPts val="0"/>
                  </a:spcAft>
                  <a:buNone/>
                </a:pPr>
                <a:r>
                  <a:rPr lang="en-GB" sz="1000" dirty="0">
                    <a:ea typeface="Arial"/>
                    <a:cs typeface="Arial"/>
                    <a:sym typeface="Arial"/>
                  </a:rPr>
                  <a:t>Wrap up and next steps </a:t>
                </a:r>
                <a:r>
                  <a:rPr lang="en-GB" sz="1000" b="1" dirty="0">
                    <a:solidFill>
                      <a:schemeClr val="accent1"/>
                    </a:solidFill>
                    <a:ea typeface="Arial"/>
                    <a:cs typeface="Arial"/>
                    <a:sym typeface="Arial"/>
                  </a:rPr>
                  <a:t> </a:t>
                </a:r>
                <a:r>
                  <a:rPr lang="en-GB" sz="1000" dirty="0">
                    <a:solidFill>
                      <a:schemeClr val="accent1"/>
                    </a:solidFill>
                    <a:ea typeface="Arial"/>
                    <a:cs typeface="Arial"/>
                    <a:sym typeface="Arial"/>
                  </a:rPr>
                  <a:t> </a:t>
                </a:r>
                <a:endParaRPr dirty="0"/>
              </a:p>
            </p:txBody>
          </p:sp>
          <p:cxnSp>
            <p:nvCxnSpPr>
              <p:cNvPr id="88" name="Google Shape;6733;p149">
                <a:extLst>
                  <a:ext uri="{FF2B5EF4-FFF2-40B4-BE49-F238E27FC236}">
                    <a16:creationId xmlns:a16="http://schemas.microsoft.com/office/drawing/2014/main" id="{90DBC978-F51B-4A64-8629-FD165E6E2FAF}"/>
                  </a:ext>
                </a:extLst>
              </p:cNvPr>
              <p:cNvCxnSpPr/>
              <p:nvPr/>
            </p:nvCxnSpPr>
            <p:spPr>
              <a:xfrm>
                <a:off x="6569130" y="2579435"/>
                <a:ext cx="0" cy="851162"/>
              </a:xfrm>
              <a:prstGeom prst="straightConnector1">
                <a:avLst/>
              </a:prstGeom>
              <a:noFill/>
              <a:ln w="28575" cap="flat" cmpd="sng">
                <a:solidFill>
                  <a:schemeClr val="accent1"/>
                </a:solidFill>
                <a:prstDash val="solid"/>
                <a:round/>
                <a:headEnd type="none" w="sm" len="sm"/>
                <a:tailEnd type="none" w="sm" len="sm"/>
              </a:ln>
            </p:spPr>
          </p:cxnSp>
        </p:grpSp>
        <p:sp>
          <p:nvSpPr>
            <p:cNvPr id="66" name="Google Shape;6746;p149">
              <a:extLst>
                <a:ext uri="{FF2B5EF4-FFF2-40B4-BE49-F238E27FC236}">
                  <a16:creationId xmlns:a16="http://schemas.microsoft.com/office/drawing/2014/main" id="{E144D909-9ADA-4513-A57A-6BB2A62F8FD6}"/>
                </a:ext>
              </a:extLst>
            </p:cNvPr>
            <p:cNvSpPr/>
            <p:nvPr/>
          </p:nvSpPr>
          <p:spPr>
            <a:xfrm>
              <a:off x="4496877" y="3280834"/>
              <a:ext cx="643967" cy="643871"/>
            </a:xfrm>
            <a:custGeom>
              <a:avLst/>
              <a:gdLst/>
              <a:ahLst/>
              <a:cxnLst/>
              <a:rect l="l" t="t" r="r" b="b"/>
              <a:pathLst>
                <a:path w="6709" h="6708" extrusionOk="0">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dirty="0">
                <a:solidFill>
                  <a:schemeClr val="dk1"/>
                </a:solidFill>
                <a:ea typeface="Arial"/>
                <a:cs typeface="Arial"/>
                <a:sym typeface="Arial"/>
              </a:endParaRPr>
            </a:p>
          </p:txBody>
        </p:sp>
        <p:grpSp>
          <p:nvGrpSpPr>
            <p:cNvPr id="67" name="Google Shape;6747;p149">
              <a:extLst>
                <a:ext uri="{FF2B5EF4-FFF2-40B4-BE49-F238E27FC236}">
                  <a16:creationId xmlns:a16="http://schemas.microsoft.com/office/drawing/2014/main" id="{97CB3DA3-475D-4F06-93E5-DF0D06F5B2B7}"/>
                </a:ext>
              </a:extLst>
            </p:cNvPr>
            <p:cNvGrpSpPr/>
            <p:nvPr/>
          </p:nvGrpSpPr>
          <p:grpSpPr>
            <a:xfrm>
              <a:off x="5796396" y="3280834"/>
              <a:ext cx="643968" cy="643871"/>
              <a:chOff x="986" y="0"/>
              <a:chExt cx="6673" cy="6672"/>
            </a:xfrm>
          </p:grpSpPr>
          <p:sp>
            <p:nvSpPr>
              <p:cNvPr id="69" name="Google Shape;6748;p149">
                <a:extLst>
                  <a:ext uri="{FF2B5EF4-FFF2-40B4-BE49-F238E27FC236}">
                    <a16:creationId xmlns:a16="http://schemas.microsoft.com/office/drawing/2014/main" id="{3A9575FF-04E4-448B-822D-215B1AFF7F34}"/>
                  </a:ext>
                </a:extLst>
              </p:cNvPr>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dirty="0">
                  <a:solidFill>
                    <a:schemeClr val="dk1"/>
                  </a:solidFill>
                  <a:ea typeface="Arial"/>
                  <a:cs typeface="Arial"/>
                  <a:sym typeface="Arial"/>
                </a:endParaRPr>
              </a:p>
            </p:txBody>
          </p:sp>
          <p:sp>
            <p:nvSpPr>
              <p:cNvPr id="70" name="Google Shape;6749;p149">
                <a:extLst>
                  <a:ext uri="{FF2B5EF4-FFF2-40B4-BE49-F238E27FC236}">
                    <a16:creationId xmlns:a16="http://schemas.microsoft.com/office/drawing/2014/main" id="{A5011807-5BD1-4A9E-90F5-6E8AFC180467}"/>
                  </a:ext>
                </a:extLst>
              </p:cNvPr>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dirty="0">
                  <a:solidFill>
                    <a:schemeClr val="dk1"/>
                  </a:solidFill>
                  <a:ea typeface="Arial"/>
                  <a:cs typeface="Arial"/>
                  <a:sym typeface="Arial"/>
                </a:endParaRPr>
              </a:p>
            </p:txBody>
          </p:sp>
        </p:grpSp>
      </p:grpSp>
      <p:sp>
        <p:nvSpPr>
          <p:cNvPr id="16" name="TextBox 15">
            <a:extLst>
              <a:ext uri="{FF2B5EF4-FFF2-40B4-BE49-F238E27FC236}">
                <a16:creationId xmlns:a16="http://schemas.microsoft.com/office/drawing/2014/main" id="{7A055E72-7D6F-47F5-B74D-55759829A9D4}"/>
              </a:ext>
            </a:extLst>
          </p:cNvPr>
          <p:cNvSpPr txBox="1"/>
          <p:nvPr/>
        </p:nvSpPr>
        <p:spPr>
          <a:xfrm>
            <a:off x="4431425" y="4708887"/>
            <a:ext cx="1160141" cy="646331"/>
          </a:xfrm>
          <a:prstGeom prst="rect">
            <a:avLst/>
          </a:prstGeom>
          <a:noFill/>
        </p:spPr>
        <p:txBody>
          <a:bodyPr wrap="square" rtlCol="0">
            <a:spAutoFit/>
          </a:bodyPr>
          <a:lstStyle/>
          <a:p>
            <a:pPr algn="ctr"/>
            <a:r>
              <a:rPr lang="en-US" sz="1200" b="1" dirty="0">
                <a:solidFill>
                  <a:schemeClr val="bg1"/>
                </a:solidFill>
                <a:ea typeface="Arial"/>
                <a:cs typeface="Arial"/>
                <a:sym typeface="Arial"/>
              </a:rPr>
              <a:t>Who we are and what we do</a:t>
            </a:r>
            <a:r>
              <a:rPr lang="en-AU" sz="1200" dirty="0">
                <a:solidFill>
                  <a:schemeClr val="bg1"/>
                </a:solidFill>
              </a:rPr>
              <a:t> </a:t>
            </a:r>
          </a:p>
        </p:txBody>
      </p:sp>
      <p:sp>
        <p:nvSpPr>
          <p:cNvPr id="104" name="TextBox 103">
            <a:extLst>
              <a:ext uri="{FF2B5EF4-FFF2-40B4-BE49-F238E27FC236}">
                <a16:creationId xmlns:a16="http://schemas.microsoft.com/office/drawing/2014/main" id="{689AB748-E63A-44AC-AD08-6386DBD1117F}"/>
              </a:ext>
            </a:extLst>
          </p:cNvPr>
          <p:cNvSpPr txBox="1"/>
          <p:nvPr/>
        </p:nvSpPr>
        <p:spPr>
          <a:xfrm>
            <a:off x="6166733" y="4728160"/>
            <a:ext cx="1160141" cy="461665"/>
          </a:xfrm>
          <a:prstGeom prst="rect">
            <a:avLst/>
          </a:prstGeom>
          <a:noFill/>
        </p:spPr>
        <p:txBody>
          <a:bodyPr wrap="square" rtlCol="0">
            <a:spAutoFit/>
          </a:bodyPr>
          <a:lstStyle/>
          <a:p>
            <a:pPr algn="ctr"/>
            <a:r>
              <a:rPr lang="en-AU" sz="1200" b="1" dirty="0">
                <a:solidFill>
                  <a:schemeClr val="bg1"/>
                </a:solidFill>
              </a:rPr>
              <a:t>Our core capabilities </a:t>
            </a:r>
          </a:p>
        </p:txBody>
      </p:sp>
      <p:sp>
        <p:nvSpPr>
          <p:cNvPr id="106" name="TextBox 105">
            <a:extLst>
              <a:ext uri="{FF2B5EF4-FFF2-40B4-BE49-F238E27FC236}">
                <a16:creationId xmlns:a16="http://schemas.microsoft.com/office/drawing/2014/main" id="{8595163C-1F7A-47D0-B432-468048A205C5}"/>
              </a:ext>
            </a:extLst>
          </p:cNvPr>
          <p:cNvSpPr txBox="1"/>
          <p:nvPr/>
        </p:nvSpPr>
        <p:spPr>
          <a:xfrm>
            <a:off x="6351699" y="2062629"/>
            <a:ext cx="5390303" cy="553998"/>
          </a:xfrm>
          <a:prstGeom prst="rect">
            <a:avLst/>
          </a:prstGeom>
          <a:solidFill>
            <a:schemeClr val="bg2"/>
          </a:solidFill>
        </p:spPr>
        <p:txBody>
          <a:bodyPr wrap="square" rtlCol="0">
            <a:spAutoFit/>
          </a:bodyPr>
          <a:lstStyle/>
          <a:p>
            <a:pPr marL="171450" indent="-171450">
              <a:buFont typeface="Arial" panose="020B0604020202020204" pitchFamily="34" charset="0"/>
              <a:buChar char="•"/>
            </a:pPr>
            <a:r>
              <a:rPr lang="en-AU" sz="1000" b="1" dirty="0"/>
              <a:t>How often will this be delivered:</a:t>
            </a:r>
            <a:r>
              <a:rPr lang="en-AU" sz="1000" dirty="0"/>
              <a:t> once per month/fortnightly/weekly</a:t>
            </a:r>
          </a:p>
          <a:p>
            <a:pPr marL="171450" indent="-171450">
              <a:buFont typeface="Arial" panose="020B0604020202020204" pitchFamily="34" charset="0"/>
              <a:buChar char="•"/>
            </a:pPr>
            <a:r>
              <a:rPr lang="en-AU" sz="1000" b="1" dirty="0"/>
              <a:t>How will this be delivered: </a:t>
            </a:r>
            <a:r>
              <a:rPr lang="en-AU" sz="1000" dirty="0"/>
              <a:t>As a one day program and/or flexible, modular delivery e.g. virtually with a face-to-face or hybrid alternative</a:t>
            </a:r>
          </a:p>
        </p:txBody>
      </p:sp>
      <p:sp>
        <p:nvSpPr>
          <p:cNvPr id="107" name="Freeform 14">
            <a:extLst>
              <a:ext uri="{FF2B5EF4-FFF2-40B4-BE49-F238E27FC236}">
                <a16:creationId xmlns:a16="http://schemas.microsoft.com/office/drawing/2014/main" id="{900A29FC-1652-4023-BA55-E79D82AD3A09}"/>
              </a:ext>
            </a:extLst>
          </p:cNvPr>
          <p:cNvSpPr>
            <a:spLocks noChangeAspect="1" noEditPoints="1"/>
          </p:cNvSpPr>
          <p:nvPr/>
        </p:nvSpPr>
        <p:spPr bwMode="auto">
          <a:xfrm>
            <a:off x="1144395" y="3810872"/>
            <a:ext cx="853001" cy="852223"/>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8" name="TextBox 107">
            <a:extLst>
              <a:ext uri="{FF2B5EF4-FFF2-40B4-BE49-F238E27FC236}">
                <a16:creationId xmlns:a16="http://schemas.microsoft.com/office/drawing/2014/main" id="{5253ECD0-D6AB-45BF-A3C9-C6974351C586}"/>
              </a:ext>
            </a:extLst>
          </p:cNvPr>
          <p:cNvSpPr txBox="1"/>
          <p:nvPr/>
        </p:nvSpPr>
        <p:spPr>
          <a:xfrm>
            <a:off x="2703069" y="4770620"/>
            <a:ext cx="1160141" cy="461665"/>
          </a:xfrm>
          <a:prstGeom prst="rect">
            <a:avLst/>
          </a:prstGeom>
          <a:noFill/>
        </p:spPr>
        <p:txBody>
          <a:bodyPr wrap="square" rtlCol="0">
            <a:spAutoFit/>
          </a:bodyPr>
          <a:lstStyle/>
          <a:p>
            <a:pPr algn="ctr"/>
            <a:r>
              <a:rPr lang="en-AU" sz="1200" b="1" dirty="0">
                <a:solidFill>
                  <a:schemeClr val="bg1"/>
                </a:solidFill>
              </a:rPr>
              <a:t>Our ways of working </a:t>
            </a:r>
          </a:p>
        </p:txBody>
      </p:sp>
      <p:sp>
        <p:nvSpPr>
          <p:cNvPr id="109" name="Freeform 50">
            <a:extLst>
              <a:ext uri="{FF2B5EF4-FFF2-40B4-BE49-F238E27FC236}">
                <a16:creationId xmlns:a16="http://schemas.microsoft.com/office/drawing/2014/main" id="{86215D5F-D7A2-49F5-8A4F-D5BDEA48E3B9}"/>
              </a:ext>
            </a:extLst>
          </p:cNvPr>
          <p:cNvSpPr>
            <a:spLocks noChangeAspect="1" noEditPoints="1"/>
          </p:cNvSpPr>
          <p:nvPr/>
        </p:nvSpPr>
        <p:spPr bwMode="auto">
          <a:xfrm>
            <a:off x="2842958" y="3825373"/>
            <a:ext cx="853821" cy="853821"/>
          </a:xfrm>
          <a:custGeom>
            <a:avLst/>
            <a:gdLst>
              <a:gd name="T0" fmla="*/ 955 w 1094"/>
              <a:gd name="T1" fmla="*/ 746 h 1094"/>
              <a:gd name="T2" fmla="*/ 955 w 1094"/>
              <a:gd name="T3" fmla="*/ 211 h 1094"/>
              <a:gd name="T4" fmla="*/ 139 w 1094"/>
              <a:gd name="T5" fmla="*/ 211 h 1094"/>
              <a:gd name="T6" fmla="*/ 139 w 1094"/>
              <a:gd name="T7" fmla="*/ 746 h 1094"/>
              <a:gd name="T8" fmla="*/ 87 w 1094"/>
              <a:gd name="T9" fmla="*/ 746 h 1094"/>
              <a:gd name="T10" fmla="*/ 87 w 1094"/>
              <a:gd name="T11" fmla="*/ 883 h 1094"/>
              <a:gd name="T12" fmla="*/ 1007 w 1094"/>
              <a:gd name="T13" fmla="*/ 883 h 1094"/>
              <a:gd name="T14" fmla="*/ 1007 w 1094"/>
              <a:gd name="T15" fmla="*/ 746 h 1094"/>
              <a:gd name="T16" fmla="*/ 955 w 1094"/>
              <a:gd name="T17" fmla="*/ 746 h 1094"/>
              <a:gd name="T18" fmla="*/ 908 w 1094"/>
              <a:gd name="T19" fmla="*/ 256 h 1094"/>
              <a:gd name="T20" fmla="*/ 908 w 1094"/>
              <a:gd name="T21" fmla="*/ 746 h 1094"/>
              <a:gd name="T22" fmla="*/ 186 w 1094"/>
              <a:gd name="T23" fmla="*/ 746 h 1094"/>
              <a:gd name="T24" fmla="*/ 186 w 1094"/>
              <a:gd name="T25" fmla="*/ 256 h 1094"/>
              <a:gd name="T26" fmla="*/ 908 w 1094"/>
              <a:gd name="T27" fmla="*/ 256 h 1094"/>
              <a:gd name="T28" fmla="*/ 135 w 1094"/>
              <a:gd name="T29" fmla="*/ 838 h 1094"/>
              <a:gd name="T30" fmla="*/ 135 w 1094"/>
              <a:gd name="T31" fmla="*/ 792 h 1094"/>
              <a:gd name="T32" fmla="*/ 959 w 1094"/>
              <a:gd name="T33" fmla="*/ 792 h 1094"/>
              <a:gd name="T34" fmla="*/ 959 w 1094"/>
              <a:gd name="T35" fmla="*/ 838 h 1094"/>
              <a:gd name="T36" fmla="*/ 135 w 1094"/>
              <a:gd name="T37" fmla="*/ 838 h 1094"/>
              <a:gd name="T38" fmla="*/ 872 w 1094"/>
              <a:gd name="T39" fmla="*/ 294 h 1094"/>
              <a:gd name="T40" fmla="*/ 222 w 1094"/>
              <a:gd name="T41" fmla="*/ 294 h 1094"/>
              <a:gd name="T42" fmla="*/ 222 w 1094"/>
              <a:gd name="T43" fmla="*/ 708 h 1094"/>
              <a:gd name="T44" fmla="*/ 872 w 1094"/>
              <a:gd name="T45" fmla="*/ 708 h 1094"/>
              <a:gd name="T46" fmla="*/ 872 w 1094"/>
              <a:gd name="T47" fmla="*/ 294 h 1094"/>
              <a:gd name="T48" fmla="*/ 268 w 1094"/>
              <a:gd name="T49" fmla="*/ 663 h 1094"/>
              <a:gd name="T50" fmla="*/ 268 w 1094"/>
              <a:gd name="T51" fmla="*/ 342 h 1094"/>
              <a:gd name="T52" fmla="*/ 826 w 1094"/>
              <a:gd name="T53" fmla="*/ 342 h 1094"/>
              <a:gd name="T54" fmla="*/ 826 w 1094"/>
              <a:gd name="T55" fmla="*/ 663 h 1094"/>
              <a:gd name="T56" fmla="*/ 268 w 1094"/>
              <a:gd name="T57" fmla="*/ 663 h 1094"/>
              <a:gd name="T58" fmla="*/ 0 w 1094"/>
              <a:gd name="T59" fmla="*/ 0 h 1094"/>
              <a:gd name="T60" fmla="*/ 0 w 1094"/>
              <a:gd name="T61" fmla="*/ 1094 h 1094"/>
              <a:gd name="T62" fmla="*/ 1094 w 1094"/>
              <a:gd name="T63" fmla="*/ 1094 h 1094"/>
              <a:gd name="T64" fmla="*/ 1094 w 1094"/>
              <a:gd name="T65" fmla="*/ 0 h 1094"/>
              <a:gd name="T66" fmla="*/ 0 w 1094"/>
              <a:gd name="T67" fmla="*/ 0 h 1094"/>
              <a:gd name="T68" fmla="*/ 1047 w 1094"/>
              <a:gd name="T69" fmla="*/ 1047 h 1094"/>
              <a:gd name="T70" fmla="*/ 47 w 1094"/>
              <a:gd name="T71" fmla="*/ 1047 h 1094"/>
              <a:gd name="T72" fmla="*/ 47 w 1094"/>
              <a:gd name="T73" fmla="*/ 47 h 1094"/>
              <a:gd name="T74" fmla="*/ 1047 w 1094"/>
              <a:gd name="T75" fmla="*/ 47 h 1094"/>
              <a:gd name="T76" fmla="*/ 1047 w 1094"/>
              <a:gd name="T77" fmla="*/ 1047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4" h="1094">
                <a:moveTo>
                  <a:pt x="955" y="746"/>
                </a:moveTo>
                <a:lnTo>
                  <a:pt x="955" y="211"/>
                </a:lnTo>
                <a:lnTo>
                  <a:pt x="139" y="211"/>
                </a:lnTo>
                <a:lnTo>
                  <a:pt x="139" y="746"/>
                </a:lnTo>
                <a:lnTo>
                  <a:pt x="87" y="746"/>
                </a:lnTo>
                <a:lnTo>
                  <a:pt x="87" y="883"/>
                </a:lnTo>
                <a:lnTo>
                  <a:pt x="1007" y="883"/>
                </a:lnTo>
                <a:lnTo>
                  <a:pt x="1007" y="746"/>
                </a:lnTo>
                <a:lnTo>
                  <a:pt x="955" y="746"/>
                </a:lnTo>
                <a:close/>
                <a:moveTo>
                  <a:pt x="908" y="256"/>
                </a:moveTo>
                <a:lnTo>
                  <a:pt x="908" y="746"/>
                </a:lnTo>
                <a:lnTo>
                  <a:pt x="186" y="746"/>
                </a:lnTo>
                <a:lnTo>
                  <a:pt x="186" y="256"/>
                </a:lnTo>
                <a:lnTo>
                  <a:pt x="908" y="256"/>
                </a:lnTo>
                <a:close/>
                <a:moveTo>
                  <a:pt x="135" y="838"/>
                </a:moveTo>
                <a:lnTo>
                  <a:pt x="135" y="792"/>
                </a:lnTo>
                <a:lnTo>
                  <a:pt x="959" y="792"/>
                </a:lnTo>
                <a:lnTo>
                  <a:pt x="959" y="838"/>
                </a:lnTo>
                <a:lnTo>
                  <a:pt x="135" y="838"/>
                </a:lnTo>
                <a:close/>
                <a:moveTo>
                  <a:pt x="872" y="294"/>
                </a:moveTo>
                <a:lnTo>
                  <a:pt x="222" y="294"/>
                </a:lnTo>
                <a:lnTo>
                  <a:pt x="222" y="708"/>
                </a:lnTo>
                <a:lnTo>
                  <a:pt x="872" y="708"/>
                </a:lnTo>
                <a:lnTo>
                  <a:pt x="872" y="294"/>
                </a:lnTo>
                <a:close/>
                <a:moveTo>
                  <a:pt x="268" y="663"/>
                </a:moveTo>
                <a:lnTo>
                  <a:pt x="268" y="342"/>
                </a:lnTo>
                <a:lnTo>
                  <a:pt x="826" y="342"/>
                </a:lnTo>
                <a:lnTo>
                  <a:pt x="826" y="663"/>
                </a:lnTo>
                <a:lnTo>
                  <a:pt x="268" y="663"/>
                </a:lnTo>
                <a:close/>
                <a:moveTo>
                  <a:pt x="0" y="0"/>
                </a:moveTo>
                <a:lnTo>
                  <a:pt x="0" y="1094"/>
                </a:lnTo>
                <a:lnTo>
                  <a:pt x="1094" y="1094"/>
                </a:lnTo>
                <a:lnTo>
                  <a:pt x="1094" y="0"/>
                </a:lnTo>
                <a:lnTo>
                  <a:pt x="0" y="0"/>
                </a:lnTo>
                <a:close/>
                <a:moveTo>
                  <a:pt x="1047" y="1047"/>
                </a:moveTo>
                <a:lnTo>
                  <a:pt x="47" y="1047"/>
                </a:lnTo>
                <a:lnTo>
                  <a:pt x="47" y="47"/>
                </a:lnTo>
                <a:lnTo>
                  <a:pt x="1047" y="47"/>
                </a:lnTo>
                <a:lnTo>
                  <a:pt x="1047" y="104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800" dirty="0"/>
          </a:p>
        </p:txBody>
      </p:sp>
      <p:sp>
        <p:nvSpPr>
          <p:cNvPr id="110" name="Google Shape;25916;p308">
            <a:extLst>
              <a:ext uri="{FF2B5EF4-FFF2-40B4-BE49-F238E27FC236}">
                <a16:creationId xmlns:a16="http://schemas.microsoft.com/office/drawing/2014/main" id="{B87515E6-2534-4A52-95B3-5CCD5821C645}"/>
              </a:ext>
            </a:extLst>
          </p:cNvPr>
          <p:cNvSpPr/>
          <p:nvPr/>
        </p:nvSpPr>
        <p:spPr>
          <a:xfrm>
            <a:off x="4583979" y="3828500"/>
            <a:ext cx="861108" cy="802624"/>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205" y="314"/>
                </a:moveTo>
                <a:cubicBezTo>
                  <a:pt x="169" y="314"/>
                  <a:pt x="141" y="342"/>
                  <a:pt x="141" y="377"/>
                </a:cubicBezTo>
                <a:cubicBezTo>
                  <a:pt x="141" y="413"/>
                  <a:pt x="169" y="441"/>
                  <a:pt x="205" y="441"/>
                </a:cubicBezTo>
                <a:cubicBezTo>
                  <a:pt x="240" y="441"/>
                  <a:pt x="268" y="413"/>
                  <a:pt x="268" y="377"/>
                </a:cubicBezTo>
                <a:cubicBezTo>
                  <a:pt x="268" y="342"/>
                  <a:pt x="240" y="314"/>
                  <a:pt x="205" y="314"/>
                </a:cubicBezTo>
                <a:close/>
                <a:moveTo>
                  <a:pt x="205" y="417"/>
                </a:moveTo>
                <a:cubicBezTo>
                  <a:pt x="183" y="417"/>
                  <a:pt x="165" y="399"/>
                  <a:pt x="165" y="377"/>
                </a:cubicBezTo>
                <a:cubicBezTo>
                  <a:pt x="165" y="356"/>
                  <a:pt x="183" y="338"/>
                  <a:pt x="205" y="338"/>
                </a:cubicBezTo>
                <a:cubicBezTo>
                  <a:pt x="226" y="338"/>
                  <a:pt x="244" y="356"/>
                  <a:pt x="244" y="377"/>
                </a:cubicBezTo>
                <a:cubicBezTo>
                  <a:pt x="244" y="399"/>
                  <a:pt x="226" y="417"/>
                  <a:pt x="205" y="417"/>
                </a:cubicBezTo>
                <a:close/>
                <a:moveTo>
                  <a:pt x="412" y="295"/>
                </a:moveTo>
                <a:cubicBezTo>
                  <a:pt x="396" y="297"/>
                  <a:pt x="384" y="298"/>
                  <a:pt x="372" y="298"/>
                </a:cubicBezTo>
                <a:cubicBezTo>
                  <a:pt x="361" y="299"/>
                  <a:pt x="349" y="300"/>
                  <a:pt x="335" y="302"/>
                </a:cubicBezTo>
                <a:cubicBezTo>
                  <a:pt x="354" y="283"/>
                  <a:pt x="373" y="263"/>
                  <a:pt x="392" y="244"/>
                </a:cubicBezTo>
                <a:cubicBezTo>
                  <a:pt x="404" y="232"/>
                  <a:pt x="409" y="218"/>
                  <a:pt x="405" y="205"/>
                </a:cubicBezTo>
                <a:cubicBezTo>
                  <a:pt x="402" y="191"/>
                  <a:pt x="391" y="181"/>
                  <a:pt x="375" y="176"/>
                </a:cubicBezTo>
                <a:cubicBezTo>
                  <a:pt x="318" y="159"/>
                  <a:pt x="261" y="142"/>
                  <a:pt x="211" y="127"/>
                </a:cubicBezTo>
                <a:cubicBezTo>
                  <a:pt x="194" y="122"/>
                  <a:pt x="178" y="126"/>
                  <a:pt x="167" y="138"/>
                </a:cubicBezTo>
                <a:cubicBezTo>
                  <a:pt x="158" y="147"/>
                  <a:pt x="150" y="155"/>
                  <a:pt x="141" y="164"/>
                </a:cubicBezTo>
                <a:cubicBezTo>
                  <a:pt x="134" y="171"/>
                  <a:pt x="127" y="178"/>
                  <a:pt x="119" y="185"/>
                </a:cubicBezTo>
                <a:cubicBezTo>
                  <a:pt x="111" y="194"/>
                  <a:pt x="106" y="204"/>
                  <a:pt x="106" y="214"/>
                </a:cubicBezTo>
                <a:cubicBezTo>
                  <a:pt x="106" y="224"/>
                  <a:pt x="110" y="234"/>
                  <a:pt x="118" y="242"/>
                </a:cubicBezTo>
                <a:cubicBezTo>
                  <a:pt x="134" y="258"/>
                  <a:pt x="156" y="257"/>
                  <a:pt x="174" y="241"/>
                </a:cubicBezTo>
                <a:cubicBezTo>
                  <a:pt x="179" y="236"/>
                  <a:pt x="184" y="230"/>
                  <a:pt x="189" y="225"/>
                </a:cubicBezTo>
                <a:cubicBezTo>
                  <a:pt x="195" y="219"/>
                  <a:pt x="201" y="214"/>
                  <a:pt x="207" y="208"/>
                </a:cubicBezTo>
                <a:cubicBezTo>
                  <a:pt x="207" y="208"/>
                  <a:pt x="207" y="208"/>
                  <a:pt x="207" y="208"/>
                </a:cubicBezTo>
                <a:cubicBezTo>
                  <a:pt x="220" y="211"/>
                  <a:pt x="232" y="215"/>
                  <a:pt x="245" y="219"/>
                </a:cubicBezTo>
                <a:cubicBezTo>
                  <a:pt x="216" y="251"/>
                  <a:pt x="216" y="251"/>
                  <a:pt x="216" y="251"/>
                </a:cubicBezTo>
                <a:cubicBezTo>
                  <a:pt x="212" y="250"/>
                  <a:pt x="208" y="250"/>
                  <a:pt x="205" y="250"/>
                </a:cubicBezTo>
                <a:cubicBezTo>
                  <a:pt x="189" y="250"/>
                  <a:pt x="173" y="253"/>
                  <a:pt x="159" y="259"/>
                </a:cubicBezTo>
                <a:cubicBezTo>
                  <a:pt x="111" y="277"/>
                  <a:pt x="77" y="323"/>
                  <a:pt x="77" y="377"/>
                </a:cubicBezTo>
                <a:cubicBezTo>
                  <a:pt x="77" y="448"/>
                  <a:pt x="134" y="505"/>
                  <a:pt x="205" y="505"/>
                </a:cubicBezTo>
                <a:cubicBezTo>
                  <a:pt x="239" y="505"/>
                  <a:pt x="270" y="491"/>
                  <a:pt x="293" y="469"/>
                </a:cubicBezTo>
                <a:cubicBezTo>
                  <a:pt x="308" y="455"/>
                  <a:pt x="319" y="437"/>
                  <a:pt x="325" y="417"/>
                </a:cubicBezTo>
                <a:cubicBezTo>
                  <a:pt x="330" y="405"/>
                  <a:pt x="332" y="392"/>
                  <a:pt x="332" y="378"/>
                </a:cubicBezTo>
                <a:cubicBezTo>
                  <a:pt x="334" y="378"/>
                  <a:pt x="334" y="378"/>
                  <a:pt x="334" y="378"/>
                </a:cubicBezTo>
                <a:cubicBezTo>
                  <a:pt x="349" y="378"/>
                  <a:pt x="369" y="378"/>
                  <a:pt x="369" y="378"/>
                </a:cubicBezTo>
                <a:cubicBezTo>
                  <a:pt x="366" y="391"/>
                  <a:pt x="363" y="404"/>
                  <a:pt x="360" y="416"/>
                </a:cubicBezTo>
                <a:cubicBezTo>
                  <a:pt x="356" y="436"/>
                  <a:pt x="351" y="456"/>
                  <a:pt x="347" y="476"/>
                </a:cubicBezTo>
                <a:cubicBezTo>
                  <a:pt x="341" y="500"/>
                  <a:pt x="354" y="521"/>
                  <a:pt x="377" y="526"/>
                </a:cubicBezTo>
                <a:cubicBezTo>
                  <a:pt x="380" y="526"/>
                  <a:pt x="382" y="527"/>
                  <a:pt x="385" y="527"/>
                </a:cubicBezTo>
                <a:cubicBezTo>
                  <a:pt x="403" y="527"/>
                  <a:pt x="418" y="514"/>
                  <a:pt x="423" y="494"/>
                </a:cubicBezTo>
                <a:cubicBezTo>
                  <a:pt x="432" y="452"/>
                  <a:pt x="444" y="398"/>
                  <a:pt x="456" y="344"/>
                </a:cubicBezTo>
                <a:cubicBezTo>
                  <a:pt x="458" y="330"/>
                  <a:pt x="455" y="317"/>
                  <a:pt x="447" y="308"/>
                </a:cubicBezTo>
                <a:cubicBezTo>
                  <a:pt x="439" y="299"/>
                  <a:pt x="426" y="294"/>
                  <a:pt x="412" y="295"/>
                </a:cubicBezTo>
                <a:close/>
                <a:moveTo>
                  <a:pt x="289" y="207"/>
                </a:moveTo>
                <a:cubicBezTo>
                  <a:pt x="271" y="201"/>
                  <a:pt x="271" y="201"/>
                  <a:pt x="271" y="201"/>
                </a:cubicBezTo>
                <a:cubicBezTo>
                  <a:pt x="265" y="200"/>
                  <a:pt x="260" y="198"/>
                  <a:pt x="255" y="197"/>
                </a:cubicBezTo>
                <a:cubicBezTo>
                  <a:pt x="240" y="192"/>
                  <a:pt x="226" y="188"/>
                  <a:pt x="212" y="184"/>
                </a:cubicBezTo>
                <a:cubicBezTo>
                  <a:pt x="204" y="182"/>
                  <a:pt x="195" y="186"/>
                  <a:pt x="190" y="191"/>
                </a:cubicBezTo>
                <a:cubicBezTo>
                  <a:pt x="184" y="196"/>
                  <a:pt x="178" y="202"/>
                  <a:pt x="172" y="208"/>
                </a:cubicBezTo>
                <a:cubicBezTo>
                  <a:pt x="167" y="213"/>
                  <a:pt x="162" y="218"/>
                  <a:pt x="157" y="223"/>
                </a:cubicBezTo>
                <a:cubicBezTo>
                  <a:pt x="149" y="231"/>
                  <a:pt x="142" y="231"/>
                  <a:pt x="135" y="225"/>
                </a:cubicBezTo>
                <a:cubicBezTo>
                  <a:pt x="132" y="222"/>
                  <a:pt x="130" y="218"/>
                  <a:pt x="130" y="215"/>
                </a:cubicBezTo>
                <a:cubicBezTo>
                  <a:pt x="130" y="211"/>
                  <a:pt x="132" y="206"/>
                  <a:pt x="137" y="202"/>
                </a:cubicBezTo>
                <a:cubicBezTo>
                  <a:pt x="144" y="195"/>
                  <a:pt x="151" y="188"/>
                  <a:pt x="158" y="181"/>
                </a:cubicBezTo>
                <a:cubicBezTo>
                  <a:pt x="167" y="172"/>
                  <a:pt x="175" y="163"/>
                  <a:pt x="184" y="155"/>
                </a:cubicBezTo>
                <a:cubicBezTo>
                  <a:pt x="190" y="149"/>
                  <a:pt x="196" y="147"/>
                  <a:pt x="204" y="150"/>
                </a:cubicBezTo>
                <a:cubicBezTo>
                  <a:pt x="254" y="165"/>
                  <a:pt x="311" y="182"/>
                  <a:pt x="368" y="199"/>
                </a:cubicBezTo>
                <a:cubicBezTo>
                  <a:pt x="376" y="202"/>
                  <a:pt x="381" y="206"/>
                  <a:pt x="382" y="211"/>
                </a:cubicBezTo>
                <a:cubicBezTo>
                  <a:pt x="383" y="215"/>
                  <a:pt x="381" y="221"/>
                  <a:pt x="375" y="227"/>
                </a:cubicBezTo>
                <a:cubicBezTo>
                  <a:pt x="352" y="251"/>
                  <a:pt x="328" y="275"/>
                  <a:pt x="305" y="297"/>
                </a:cubicBezTo>
                <a:cubicBezTo>
                  <a:pt x="290" y="280"/>
                  <a:pt x="271" y="266"/>
                  <a:pt x="249" y="258"/>
                </a:cubicBezTo>
                <a:cubicBezTo>
                  <a:pt x="249" y="258"/>
                  <a:pt x="248" y="258"/>
                  <a:pt x="248" y="258"/>
                </a:cubicBezTo>
                <a:cubicBezTo>
                  <a:pt x="246" y="257"/>
                  <a:pt x="245" y="257"/>
                  <a:pt x="243" y="256"/>
                </a:cubicBezTo>
                <a:lnTo>
                  <a:pt x="289" y="207"/>
                </a:lnTo>
                <a:close/>
                <a:moveTo>
                  <a:pt x="279" y="448"/>
                </a:moveTo>
                <a:cubicBezTo>
                  <a:pt x="267" y="461"/>
                  <a:pt x="251" y="471"/>
                  <a:pt x="232" y="476"/>
                </a:cubicBezTo>
                <a:cubicBezTo>
                  <a:pt x="224" y="479"/>
                  <a:pt x="214" y="480"/>
                  <a:pt x="205" y="480"/>
                </a:cubicBezTo>
                <a:cubicBezTo>
                  <a:pt x="148" y="480"/>
                  <a:pt x="102" y="434"/>
                  <a:pt x="102" y="377"/>
                </a:cubicBezTo>
                <a:cubicBezTo>
                  <a:pt x="102" y="352"/>
                  <a:pt x="111" y="328"/>
                  <a:pt x="127" y="310"/>
                </a:cubicBezTo>
                <a:cubicBezTo>
                  <a:pt x="139" y="296"/>
                  <a:pt x="155" y="286"/>
                  <a:pt x="173" y="280"/>
                </a:cubicBezTo>
                <a:cubicBezTo>
                  <a:pt x="183" y="276"/>
                  <a:pt x="193" y="275"/>
                  <a:pt x="205" y="275"/>
                </a:cubicBezTo>
                <a:cubicBezTo>
                  <a:pt x="216" y="275"/>
                  <a:pt x="227" y="277"/>
                  <a:pt x="238" y="280"/>
                </a:cubicBezTo>
                <a:cubicBezTo>
                  <a:pt x="238" y="280"/>
                  <a:pt x="239" y="280"/>
                  <a:pt x="239" y="280"/>
                </a:cubicBezTo>
                <a:cubicBezTo>
                  <a:pt x="239" y="281"/>
                  <a:pt x="239" y="281"/>
                  <a:pt x="239" y="281"/>
                </a:cubicBezTo>
                <a:cubicBezTo>
                  <a:pt x="240" y="281"/>
                  <a:pt x="240" y="281"/>
                  <a:pt x="240" y="281"/>
                </a:cubicBezTo>
                <a:cubicBezTo>
                  <a:pt x="264" y="290"/>
                  <a:pt x="284" y="307"/>
                  <a:pt x="296" y="330"/>
                </a:cubicBezTo>
                <a:cubicBezTo>
                  <a:pt x="296" y="330"/>
                  <a:pt x="296" y="330"/>
                  <a:pt x="296" y="330"/>
                </a:cubicBezTo>
                <a:cubicBezTo>
                  <a:pt x="303" y="344"/>
                  <a:pt x="307" y="360"/>
                  <a:pt x="307" y="377"/>
                </a:cubicBezTo>
                <a:cubicBezTo>
                  <a:pt x="307" y="405"/>
                  <a:pt x="297" y="429"/>
                  <a:pt x="279" y="448"/>
                </a:cubicBezTo>
                <a:close/>
                <a:moveTo>
                  <a:pt x="432" y="339"/>
                </a:moveTo>
                <a:cubicBezTo>
                  <a:pt x="421" y="393"/>
                  <a:pt x="408" y="447"/>
                  <a:pt x="399" y="489"/>
                </a:cubicBezTo>
                <a:cubicBezTo>
                  <a:pt x="397" y="499"/>
                  <a:pt x="390" y="504"/>
                  <a:pt x="382" y="502"/>
                </a:cubicBezTo>
                <a:cubicBezTo>
                  <a:pt x="368" y="499"/>
                  <a:pt x="369" y="488"/>
                  <a:pt x="370" y="481"/>
                </a:cubicBezTo>
                <a:cubicBezTo>
                  <a:pt x="375" y="461"/>
                  <a:pt x="397" y="352"/>
                  <a:pt x="397" y="352"/>
                </a:cubicBezTo>
                <a:cubicBezTo>
                  <a:pt x="382" y="353"/>
                  <a:pt x="382" y="353"/>
                  <a:pt x="382" y="353"/>
                </a:cubicBezTo>
                <a:cubicBezTo>
                  <a:pt x="377" y="353"/>
                  <a:pt x="333" y="355"/>
                  <a:pt x="332" y="355"/>
                </a:cubicBezTo>
                <a:cubicBezTo>
                  <a:pt x="332" y="354"/>
                  <a:pt x="332" y="353"/>
                  <a:pt x="331" y="353"/>
                </a:cubicBezTo>
                <a:cubicBezTo>
                  <a:pt x="331" y="353"/>
                  <a:pt x="331" y="353"/>
                  <a:pt x="331" y="353"/>
                </a:cubicBezTo>
                <a:cubicBezTo>
                  <a:pt x="329" y="344"/>
                  <a:pt x="327" y="335"/>
                  <a:pt x="323" y="327"/>
                </a:cubicBezTo>
                <a:cubicBezTo>
                  <a:pt x="325" y="327"/>
                  <a:pt x="325" y="327"/>
                  <a:pt x="325" y="327"/>
                </a:cubicBezTo>
                <a:cubicBezTo>
                  <a:pt x="346" y="325"/>
                  <a:pt x="360" y="324"/>
                  <a:pt x="374" y="322"/>
                </a:cubicBezTo>
                <a:cubicBezTo>
                  <a:pt x="386" y="322"/>
                  <a:pt x="398" y="321"/>
                  <a:pt x="414" y="319"/>
                </a:cubicBezTo>
                <a:cubicBezTo>
                  <a:pt x="421" y="319"/>
                  <a:pt x="426" y="320"/>
                  <a:pt x="429" y="324"/>
                </a:cubicBezTo>
                <a:cubicBezTo>
                  <a:pt x="432" y="327"/>
                  <a:pt x="433" y="333"/>
                  <a:pt x="432" y="339"/>
                </a:cubicBezTo>
                <a:close/>
                <a:moveTo>
                  <a:pt x="411" y="49"/>
                </a:moveTo>
                <a:cubicBezTo>
                  <a:pt x="411" y="49"/>
                  <a:pt x="411" y="49"/>
                  <a:pt x="411" y="49"/>
                </a:cubicBezTo>
                <a:cubicBezTo>
                  <a:pt x="375" y="49"/>
                  <a:pt x="347" y="77"/>
                  <a:pt x="347" y="112"/>
                </a:cubicBezTo>
                <a:cubicBezTo>
                  <a:pt x="347" y="129"/>
                  <a:pt x="354" y="146"/>
                  <a:pt x="366" y="159"/>
                </a:cubicBezTo>
                <a:cubicBezTo>
                  <a:pt x="378" y="171"/>
                  <a:pt x="394" y="178"/>
                  <a:pt x="411" y="178"/>
                </a:cubicBezTo>
                <a:cubicBezTo>
                  <a:pt x="411" y="178"/>
                  <a:pt x="411" y="178"/>
                  <a:pt x="411" y="178"/>
                </a:cubicBezTo>
                <a:cubicBezTo>
                  <a:pt x="428" y="177"/>
                  <a:pt x="444" y="170"/>
                  <a:pt x="457" y="157"/>
                </a:cubicBezTo>
                <a:cubicBezTo>
                  <a:pt x="469" y="145"/>
                  <a:pt x="476" y="128"/>
                  <a:pt x="476" y="112"/>
                </a:cubicBezTo>
                <a:cubicBezTo>
                  <a:pt x="475" y="77"/>
                  <a:pt x="446" y="49"/>
                  <a:pt x="411" y="49"/>
                </a:cubicBezTo>
                <a:close/>
                <a:moveTo>
                  <a:pt x="383" y="142"/>
                </a:moveTo>
                <a:cubicBezTo>
                  <a:pt x="375" y="134"/>
                  <a:pt x="371" y="123"/>
                  <a:pt x="371" y="112"/>
                </a:cubicBezTo>
                <a:cubicBezTo>
                  <a:pt x="371" y="90"/>
                  <a:pt x="388" y="73"/>
                  <a:pt x="411" y="73"/>
                </a:cubicBezTo>
                <a:cubicBezTo>
                  <a:pt x="433" y="73"/>
                  <a:pt x="451" y="90"/>
                  <a:pt x="452" y="112"/>
                </a:cubicBezTo>
                <a:cubicBezTo>
                  <a:pt x="452" y="122"/>
                  <a:pt x="447" y="133"/>
                  <a:pt x="440" y="141"/>
                </a:cubicBezTo>
                <a:cubicBezTo>
                  <a:pt x="432" y="149"/>
                  <a:pt x="421" y="153"/>
                  <a:pt x="411" y="154"/>
                </a:cubicBezTo>
                <a:cubicBezTo>
                  <a:pt x="401" y="153"/>
                  <a:pt x="391" y="149"/>
                  <a:pt x="383" y="142"/>
                </a:cubicBezTo>
                <a:close/>
              </a:path>
            </a:pathLst>
          </a:custGeom>
          <a:solidFill>
            <a:schemeClr val="bg1"/>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dirty="0">
              <a:solidFill>
                <a:schemeClr val="accent1"/>
              </a:solidFill>
              <a:latin typeface="Arial"/>
              <a:ea typeface="Arial"/>
              <a:cs typeface="Arial"/>
              <a:sym typeface="Arial"/>
            </a:endParaRPr>
          </a:p>
        </p:txBody>
      </p:sp>
      <p:sp>
        <p:nvSpPr>
          <p:cNvPr id="119" name="TextBox 118">
            <a:extLst>
              <a:ext uri="{FF2B5EF4-FFF2-40B4-BE49-F238E27FC236}">
                <a16:creationId xmlns:a16="http://schemas.microsoft.com/office/drawing/2014/main" id="{B668ECA1-2261-4961-BA5F-F9DC00E60DAF}"/>
              </a:ext>
            </a:extLst>
          </p:cNvPr>
          <p:cNvSpPr txBox="1"/>
          <p:nvPr/>
        </p:nvSpPr>
        <p:spPr>
          <a:xfrm>
            <a:off x="486893" y="2063919"/>
            <a:ext cx="5864806" cy="553998"/>
          </a:xfrm>
          <a:prstGeom prst="rect">
            <a:avLst/>
          </a:prstGeom>
          <a:solidFill>
            <a:schemeClr val="bg2"/>
          </a:solidFill>
        </p:spPr>
        <p:txBody>
          <a:bodyPr wrap="square" rtlCol="0">
            <a:spAutoFit/>
          </a:bodyPr>
          <a:lstStyle/>
          <a:p>
            <a:pPr marL="171450" indent="-171450">
              <a:buFont typeface="Arial" panose="020B0604020202020204" pitchFamily="34" charset="0"/>
              <a:buChar char="•"/>
            </a:pPr>
            <a:r>
              <a:rPr lang="en-AU" sz="1000" b="1" dirty="0"/>
              <a:t>Who will be participating:</a:t>
            </a:r>
            <a:r>
              <a:rPr lang="en-AU" sz="1000" dirty="0"/>
              <a:t> all new starters </a:t>
            </a:r>
          </a:p>
          <a:p>
            <a:pPr marL="171450" indent="-171450">
              <a:buFont typeface="Arial" panose="020B0604020202020204" pitchFamily="34" charset="0"/>
              <a:buChar char="•"/>
            </a:pPr>
            <a:r>
              <a:rPr lang="en-AU" sz="1000" b="1" dirty="0"/>
              <a:t>Who will deliver the induction: </a:t>
            </a:r>
            <a:r>
              <a:rPr lang="en-AU" sz="1000" dirty="0"/>
              <a:t>Modular delivery with ELT guest speakers, SMEs, Leaders, People team, those with a lived experience with disability</a:t>
            </a:r>
            <a:r>
              <a:rPr lang="en-AU" sz="900" dirty="0"/>
              <a:t>.</a:t>
            </a:r>
          </a:p>
        </p:txBody>
      </p:sp>
      <p:sp>
        <p:nvSpPr>
          <p:cNvPr id="145" name="TextBox 144">
            <a:extLst>
              <a:ext uri="{FF2B5EF4-FFF2-40B4-BE49-F238E27FC236}">
                <a16:creationId xmlns:a16="http://schemas.microsoft.com/office/drawing/2014/main" id="{35BA2C82-1F02-4246-8F79-C25E26EB75F7}"/>
              </a:ext>
            </a:extLst>
          </p:cNvPr>
          <p:cNvSpPr txBox="1"/>
          <p:nvPr/>
        </p:nvSpPr>
        <p:spPr>
          <a:xfrm>
            <a:off x="907738" y="4666315"/>
            <a:ext cx="1348154" cy="461665"/>
          </a:xfrm>
          <a:prstGeom prst="rect">
            <a:avLst/>
          </a:prstGeom>
          <a:noFill/>
        </p:spPr>
        <p:txBody>
          <a:bodyPr wrap="square" rtlCol="0">
            <a:spAutoFit/>
          </a:bodyPr>
          <a:lstStyle/>
          <a:p>
            <a:pPr algn="ctr"/>
            <a:r>
              <a:rPr lang="en-US" sz="1200" b="1" dirty="0">
                <a:solidFill>
                  <a:schemeClr val="bg1"/>
                </a:solidFill>
                <a:ea typeface="Arial"/>
                <a:cs typeface="Arial"/>
                <a:sym typeface="Arial"/>
              </a:rPr>
              <a:t>Welcome to the Commission </a:t>
            </a:r>
            <a:endParaRPr lang="en-AU" sz="1200" dirty="0">
              <a:solidFill>
                <a:schemeClr val="bg1"/>
              </a:solidFill>
            </a:endParaRPr>
          </a:p>
        </p:txBody>
      </p:sp>
      <p:sp>
        <p:nvSpPr>
          <p:cNvPr id="28" name="TextBox 27">
            <a:extLst>
              <a:ext uri="{FF2B5EF4-FFF2-40B4-BE49-F238E27FC236}">
                <a16:creationId xmlns:a16="http://schemas.microsoft.com/office/drawing/2014/main" id="{006DD859-376B-40B3-A87C-30E93922F3FA}"/>
              </a:ext>
            </a:extLst>
          </p:cNvPr>
          <p:cNvSpPr txBox="1"/>
          <p:nvPr/>
        </p:nvSpPr>
        <p:spPr>
          <a:xfrm>
            <a:off x="10504152" y="3296579"/>
            <a:ext cx="1237850" cy="2616101"/>
          </a:xfrm>
          <a:prstGeom prst="rect">
            <a:avLst/>
          </a:prstGeom>
          <a:noFill/>
          <a:ln>
            <a:solidFill>
              <a:schemeClr val="bg2">
                <a:lumMod val="90000"/>
              </a:schemeClr>
            </a:solidFill>
          </a:ln>
        </p:spPr>
        <p:txBody>
          <a:bodyPr wrap="square" rtlCol="0">
            <a:spAutoFit/>
          </a:bodyPr>
          <a:lstStyle/>
          <a:p>
            <a:r>
              <a:rPr lang="en-AU" sz="1200" b="1" dirty="0">
                <a:solidFill>
                  <a:schemeClr val="bg2">
                    <a:lumMod val="25000"/>
                  </a:schemeClr>
                </a:solidFill>
              </a:rPr>
              <a:t>Post induction</a:t>
            </a:r>
          </a:p>
          <a:p>
            <a:r>
              <a:rPr lang="en-AU" sz="1000" dirty="0"/>
              <a:t>Follow</a:t>
            </a:r>
            <a:r>
              <a:rPr lang="en-AU" sz="1200" dirty="0"/>
              <a:t> </a:t>
            </a:r>
            <a:r>
              <a:rPr lang="en-AU" sz="1000" dirty="0"/>
              <a:t>up </a:t>
            </a:r>
            <a:r>
              <a:rPr lang="en-AU" sz="1000" b="1" dirty="0"/>
              <a:t>new starters </a:t>
            </a:r>
            <a:r>
              <a:rPr lang="en-AU" sz="1000" dirty="0"/>
              <a:t>with a survey to capture insights and data on their experience</a:t>
            </a:r>
          </a:p>
          <a:p>
            <a:endParaRPr lang="en-AU" sz="1000" dirty="0"/>
          </a:p>
          <a:p>
            <a:r>
              <a:rPr lang="en-AU" sz="1000" dirty="0"/>
              <a:t>Create a </a:t>
            </a:r>
            <a:r>
              <a:rPr lang="en-AU" sz="1000" b="1" dirty="0"/>
              <a:t>virtual community </a:t>
            </a:r>
            <a:r>
              <a:rPr lang="en-AU" sz="1000" dirty="0"/>
              <a:t>for new starters to continue connecting and asking questions </a:t>
            </a:r>
          </a:p>
          <a:p>
            <a:endParaRPr lang="en-AU" sz="1000" dirty="0"/>
          </a:p>
          <a:p>
            <a:r>
              <a:rPr lang="en-AU" sz="1000" b="1" dirty="0"/>
              <a:t>Assign a buddy </a:t>
            </a:r>
            <a:r>
              <a:rPr lang="en-AU" sz="1000" dirty="0"/>
              <a:t>to connect with beyond the session </a:t>
            </a:r>
          </a:p>
        </p:txBody>
      </p:sp>
      <p:sp>
        <p:nvSpPr>
          <p:cNvPr id="44" name="TextBox 43">
            <a:extLst>
              <a:ext uri="{FF2B5EF4-FFF2-40B4-BE49-F238E27FC236}">
                <a16:creationId xmlns:a16="http://schemas.microsoft.com/office/drawing/2014/main" id="{C1D3BDBD-47FA-4368-B46D-7A60FBE8750A}"/>
              </a:ext>
            </a:extLst>
          </p:cNvPr>
          <p:cNvSpPr txBox="1"/>
          <p:nvPr/>
        </p:nvSpPr>
        <p:spPr>
          <a:xfrm>
            <a:off x="7870334" y="4735607"/>
            <a:ext cx="1160141" cy="646331"/>
          </a:xfrm>
          <a:prstGeom prst="rect">
            <a:avLst/>
          </a:prstGeom>
          <a:noFill/>
        </p:spPr>
        <p:txBody>
          <a:bodyPr wrap="square" rtlCol="0">
            <a:spAutoFit/>
          </a:bodyPr>
          <a:lstStyle/>
          <a:p>
            <a:pPr algn="ctr"/>
            <a:r>
              <a:rPr lang="en-AU" sz="1200" b="1" dirty="0">
                <a:solidFill>
                  <a:schemeClr val="bg1"/>
                </a:solidFill>
              </a:rPr>
              <a:t>Building culture and connection </a:t>
            </a:r>
          </a:p>
        </p:txBody>
      </p:sp>
      <p:sp>
        <p:nvSpPr>
          <p:cNvPr id="46" name="Slide Number Placeholder 7">
            <a:extLst>
              <a:ext uri="{FF2B5EF4-FFF2-40B4-BE49-F238E27FC236}">
                <a16:creationId xmlns:a16="http://schemas.microsoft.com/office/drawing/2014/main" id="{EBF3276F-BD53-4DDB-94DE-AF9EF9E5145A}"/>
              </a:ext>
            </a:extLst>
          </p:cNvPr>
          <p:cNvSpPr txBox="1">
            <a:spLocks/>
          </p:cNvSpPr>
          <p:nvPr/>
        </p:nvSpPr>
        <p:spPr>
          <a:xfrm>
            <a:off x="10967668" y="6355784"/>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38</a:t>
            </a:fld>
            <a:endParaRPr lang="en-US" dirty="0"/>
          </a:p>
        </p:txBody>
      </p:sp>
      <p:sp>
        <p:nvSpPr>
          <p:cNvPr id="47" name="Footer Placeholder 1">
            <a:extLst>
              <a:ext uri="{FF2B5EF4-FFF2-40B4-BE49-F238E27FC236}">
                <a16:creationId xmlns:a16="http://schemas.microsoft.com/office/drawing/2014/main" id="{6E407800-A685-4A99-9B69-967A36FCD380}"/>
              </a:ext>
            </a:extLst>
          </p:cNvPr>
          <p:cNvSpPr>
            <a:spLocks noGrp="1"/>
          </p:cNvSpPr>
          <p:nvPr>
            <p:ph type="ftr" sz="quarter" idx="11"/>
          </p:nvPr>
        </p:nvSpPr>
        <p:spPr>
          <a:xfrm>
            <a:off x="1148374" y="6534944"/>
            <a:ext cx="6783813" cy="180000"/>
          </a:xfrm>
        </p:spPr>
        <p:txBody>
          <a:bodyPr/>
          <a:lstStyle/>
          <a:p>
            <a:pPr algn="ctr"/>
            <a:r>
              <a:rPr lang="en-AU" smtClean="0"/>
              <a:t>NDIS Commission Workforce Plan 2023-2028</a:t>
            </a:r>
            <a:endParaRPr lang="en-US" dirty="0"/>
          </a:p>
        </p:txBody>
      </p:sp>
      <p:sp>
        <p:nvSpPr>
          <p:cNvPr id="49" name="TextBox 48">
            <a:extLst>
              <a:ext uri="{FF2B5EF4-FFF2-40B4-BE49-F238E27FC236}">
                <a16:creationId xmlns:a16="http://schemas.microsoft.com/office/drawing/2014/main" id="{9D0EB5FF-8468-4ACD-A17F-652B36AD9FFA}"/>
              </a:ext>
            </a:extLst>
          </p:cNvPr>
          <p:cNvSpPr txBox="1"/>
          <p:nvPr/>
        </p:nvSpPr>
        <p:spPr>
          <a:xfrm>
            <a:off x="62499" y="5875086"/>
            <a:ext cx="2424073" cy="954107"/>
          </a:xfrm>
          <a:prstGeom prst="rect">
            <a:avLst/>
          </a:prstGeom>
          <a:noFill/>
          <a:ln>
            <a:solidFill>
              <a:schemeClr val="bg2"/>
            </a:solidFill>
          </a:ln>
        </p:spPr>
        <p:txBody>
          <a:bodyPr wrap="square">
            <a:spAutoFit/>
          </a:bodyPr>
          <a:lstStyle/>
          <a:p>
            <a:pPr marL="0" indent="0">
              <a:buFont typeface="Arial" panose="020B0604020202020204" pitchFamily="34" charset="0"/>
              <a:buNone/>
            </a:pPr>
            <a:r>
              <a:rPr lang="en-AU" sz="800" b="0" dirty="0">
                <a:latin typeface="Calibri" panose="020F0502020204030204"/>
                <a:cs typeface="Calibri Light"/>
              </a:rPr>
              <a:t>Overtime, with this implementation of further opportunities the commission can incorporate other initiatives into the induction program. This could include </a:t>
            </a:r>
            <a:r>
              <a:rPr lang="en-AU" sz="800" b="1" dirty="0">
                <a:solidFill>
                  <a:schemeClr val="accent6"/>
                </a:solidFill>
                <a:latin typeface="Calibri" panose="020F0502020204030204"/>
                <a:cs typeface="Calibri Light"/>
              </a:rPr>
              <a:t>DIW1</a:t>
            </a:r>
            <a:r>
              <a:rPr lang="en-AU" sz="800" b="0" dirty="0">
                <a:latin typeface="Calibri" panose="020F0502020204030204"/>
                <a:cs typeface="Calibri Light"/>
              </a:rPr>
              <a:t>, having a wellness module where DIW Officers introduce the </a:t>
            </a:r>
            <a:r>
              <a:rPr lang="en-AU" sz="800" b="0" dirty="0" smtClean="0">
                <a:latin typeface="Calibri" panose="020F0502020204030204"/>
                <a:cs typeface="Calibri Light"/>
              </a:rPr>
              <a:t>Commission’s </a:t>
            </a:r>
            <a:r>
              <a:rPr lang="en-AU" sz="800" b="0" dirty="0">
                <a:latin typeface="Calibri" panose="020F0502020204030204"/>
                <a:cs typeface="Calibri Light"/>
              </a:rPr>
              <a:t>strategic direction for diversity and any ongoing initiatives around Diversity, Inclusion and Wellbeing.</a:t>
            </a:r>
          </a:p>
        </p:txBody>
      </p:sp>
      <p:sp>
        <p:nvSpPr>
          <p:cNvPr id="48" name="Speech Bubble: Rectangle 47">
            <a:extLst>
              <a:ext uri="{FF2B5EF4-FFF2-40B4-BE49-F238E27FC236}">
                <a16:creationId xmlns:a16="http://schemas.microsoft.com/office/drawing/2014/main" id="{B3657CC0-1FC7-4072-91F9-A181C74DE361}"/>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50" name="Group 49">
            <a:extLst>
              <a:ext uri="{FF2B5EF4-FFF2-40B4-BE49-F238E27FC236}">
                <a16:creationId xmlns:a16="http://schemas.microsoft.com/office/drawing/2014/main" id="{E0C2F3BE-61EF-475D-A447-6A1C6E7D4C76}"/>
              </a:ext>
            </a:extLst>
          </p:cNvPr>
          <p:cNvGrpSpPr/>
          <p:nvPr/>
        </p:nvGrpSpPr>
        <p:grpSpPr>
          <a:xfrm>
            <a:off x="10609741" y="1048190"/>
            <a:ext cx="396000" cy="376186"/>
            <a:chOff x="627146" y="1619763"/>
            <a:chExt cx="396000" cy="396000"/>
          </a:xfrm>
        </p:grpSpPr>
        <p:sp>
          <p:nvSpPr>
            <p:cNvPr id="53" name="Rectangle 52">
              <a:extLst>
                <a:ext uri="{FF2B5EF4-FFF2-40B4-BE49-F238E27FC236}">
                  <a16:creationId xmlns:a16="http://schemas.microsoft.com/office/drawing/2014/main" id="{D3DDFCF2-2776-4F4F-8E8D-F5030B1B8414}"/>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4" name="Freeform 118">
              <a:extLst>
                <a:ext uri="{FF2B5EF4-FFF2-40B4-BE49-F238E27FC236}">
                  <a16:creationId xmlns:a16="http://schemas.microsoft.com/office/drawing/2014/main" id="{5633130C-5549-4D9F-BBDE-6CA56689EB0E}"/>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5" name="Freeform 119">
              <a:extLst>
                <a:ext uri="{FF2B5EF4-FFF2-40B4-BE49-F238E27FC236}">
                  <a16:creationId xmlns:a16="http://schemas.microsoft.com/office/drawing/2014/main" id="{54397E88-AB9B-4C41-A661-BD8864B16614}"/>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6" name="Freeform 120">
              <a:extLst>
                <a:ext uri="{FF2B5EF4-FFF2-40B4-BE49-F238E27FC236}">
                  <a16:creationId xmlns:a16="http://schemas.microsoft.com/office/drawing/2014/main" id="{53F4572E-D024-4A6E-8CDC-2A9552A9A671}"/>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7" name="Freeform 121">
              <a:extLst>
                <a:ext uri="{FF2B5EF4-FFF2-40B4-BE49-F238E27FC236}">
                  <a16:creationId xmlns:a16="http://schemas.microsoft.com/office/drawing/2014/main" id="{5E893CBF-6729-48AE-A718-B1FAFF030B0C}"/>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8" name="Freeform 122">
              <a:extLst>
                <a:ext uri="{FF2B5EF4-FFF2-40B4-BE49-F238E27FC236}">
                  <a16:creationId xmlns:a16="http://schemas.microsoft.com/office/drawing/2014/main" id="{9602EC01-E001-4D19-8105-E2494AC3F1FB}"/>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9" name="Freeform 124">
              <a:extLst>
                <a:ext uri="{FF2B5EF4-FFF2-40B4-BE49-F238E27FC236}">
                  <a16:creationId xmlns:a16="http://schemas.microsoft.com/office/drawing/2014/main" id="{587C44E6-E36A-4095-A96B-F6EB0D6CA318}"/>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0" name="Freeform 128">
              <a:extLst>
                <a:ext uri="{FF2B5EF4-FFF2-40B4-BE49-F238E27FC236}">
                  <a16:creationId xmlns:a16="http://schemas.microsoft.com/office/drawing/2014/main" id="{EA386E31-EC70-4AAF-A32F-B23BF796D750}"/>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2" name="Freeform 129">
              <a:extLst>
                <a:ext uri="{FF2B5EF4-FFF2-40B4-BE49-F238E27FC236}">
                  <a16:creationId xmlns:a16="http://schemas.microsoft.com/office/drawing/2014/main" id="{975003F2-D5A6-4EE0-B2F0-9F75EFD1DB57}"/>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3" name="Freeform 130">
              <a:extLst>
                <a:ext uri="{FF2B5EF4-FFF2-40B4-BE49-F238E27FC236}">
                  <a16:creationId xmlns:a16="http://schemas.microsoft.com/office/drawing/2014/main" id="{9947C14C-3ECF-4AC5-9F02-A7E82C86BCB3}"/>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4" name="Freeform 131">
              <a:extLst>
                <a:ext uri="{FF2B5EF4-FFF2-40B4-BE49-F238E27FC236}">
                  <a16:creationId xmlns:a16="http://schemas.microsoft.com/office/drawing/2014/main" id="{B886AD58-0A48-468D-8173-AB709EB553B8}"/>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5" name="Freeform 133">
              <a:extLst>
                <a:ext uri="{FF2B5EF4-FFF2-40B4-BE49-F238E27FC236}">
                  <a16:creationId xmlns:a16="http://schemas.microsoft.com/office/drawing/2014/main" id="{0316DF88-C8A6-4445-A829-DA2D87782FBC}"/>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8" name="Freeform 134">
              <a:extLst>
                <a:ext uri="{FF2B5EF4-FFF2-40B4-BE49-F238E27FC236}">
                  <a16:creationId xmlns:a16="http://schemas.microsoft.com/office/drawing/2014/main" id="{2834EF68-4C4A-4CA3-A975-9DA1D6526F06}"/>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1" name="Freeform 135">
              <a:extLst>
                <a:ext uri="{FF2B5EF4-FFF2-40B4-BE49-F238E27FC236}">
                  <a16:creationId xmlns:a16="http://schemas.microsoft.com/office/drawing/2014/main" id="{F9370D3E-ED74-4B37-88F1-459BE6B6829C}"/>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72" name="Google Shape;162;p4">
            <a:extLst>
              <a:ext uri="{FF2B5EF4-FFF2-40B4-BE49-F238E27FC236}">
                <a16:creationId xmlns:a16="http://schemas.microsoft.com/office/drawing/2014/main" id="{3652E165-6513-4C86-AF1B-2D616CD594EE}"/>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73" name="Freeform 37">
            <a:extLst>
              <a:ext uri="{FF2B5EF4-FFF2-40B4-BE49-F238E27FC236}">
                <a16:creationId xmlns:a16="http://schemas.microsoft.com/office/drawing/2014/main" id="{A82DA203-B6A9-43DB-804D-8BC2CF0F280F}"/>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74" name="TextBox 73">
            <a:extLst>
              <a:ext uri="{FF2B5EF4-FFF2-40B4-BE49-F238E27FC236}">
                <a16:creationId xmlns:a16="http://schemas.microsoft.com/office/drawing/2014/main" id="{EB9EA958-01EF-498A-B810-133BBA82673E}"/>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14306401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 name="Graphic 144" descr="decorative">
            <a:extLst>
              <a:ext uri="{FF2B5EF4-FFF2-40B4-BE49-F238E27FC236}">
                <a16:creationId xmlns:a16="http://schemas.microsoft.com/office/drawing/2014/main" id="{E7D1CFFE-0FA2-4598-8F3D-FED4D94FF048}"/>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flipH="1" flipV="1">
            <a:off x="427303" y="5504659"/>
            <a:ext cx="1659065" cy="1191856"/>
          </a:xfrm>
          <a:prstGeom prst="rect">
            <a:avLst/>
          </a:prstGeom>
        </p:spPr>
      </p:pic>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26522" y="387916"/>
            <a:ext cx="8369867" cy="992778"/>
          </a:xfrm>
        </p:spPr>
        <p:txBody>
          <a:bodyPr>
            <a:normAutofit fontScale="90000"/>
          </a:bodyPr>
          <a:lstStyle/>
          <a:p>
            <a:pPr>
              <a:lnSpc>
                <a:spcPct val="100000"/>
              </a:lnSpc>
            </a:pPr>
            <a:r>
              <a:rPr lang="en-US" dirty="0">
                <a:solidFill>
                  <a:schemeClr val="tx2"/>
                </a:solidFill>
                <a:latin typeface="+mn-lt"/>
              </a:rPr>
              <a:t>Opportunity spotlight:</a:t>
            </a:r>
            <a:br>
              <a:rPr lang="en-US" dirty="0">
                <a:solidFill>
                  <a:schemeClr val="tx2"/>
                </a:solidFill>
                <a:latin typeface="+mn-lt"/>
              </a:rPr>
            </a:br>
            <a:r>
              <a:rPr lang="en-AU" b="1" dirty="0">
                <a:solidFill>
                  <a:schemeClr val="tx2"/>
                </a:solidFill>
                <a:latin typeface="+mn-lt"/>
              </a:rPr>
              <a:t>‘One Commission’ New Starter </a:t>
            </a:r>
            <a:r>
              <a:rPr lang="en-AU" dirty="0">
                <a:solidFill>
                  <a:schemeClr val="tx2"/>
                </a:solidFill>
                <a:latin typeface="+mn-lt"/>
              </a:rPr>
              <a:t>I</a:t>
            </a:r>
            <a:r>
              <a:rPr lang="en-AU" b="1" dirty="0">
                <a:solidFill>
                  <a:schemeClr val="tx2"/>
                </a:solidFill>
                <a:latin typeface="+mn-lt"/>
              </a:rPr>
              <a:t>nduction </a:t>
            </a:r>
            <a:r>
              <a:rPr lang="en-AU" dirty="0">
                <a:solidFill>
                  <a:schemeClr val="tx2"/>
                </a:solidFill>
                <a:latin typeface="+mn-lt"/>
              </a:rPr>
              <a:t>P</a:t>
            </a:r>
            <a:r>
              <a:rPr lang="en-AU" b="1" dirty="0">
                <a:solidFill>
                  <a:schemeClr val="tx2"/>
                </a:solidFill>
                <a:latin typeface="+mn-lt"/>
              </a:rPr>
              <a:t>rogram (WS1)</a:t>
            </a:r>
            <a:endParaRPr lang="en-AU" dirty="0">
              <a:solidFill>
                <a:schemeClr val="tx2"/>
              </a:solidFill>
              <a:latin typeface="+mn-lt"/>
            </a:endParaRPr>
          </a:p>
        </p:txBody>
      </p:sp>
      <p:grpSp>
        <p:nvGrpSpPr>
          <p:cNvPr id="47" name="Google Shape;2413;g15c1e22f9f0_1_1290">
            <a:extLst>
              <a:ext uri="{FF2B5EF4-FFF2-40B4-BE49-F238E27FC236}">
                <a16:creationId xmlns:a16="http://schemas.microsoft.com/office/drawing/2014/main" id="{3679DA5B-5899-4F21-843F-8A69979ADFFD}"/>
              </a:ext>
            </a:extLst>
          </p:cNvPr>
          <p:cNvGrpSpPr/>
          <p:nvPr/>
        </p:nvGrpSpPr>
        <p:grpSpPr>
          <a:xfrm rot="10800000">
            <a:off x="4724886" y="3626625"/>
            <a:ext cx="108000" cy="232927"/>
            <a:chOff x="1056677" y="3860957"/>
            <a:chExt cx="108000" cy="252000"/>
          </a:xfrm>
        </p:grpSpPr>
        <p:cxnSp>
          <p:nvCxnSpPr>
            <p:cNvPr id="48" name="Google Shape;2414;g15c1e22f9f0_1_1290">
              <a:extLst>
                <a:ext uri="{FF2B5EF4-FFF2-40B4-BE49-F238E27FC236}">
                  <a16:creationId xmlns:a16="http://schemas.microsoft.com/office/drawing/2014/main" id="{C5E8CFA5-70F7-45A4-A806-CECD21B1062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49" name="Google Shape;2415;g15c1e22f9f0_1_1290">
              <a:extLst>
                <a:ext uri="{FF2B5EF4-FFF2-40B4-BE49-F238E27FC236}">
                  <a16:creationId xmlns:a16="http://schemas.microsoft.com/office/drawing/2014/main" id="{3E0319B0-D713-4087-843D-887733854B04}"/>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1000" b="0" i="0" u="none" strike="noStrike" cap="none" dirty="0">
                <a:solidFill>
                  <a:schemeClr val="lt1"/>
                </a:solidFill>
                <a:ea typeface="Arial"/>
                <a:cs typeface="Arial"/>
                <a:sym typeface="Arial"/>
              </a:endParaRPr>
            </a:p>
          </p:txBody>
        </p:sp>
      </p:grpSp>
      <p:sp>
        <p:nvSpPr>
          <p:cNvPr id="61" name="TextBox 60">
            <a:extLst>
              <a:ext uri="{FF2B5EF4-FFF2-40B4-BE49-F238E27FC236}">
                <a16:creationId xmlns:a16="http://schemas.microsoft.com/office/drawing/2014/main" id="{428A52A3-D47E-4E68-B838-1CC7109878BD}"/>
              </a:ext>
            </a:extLst>
          </p:cNvPr>
          <p:cNvSpPr txBox="1"/>
          <p:nvPr/>
        </p:nvSpPr>
        <p:spPr>
          <a:xfrm>
            <a:off x="486893" y="1543040"/>
            <a:ext cx="11255109" cy="553998"/>
          </a:xfrm>
          <a:prstGeom prst="rect">
            <a:avLst/>
          </a:prstGeom>
          <a:solidFill>
            <a:schemeClr val="bg2"/>
          </a:solidFill>
        </p:spPr>
        <p:txBody>
          <a:bodyPr wrap="square">
            <a:spAutoFit/>
          </a:bodyPr>
          <a:lstStyle/>
          <a:p>
            <a:pPr algn="ctr">
              <a:spcBef>
                <a:spcPts val="300"/>
              </a:spcBef>
              <a:buClr>
                <a:schemeClr val="tx1"/>
              </a:buClr>
              <a:tabLst>
                <a:tab pos="449263" algn="l"/>
              </a:tabLst>
              <a:defRPr/>
            </a:pPr>
            <a:r>
              <a:rPr lang="en-AU" sz="1000" b="0" dirty="0">
                <a:solidFill>
                  <a:prstClr val="black"/>
                </a:solidFill>
              </a:rPr>
              <a:t>Equip our workforce with a ‘One Commission’ approach and mindset from day one through design and delivery of a </a:t>
            </a:r>
            <a:r>
              <a:rPr lang="en-AU" sz="1000" b="1" dirty="0">
                <a:solidFill>
                  <a:schemeClr val="tx2"/>
                </a:solidFill>
              </a:rPr>
              <a:t>‘One Commission’ new starter induction program </a:t>
            </a:r>
            <a:r>
              <a:rPr lang="en-AU" sz="1000" b="0" dirty="0">
                <a:solidFill>
                  <a:prstClr val="black"/>
                </a:solidFill>
              </a:rPr>
              <a:t>that educates, connects and confirms expectations of new starters to our operating context, organisational priorities, structures, ways of working and introduces core skills for all roles delivered as part of a staged </a:t>
            </a:r>
            <a:r>
              <a:rPr lang="en-AU" sz="1000" b="0" dirty="0" smtClean="0">
                <a:solidFill>
                  <a:prstClr val="black"/>
                </a:solidFill>
              </a:rPr>
              <a:t>on boarding </a:t>
            </a:r>
            <a:r>
              <a:rPr lang="en-AU" sz="1000" b="0" dirty="0">
                <a:solidFill>
                  <a:prstClr val="black"/>
                </a:solidFill>
              </a:rPr>
              <a:t>experience. The </a:t>
            </a:r>
            <a:r>
              <a:rPr lang="en-AU" sz="1000" dirty="0"/>
              <a:t>previous page describes the induction program </a:t>
            </a:r>
            <a:r>
              <a:rPr lang="en-AU" sz="1000" dirty="0" smtClean="0"/>
              <a:t>(which </a:t>
            </a:r>
            <a:r>
              <a:rPr lang="en-AU" sz="1000" dirty="0"/>
              <a:t>forms one part the </a:t>
            </a:r>
            <a:r>
              <a:rPr lang="en-AU" sz="1000" dirty="0" smtClean="0"/>
              <a:t>on boarding journey) in detail. </a:t>
            </a:r>
            <a:r>
              <a:rPr lang="en-AU" sz="1000" dirty="0"/>
              <a:t>Outlined below are some early </a:t>
            </a:r>
            <a:r>
              <a:rPr lang="en-AU" sz="1000" dirty="0" smtClean="0"/>
              <a:t>on boarding </a:t>
            </a:r>
            <a:r>
              <a:rPr lang="en-AU" sz="1000" dirty="0"/>
              <a:t>activities that can be implemented over 6 months. </a:t>
            </a:r>
          </a:p>
        </p:txBody>
      </p:sp>
      <p:sp>
        <p:nvSpPr>
          <p:cNvPr id="51" name="Google Shape;7106;p154">
            <a:extLst>
              <a:ext uri="{FF2B5EF4-FFF2-40B4-BE49-F238E27FC236}">
                <a16:creationId xmlns:a16="http://schemas.microsoft.com/office/drawing/2014/main" id="{64D73A3C-28A2-4524-91E0-1F101224E6BA}"/>
              </a:ext>
            </a:extLst>
          </p:cNvPr>
          <p:cNvSpPr/>
          <p:nvPr/>
        </p:nvSpPr>
        <p:spPr>
          <a:xfrm>
            <a:off x="623064" y="3625872"/>
            <a:ext cx="11118938" cy="538804"/>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grpSp>
        <p:nvGrpSpPr>
          <p:cNvPr id="52" name="Google Shape;7107;p154">
            <a:extLst>
              <a:ext uri="{FF2B5EF4-FFF2-40B4-BE49-F238E27FC236}">
                <a16:creationId xmlns:a16="http://schemas.microsoft.com/office/drawing/2014/main" id="{C5D73428-0883-4E05-B01B-D899B0CCADCF}"/>
              </a:ext>
            </a:extLst>
          </p:cNvPr>
          <p:cNvGrpSpPr/>
          <p:nvPr/>
        </p:nvGrpSpPr>
        <p:grpSpPr>
          <a:xfrm>
            <a:off x="555824" y="2190153"/>
            <a:ext cx="1193800" cy="1397000"/>
            <a:chOff x="1495425" y="1219200"/>
            <a:chExt cx="895350" cy="1047750"/>
          </a:xfrm>
        </p:grpSpPr>
        <p:sp>
          <p:nvSpPr>
            <p:cNvPr id="53" name="Google Shape;7108;p154">
              <a:extLst>
                <a:ext uri="{FF2B5EF4-FFF2-40B4-BE49-F238E27FC236}">
                  <a16:creationId xmlns:a16="http://schemas.microsoft.com/office/drawing/2014/main" id="{4F1EF248-DAA3-4DB4-8803-5E70F78943F1}"/>
                </a:ext>
              </a:extLst>
            </p:cNvPr>
            <p:cNvSpPr/>
            <p:nvPr/>
          </p:nvSpPr>
          <p:spPr>
            <a:xfrm>
              <a:off x="1920241" y="20383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60" name="Google Shape;7109;p154">
              <a:extLst>
                <a:ext uri="{FF2B5EF4-FFF2-40B4-BE49-F238E27FC236}">
                  <a16:creationId xmlns:a16="http://schemas.microsoft.com/office/drawing/2014/main" id="{D6856398-0E19-4514-8EE0-C3718A1FF4CE}"/>
                </a:ext>
              </a:extLst>
            </p:cNvPr>
            <p:cNvSpPr/>
            <p:nvPr/>
          </p:nvSpPr>
          <p:spPr>
            <a:xfrm>
              <a:off x="1495425" y="1219200"/>
              <a:ext cx="895350" cy="8953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rgbClr val="FFFFFF"/>
                  </a:solidFill>
                  <a:latin typeface="Arial"/>
                  <a:ea typeface="Arial"/>
                  <a:cs typeface="Arial"/>
                  <a:sym typeface="Arial"/>
                </a:rPr>
                <a:t>Pre </a:t>
              </a:r>
              <a:r>
                <a:rPr lang="en-GB" sz="1400" b="1" i="0" u="none" strike="noStrike" cap="none" dirty="0" smtClean="0">
                  <a:solidFill>
                    <a:srgbClr val="FFFFFF"/>
                  </a:solidFill>
                  <a:latin typeface="Arial"/>
                  <a:ea typeface="Arial"/>
                  <a:cs typeface="Arial"/>
                  <a:sym typeface="Arial"/>
                </a:rPr>
                <a:t>on boarding</a:t>
              </a:r>
              <a:endParaRPr sz="1200" b="1" dirty="0"/>
            </a:p>
          </p:txBody>
        </p:sp>
      </p:grpSp>
      <p:grpSp>
        <p:nvGrpSpPr>
          <p:cNvPr id="62" name="Google Shape;7110;p154">
            <a:extLst>
              <a:ext uri="{FF2B5EF4-FFF2-40B4-BE49-F238E27FC236}">
                <a16:creationId xmlns:a16="http://schemas.microsoft.com/office/drawing/2014/main" id="{9E8D4987-3D38-4258-807A-004E205C9A3C}"/>
              </a:ext>
            </a:extLst>
          </p:cNvPr>
          <p:cNvGrpSpPr/>
          <p:nvPr/>
        </p:nvGrpSpPr>
        <p:grpSpPr>
          <a:xfrm>
            <a:off x="2559968" y="2179245"/>
            <a:ext cx="1193800" cy="1397000"/>
            <a:chOff x="2794000" y="1371600"/>
            <a:chExt cx="895350" cy="1047750"/>
          </a:xfrm>
        </p:grpSpPr>
        <p:sp>
          <p:nvSpPr>
            <p:cNvPr id="63" name="Google Shape;7111;p154">
              <a:extLst>
                <a:ext uri="{FF2B5EF4-FFF2-40B4-BE49-F238E27FC236}">
                  <a16:creationId xmlns:a16="http://schemas.microsoft.com/office/drawing/2014/main" id="{86BFB3D5-B503-42A3-A6BC-1D6A25DCB2DE}"/>
                </a:ext>
              </a:extLst>
            </p:cNvPr>
            <p:cNvSpPr/>
            <p:nvPr/>
          </p:nvSpPr>
          <p:spPr>
            <a:xfrm>
              <a:off x="3218816" y="21907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66" name="Google Shape;7112;p154">
              <a:extLst>
                <a:ext uri="{FF2B5EF4-FFF2-40B4-BE49-F238E27FC236}">
                  <a16:creationId xmlns:a16="http://schemas.microsoft.com/office/drawing/2014/main" id="{6CA0880D-C250-470C-90A3-6429D99306CE}"/>
                </a:ext>
              </a:extLst>
            </p:cNvPr>
            <p:cNvSpPr/>
            <p:nvPr/>
          </p:nvSpPr>
          <p:spPr>
            <a:xfrm>
              <a:off x="2794000" y="1371600"/>
              <a:ext cx="895350" cy="895350"/>
            </a:xfrm>
            <a:prstGeom prst="rect">
              <a:avLst/>
            </a:prstGeom>
            <a:solidFill>
              <a:schemeClr val="accent2"/>
            </a:solidFill>
            <a:ln>
              <a:noFill/>
            </a:ln>
          </p:spPr>
          <p:txBody>
            <a:bodyPr spcFirstLastPara="1" wrap="square" lIns="91425" tIns="45700" rIns="91425" bIns="45700" anchor="ctr" anchorCtr="0">
              <a:noAutofit/>
            </a:bodyPr>
            <a:lstStyle/>
            <a:p>
              <a:pPr algn="ctr">
                <a:buClr>
                  <a:srgbClr val="000000"/>
                </a:buClr>
                <a:buSzPts val="1867"/>
              </a:pPr>
              <a:r>
                <a:rPr lang="en-GB" sz="1400" b="1" i="0" u="none" strike="noStrike" cap="none" dirty="0">
                  <a:solidFill>
                    <a:srgbClr val="FFFFFF"/>
                  </a:solidFill>
                  <a:latin typeface="Arial"/>
                  <a:ea typeface="Arial"/>
                  <a:cs typeface="Arial"/>
                  <a:sym typeface="Arial"/>
                </a:rPr>
                <a:t>Day 1</a:t>
              </a:r>
              <a:endParaRPr lang="en-GB" sz="1400" b="1" dirty="0"/>
            </a:p>
          </p:txBody>
        </p:sp>
      </p:grpSp>
      <p:grpSp>
        <p:nvGrpSpPr>
          <p:cNvPr id="67" name="Google Shape;7113;p154">
            <a:extLst>
              <a:ext uri="{FF2B5EF4-FFF2-40B4-BE49-F238E27FC236}">
                <a16:creationId xmlns:a16="http://schemas.microsoft.com/office/drawing/2014/main" id="{5E2B9BAC-708A-4E62-9501-D2A7921DF870}"/>
              </a:ext>
            </a:extLst>
          </p:cNvPr>
          <p:cNvGrpSpPr/>
          <p:nvPr/>
        </p:nvGrpSpPr>
        <p:grpSpPr>
          <a:xfrm>
            <a:off x="4564112" y="2190153"/>
            <a:ext cx="1193800" cy="1397000"/>
            <a:chOff x="4521200" y="1371600"/>
            <a:chExt cx="895350" cy="1047750"/>
          </a:xfrm>
        </p:grpSpPr>
        <p:sp>
          <p:nvSpPr>
            <p:cNvPr id="68" name="Google Shape;7114;p154">
              <a:extLst>
                <a:ext uri="{FF2B5EF4-FFF2-40B4-BE49-F238E27FC236}">
                  <a16:creationId xmlns:a16="http://schemas.microsoft.com/office/drawing/2014/main" id="{893F8F45-0EDE-4C1D-835F-ADCEFCFF69A0}"/>
                </a:ext>
              </a:extLst>
            </p:cNvPr>
            <p:cNvSpPr/>
            <p:nvPr/>
          </p:nvSpPr>
          <p:spPr>
            <a:xfrm>
              <a:off x="4946016" y="21907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69" name="Google Shape;7115;p154">
              <a:extLst>
                <a:ext uri="{FF2B5EF4-FFF2-40B4-BE49-F238E27FC236}">
                  <a16:creationId xmlns:a16="http://schemas.microsoft.com/office/drawing/2014/main" id="{21304490-31D7-4491-B4D2-0460903D2C0C}"/>
                </a:ext>
              </a:extLst>
            </p:cNvPr>
            <p:cNvSpPr/>
            <p:nvPr/>
          </p:nvSpPr>
          <p:spPr>
            <a:xfrm>
              <a:off x="4521200" y="1371600"/>
              <a:ext cx="895350" cy="89535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chemeClr val="bg1"/>
                  </a:solidFill>
                  <a:latin typeface="Arial"/>
                  <a:ea typeface="Arial"/>
                  <a:cs typeface="Arial"/>
                  <a:sym typeface="Arial"/>
                </a:rPr>
                <a:t>Week 1</a:t>
              </a:r>
              <a:endParaRPr sz="1400" b="1" dirty="0">
                <a:solidFill>
                  <a:schemeClr val="bg1"/>
                </a:solidFill>
              </a:endParaRPr>
            </a:p>
          </p:txBody>
        </p:sp>
      </p:grpSp>
      <p:grpSp>
        <p:nvGrpSpPr>
          <p:cNvPr id="70" name="Google Shape;7116;p154">
            <a:extLst>
              <a:ext uri="{FF2B5EF4-FFF2-40B4-BE49-F238E27FC236}">
                <a16:creationId xmlns:a16="http://schemas.microsoft.com/office/drawing/2014/main" id="{46FF9DFC-DD0B-428F-989E-0B56A72263E3}"/>
              </a:ext>
            </a:extLst>
          </p:cNvPr>
          <p:cNvGrpSpPr/>
          <p:nvPr/>
        </p:nvGrpSpPr>
        <p:grpSpPr>
          <a:xfrm>
            <a:off x="6568256" y="2190648"/>
            <a:ext cx="1193800" cy="1397000"/>
            <a:chOff x="6248400" y="1371600"/>
            <a:chExt cx="895350" cy="1047750"/>
          </a:xfrm>
        </p:grpSpPr>
        <p:sp>
          <p:nvSpPr>
            <p:cNvPr id="71" name="Google Shape;7117;p154">
              <a:extLst>
                <a:ext uri="{FF2B5EF4-FFF2-40B4-BE49-F238E27FC236}">
                  <a16:creationId xmlns:a16="http://schemas.microsoft.com/office/drawing/2014/main" id="{A8641F44-139E-46A4-A18B-DEF79B2FAA01}"/>
                </a:ext>
              </a:extLst>
            </p:cNvPr>
            <p:cNvSpPr/>
            <p:nvPr/>
          </p:nvSpPr>
          <p:spPr>
            <a:xfrm>
              <a:off x="6673216" y="21907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72" name="Google Shape;7118;p154">
              <a:extLst>
                <a:ext uri="{FF2B5EF4-FFF2-40B4-BE49-F238E27FC236}">
                  <a16:creationId xmlns:a16="http://schemas.microsoft.com/office/drawing/2014/main" id="{5EA6B856-AB9D-491C-83A3-F483C21850FD}"/>
                </a:ext>
              </a:extLst>
            </p:cNvPr>
            <p:cNvSpPr/>
            <p:nvPr/>
          </p:nvSpPr>
          <p:spPr>
            <a:xfrm>
              <a:off x="6248400" y="1371600"/>
              <a:ext cx="895350" cy="89535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rgbClr val="FFFFFF"/>
                  </a:solidFill>
                  <a:latin typeface="Arial"/>
                  <a:ea typeface="Arial"/>
                  <a:cs typeface="Arial"/>
                  <a:sym typeface="Arial"/>
                </a:rPr>
                <a:t>2 – 3 week check in </a:t>
              </a:r>
              <a:endParaRPr sz="1400" b="1" dirty="0"/>
            </a:p>
          </p:txBody>
        </p:sp>
      </p:grpSp>
      <p:grpSp>
        <p:nvGrpSpPr>
          <p:cNvPr id="73" name="Google Shape;7119;p154">
            <a:extLst>
              <a:ext uri="{FF2B5EF4-FFF2-40B4-BE49-F238E27FC236}">
                <a16:creationId xmlns:a16="http://schemas.microsoft.com/office/drawing/2014/main" id="{ACF6B34F-22B2-4AD1-8927-8DEB42032CB5}"/>
              </a:ext>
            </a:extLst>
          </p:cNvPr>
          <p:cNvGrpSpPr/>
          <p:nvPr/>
        </p:nvGrpSpPr>
        <p:grpSpPr>
          <a:xfrm>
            <a:off x="10483330" y="2190153"/>
            <a:ext cx="1193800" cy="1397000"/>
            <a:chOff x="7648575" y="2552700"/>
            <a:chExt cx="895350" cy="1047750"/>
          </a:xfrm>
          <a:solidFill>
            <a:schemeClr val="bg2">
              <a:lumMod val="90000"/>
            </a:schemeClr>
          </a:solidFill>
        </p:grpSpPr>
        <p:sp>
          <p:nvSpPr>
            <p:cNvPr id="74" name="Google Shape;7120;p154">
              <a:extLst>
                <a:ext uri="{FF2B5EF4-FFF2-40B4-BE49-F238E27FC236}">
                  <a16:creationId xmlns:a16="http://schemas.microsoft.com/office/drawing/2014/main" id="{D8ED36FC-2A80-4CEE-906C-8BCD89B6AC94}"/>
                </a:ext>
              </a:extLst>
            </p:cNvPr>
            <p:cNvSpPr/>
            <p:nvPr/>
          </p:nvSpPr>
          <p:spPr>
            <a:xfrm>
              <a:off x="8073391" y="3371850"/>
              <a:ext cx="45719" cy="228600"/>
            </a:xfrm>
            <a:prstGeom prst="rect">
              <a:avLst/>
            </a:prstGeom>
            <a:solidFill>
              <a:schemeClr val="tx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75" name="Google Shape;7121;p154">
              <a:extLst>
                <a:ext uri="{FF2B5EF4-FFF2-40B4-BE49-F238E27FC236}">
                  <a16:creationId xmlns:a16="http://schemas.microsoft.com/office/drawing/2014/main" id="{9710BAA8-DE13-4100-9A35-F55A99597D4E}"/>
                </a:ext>
              </a:extLst>
            </p:cNvPr>
            <p:cNvSpPr/>
            <p:nvPr/>
          </p:nvSpPr>
          <p:spPr>
            <a:xfrm>
              <a:off x="7648575" y="2552700"/>
              <a:ext cx="895350" cy="895350"/>
            </a:xfrm>
            <a:prstGeom prst="rect">
              <a:avLst/>
            </a:prstGeom>
            <a:gr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rgbClr val="FFFFFF"/>
                  </a:solidFill>
                  <a:latin typeface="Arial"/>
                  <a:ea typeface="Arial"/>
                  <a:cs typeface="Arial"/>
                  <a:sym typeface="Arial"/>
                </a:rPr>
                <a:t>Month 3 - 6</a:t>
              </a:r>
              <a:endParaRPr sz="1400" b="1" dirty="0"/>
            </a:p>
          </p:txBody>
        </p:sp>
      </p:grpSp>
      <p:sp>
        <p:nvSpPr>
          <p:cNvPr id="77" name="Google Shape;7123;p154">
            <a:extLst>
              <a:ext uri="{FF2B5EF4-FFF2-40B4-BE49-F238E27FC236}">
                <a16:creationId xmlns:a16="http://schemas.microsoft.com/office/drawing/2014/main" id="{56D09B15-2F05-4E38-85E0-40E0828FBDEB}"/>
              </a:ext>
            </a:extLst>
          </p:cNvPr>
          <p:cNvSpPr txBox="1"/>
          <p:nvPr/>
        </p:nvSpPr>
        <p:spPr>
          <a:xfrm flipH="1">
            <a:off x="156004" y="4651353"/>
            <a:ext cx="2641600" cy="553957"/>
          </a:xfrm>
          <a:prstGeom prst="rect">
            <a:avLst/>
          </a:prstGeom>
          <a:noFill/>
          <a:ln>
            <a:noFill/>
          </a:ln>
        </p:spPr>
        <p:txBody>
          <a:bodyPr spcFirstLastPara="1" wrap="square" lIns="91425" tIns="45700" rIns="91425" bIns="45700" anchor="t" anchorCtr="0">
            <a:spAutoFit/>
          </a:bodyPr>
          <a:lstStyle/>
          <a:p>
            <a:pPr marL="171450" indent="-171450">
              <a:buSzPts val="900"/>
              <a:buFont typeface="Arial"/>
              <a:buChar char="•"/>
            </a:pPr>
            <a:r>
              <a:rPr lang="en-US" sz="1000" dirty="0">
                <a:solidFill>
                  <a:srgbClr val="000000"/>
                </a:solidFill>
                <a:ea typeface="Arial"/>
                <a:cs typeface="Arial"/>
              </a:rPr>
              <a:t>Welcome checklist sent </a:t>
            </a:r>
          </a:p>
          <a:p>
            <a:pPr marL="171450" indent="-171450">
              <a:buSzPts val="900"/>
              <a:buFont typeface="Arial"/>
              <a:buChar char="•"/>
            </a:pPr>
            <a:r>
              <a:rPr lang="en-US" sz="1000" dirty="0">
                <a:solidFill>
                  <a:srgbClr val="000000"/>
                </a:solidFill>
                <a:ea typeface="Arial"/>
                <a:cs typeface="Arial"/>
              </a:rPr>
              <a:t>Welcome phone call or email and day 1 </a:t>
            </a:r>
            <a:r>
              <a:rPr lang="en-US" sz="1000" dirty="0" smtClean="0">
                <a:solidFill>
                  <a:srgbClr val="000000"/>
                </a:solidFill>
                <a:ea typeface="Arial"/>
                <a:cs typeface="Arial"/>
              </a:rPr>
              <a:t>arrangements </a:t>
            </a:r>
            <a:r>
              <a:rPr lang="en-US" sz="1000" dirty="0">
                <a:solidFill>
                  <a:srgbClr val="000000"/>
                </a:solidFill>
                <a:ea typeface="Arial"/>
                <a:cs typeface="Arial"/>
              </a:rPr>
              <a:t>are confirmed</a:t>
            </a:r>
          </a:p>
        </p:txBody>
      </p:sp>
      <p:grpSp>
        <p:nvGrpSpPr>
          <p:cNvPr id="79" name="Google Shape;7125;p154">
            <a:extLst>
              <a:ext uri="{FF2B5EF4-FFF2-40B4-BE49-F238E27FC236}">
                <a16:creationId xmlns:a16="http://schemas.microsoft.com/office/drawing/2014/main" id="{1883B961-BCF9-48A8-984E-D456C5470041}"/>
              </a:ext>
            </a:extLst>
          </p:cNvPr>
          <p:cNvGrpSpPr/>
          <p:nvPr/>
        </p:nvGrpSpPr>
        <p:grpSpPr>
          <a:xfrm>
            <a:off x="725416" y="3863675"/>
            <a:ext cx="11016585" cy="59048"/>
            <a:chOff x="717339" y="2716910"/>
            <a:chExt cx="7847196" cy="43607"/>
          </a:xfrm>
        </p:grpSpPr>
        <p:sp>
          <p:nvSpPr>
            <p:cNvPr id="80" name="Google Shape;7126;p154">
              <a:extLst>
                <a:ext uri="{FF2B5EF4-FFF2-40B4-BE49-F238E27FC236}">
                  <a16:creationId xmlns:a16="http://schemas.microsoft.com/office/drawing/2014/main" id="{380A70C7-7F57-47F4-9388-66FAB879BE10}"/>
                </a:ext>
              </a:extLst>
            </p:cNvPr>
            <p:cNvSpPr/>
            <p:nvPr/>
          </p:nvSpPr>
          <p:spPr>
            <a:xfrm>
              <a:off x="717339"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1" name="Google Shape;7127;p154">
              <a:extLst>
                <a:ext uri="{FF2B5EF4-FFF2-40B4-BE49-F238E27FC236}">
                  <a16:creationId xmlns:a16="http://schemas.microsoft.com/office/drawing/2014/main" id="{B29EAAC8-CFEA-4D92-A5E6-23696E88AB81}"/>
                </a:ext>
              </a:extLst>
            </p:cNvPr>
            <p:cNvSpPr/>
            <p:nvPr/>
          </p:nvSpPr>
          <p:spPr>
            <a:xfrm>
              <a:off x="1136137"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2" name="Google Shape;7128;p154">
              <a:extLst>
                <a:ext uri="{FF2B5EF4-FFF2-40B4-BE49-F238E27FC236}">
                  <a16:creationId xmlns:a16="http://schemas.microsoft.com/office/drawing/2014/main" id="{9AF74EB5-190C-47C2-AA64-F4ED620C64B2}"/>
                </a:ext>
              </a:extLst>
            </p:cNvPr>
            <p:cNvSpPr/>
            <p:nvPr/>
          </p:nvSpPr>
          <p:spPr>
            <a:xfrm>
              <a:off x="998240"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3" name="Google Shape;7129;p154">
              <a:extLst>
                <a:ext uri="{FF2B5EF4-FFF2-40B4-BE49-F238E27FC236}">
                  <a16:creationId xmlns:a16="http://schemas.microsoft.com/office/drawing/2014/main" id="{C7BBAC95-DA03-49DF-BF3D-041D6347DEC0}"/>
                </a:ext>
              </a:extLst>
            </p:cNvPr>
            <p:cNvSpPr/>
            <p:nvPr/>
          </p:nvSpPr>
          <p:spPr>
            <a:xfrm>
              <a:off x="860343"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4" name="Google Shape;7130;p154">
              <a:extLst>
                <a:ext uri="{FF2B5EF4-FFF2-40B4-BE49-F238E27FC236}">
                  <a16:creationId xmlns:a16="http://schemas.microsoft.com/office/drawing/2014/main" id="{F5426C68-FE9F-49DD-8ADC-1381BF1CE667}"/>
                </a:ext>
              </a:extLst>
            </p:cNvPr>
            <p:cNvSpPr/>
            <p:nvPr/>
          </p:nvSpPr>
          <p:spPr>
            <a:xfrm>
              <a:off x="1552381"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5" name="Google Shape;7131;p154">
              <a:extLst>
                <a:ext uri="{FF2B5EF4-FFF2-40B4-BE49-F238E27FC236}">
                  <a16:creationId xmlns:a16="http://schemas.microsoft.com/office/drawing/2014/main" id="{29044A02-58AC-4188-B889-2BACAEB86055}"/>
                </a:ext>
              </a:extLst>
            </p:cNvPr>
            <p:cNvSpPr/>
            <p:nvPr/>
          </p:nvSpPr>
          <p:spPr>
            <a:xfrm>
              <a:off x="1414484"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6" name="Google Shape;7132;p154">
              <a:extLst>
                <a:ext uri="{FF2B5EF4-FFF2-40B4-BE49-F238E27FC236}">
                  <a16:creationId xmlns:a16="http://schemas.microsoft.com/office/drawing/2014/main" id="{609508A7-8358-4D67-A63A-576246C56992}"/>
                </a:ext>
              </a:extLst>
            </p:cNvPr>
            <p:cNvSpPr/>
            <p:nvPr/>
          </p:nvSpPr>
          <p:spPr>
            <a:xfrm>
              <a:off x="1276587"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7" name="Google Shape;7133;p154">
              <a:extLst>
                <a:ext uri="{FF2B5EF4-FFF2-40B4-BE49-F238E27FC236}">
                  <a16:creationId xmlns:a16="http://schemas.microsoft.com/office/drawing/2014/main" id="{0A9D996A-43EE-4E19-AECB-6876771739D7}"/>
                </a:ext>
              </a:extLst>
            </p:cNvPr>
            <p:cNvSpPr/>
            <p:nvPr/>
          </p:nvSpPr>
          <p:spPr>
            <a:xfrm>
              <a:off x="1966071"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8" name="Google Shape;7134;p154">
              <a:extLst>
                <a:ext uri="{FF2B5EF4-FFF2-40B4-BE49-F238E27FC236}">
                  <a16:creationId xmlns:a16="http://schemas.microsoft.com/office/drawing/2014/main" id="{37F68017-37BB-44AF-9605-A5D6A55792F5}"/>
                </a:ext>
              </a:extLst>
            </p:cNvPr>
            <p:cNvSpPr/>
            <p:nvPr/>
          </p:nvSpPr>
          <p:spPr>
            <a:xfrm>
              <a:off x="1828174"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9" name="Google Shape;7135;p154">
              <a:extLst>
                <a:ext uri="{FF2B5EF4-FFF2-40B4-BE49-F238E27FC236}">
                  <a16:creationId xmlns:a16="http://schemas.microsoft.com/office/drawing/2014/main" id="{A93C344A-A2E3-4BC5-B7E5-32CEFE7D7C47}"/>
                </a:ext>
              </a:extLst>
            </p:cNvPr>
            <p:cNvSpPr/>
            <p:nvPr/>
          </p:nvSpPr>
          <p:spPr>
            <a:xfrm>
              <a:off x="1690278"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0" name="Google Shape;7136;p154">
              <a:extLst>
                <a:ext uri="{FF2B5EF4-FFF2-40B4-BE49-F238E27FC236}">
                  <a16:creationId xmlns:a16="http://schemas.microsoft.com/office/drawing/2014/main" id="{4F691968-F2E8-4DB2-9BC1-AC4DC2064C5C}"/>
                </a:ext>
              </a:extLst>
            </p:cNvPr>
            <p:cNvSpPr/>
            <p:nvPr/>
          </p:nvSpPr>
          <p:spPr>
            <a:xfrm>
              <a:off x="2379762"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1" name="Google Shape;7137;p154">
              <a:extLst>
                <a:ext uri="{FF2B5EF4-FFF2-40B4-BE49-F238E27FC236}">
                  <a16:creationId xmlns:a16="http://schemas.microsoft.com/office/drawing/2014/main" id="{2FD3AB90-5748-4591-B4CD-E46B500D64F1}"/>
                </a:ext>
              </a:extLst>
            </p:cNvPr>
            <p:cNvSpPr/>
            <p:nvPr/>
          </p:nvSpPr>
          <p:spPr>
            <a:xfrm>
              <a:off x="2241865"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2" name="Google Shape;7138;p154">
              <a:extLst>
                <a:ext uri="{FF2B5EF4-FFF2-40B4-BE49-F238E27FC236}">
                  <a16:creationId xmlns:a16="http://schemas.microsoft.com/office/drawing/2014/main" id="{12842710-0997-4578-A8D5-15C9A1DA79FF}"/>
                </a:ext>
              </a:extLst>
            </p:cNvPr>
            <p:cNvSpPr/>
            <p:nvPr/>
          </p:nvSpPr>
          <p:spPr>
            <a:xfrm>
              <a:off x="2103968"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3" name="Google Shape;7139;p154">
              <a:extLst>
                <a:ext uri="{FF2B5EF4-FFF2-40B4-BE49-F238E27FC236}">
                  <a16:creationId xmlns:a16="http://schemas.microsoft.com/office/drawing/2014/main" id="{F4DC408E-CAA9-4FBE-8F8A-CACC1970A095}"/>
                </a:ext>
              </a:extLst>
            </p:cNvPr>
            <p:cNvSpPr/>
            <p:nvPr/>
          </p:nvSpPr>
          <p:spPr>
            <a:xfrm>
              <a:off x="2796008"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4" name="Google Shape;7140;p154">
              <a:extLst>
                <a:ext uri="{FF2B5EF4-FFF2-40B4-BE49-F238E27FC236}">
                  <a16:creationId xmlns:a16="http://schemas.microsoft.com/office/drawing/2014/main" id="{A0845649-623E-46C9-968D-C08E07839079}"/>
                </a:ext>
              </a:extLst>
            </p:cNvPr>
            <p:cNvSpPr/>
            <p:nvPr/>
          </p:nvSpPr>
          <p:spPr>
            <a:xfrm>
              <a:off x="2658111"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5" name="Google Shape;7141;p154">
              <a:extLst>
                <a:ext uri="{FF2B5EF4-FFF2-40B4-BE49-F238E27FC236}">
                  <a16:creationId xmlns:a16="http://schemas.microsoft.com/office/drawing/2014/main" id="{BE5BB815-04BE-4696-AA63-0C3F3DB09884}"/>
                </a:ext>
              </a:extLst>
            </p:cNvPr>
            <p:cNvSpPr/>
            <p:nvPr/>
          </p:nvSpPr>
          <p:spPr>
            <a:xfrm>
              <a:off x="2520214"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6" name="Google Shape;7142;p154">
              <a:extLst>
                <a:ext uri="{FF2B5EF4-FFF2-40B4-BE49-F238E27FC236}">
                  <a16:creationId xmlns:a16="http://schemas.microsoft.com/office/drawing/2014/main" id="{96169608-2B39-4D27-851C-2B9F7DDA8ED1}"/>
                </a:ext>
              </a:extLst>
            </p:cNvPr>
            <p:cNvSpPr/>
            <p:nvPr/>
          </p:nvSpPr>
          <p:spPr>
            <a:xfrm>
              <a:off x="3209698"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7" name="Google Shape;7143;p154">
              <a:extLst>
                <a:ext uri="{FF2B5EF4-FFF2-40B4-BE49-F238E27FC236}">
                  <a16:creationId xmlns:a16="http://schemas.microsoft.com/office/drawing/2014/main" id="{94FC689C-ABEC-43FF-AE65-CD26CF1CD6B1}"/>
                </a:ext>
              </a:extLst>
            </p:cNvPr>
            <p:cNvSpPr/>
            <p:nvPr/>
          </p:nvSpPr>
          <p:spPr>
            <a:xfrm>
              <a:off x="3071801"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8" name="Google Shape;7144;p154">
              <a:extLst>
                <a:ext uri="{FF2B5EF4-FFF2-40B4-BE49-F238E27FC236}">
                  <a16:creationId xmlns:a16="http://schemas.microsoft.com/office/drawing/2014/main" id="{8C275C23-E916-40C0-A92A-B6E0E1E92658}"/>
                </a:ext>
              </a:extLst>
            </p:cNvPr>
            <p:cNvSpPr/>
            <p:nvPr/>
          </p:nvSpPr>
          <p:spPr>
            <a:xfrm>
              <a:off x="2933904"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9" name="Google Shape;7145;p154">
              <a:extLst>
                <a:ext uri="{FF2B5EF4-FFF2-40B4-BE49-F238E27FC236}">
                  <a16:creationId xmlns:a16="http://schemas.microsoft.com/office/drawing/2014/main" id="{21B47D2A-47C4-4414-9C1A-B28348300430}"/>
                </a:ext>
              </a:extLst>
            </p:cNvPr>
            <p:cNvSpPr/>
            <p:nvPr/>
          </p:nvSpPr>
          <p:spPr>
            <a:xfrm>
              <a:off x="3623389"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0" name="Google Shape;7146;p154">
              <a:extLst>
                <a:ext uri="{FF2B5EF4-FFF2-40B4-BE49-F238E27FC236}">
                  <a16:creationId xmlns:a16="http://schemas.microsoft.com/office/drawing/2014/main" id="{8B7BEC9E-F78F-4D5F-81AA-BF8E91298D2F}"/>
                </a:ext>
              </a:extLst>
            </p:cNvPr>
            <p:cNvSpPr/>
            <p:nvPr/>
          </p:nvSpPr>
          <p:spPr>
            <a:xfrm>
              <a:off x="3485492"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1" name="Google Shape;7147;p154">
              <a:extLst>
                <a:ext uri="{FF2B5EF4-FFF2-40B4-BE49-F238E27FC236}">
                  <a16:creationId xmlns:a16="http://schemas.microsoft.com/office/drawing/2014/main" id="{F6700D58-AAF7-4230-9000-CD981AEB2495}"/>
                </a:ext>
              </a:extLst>
            </p:cNvPr>
            <p:cNvSpPr/>
            <p:nvPr/>
          </p:nvSpPr>
          <p:spPr>
            <a:xfrm>
              <a:off x="3347595"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2" name="Google Shape;7148;p154">
              <a:extLst>
                <a:ext uri="{FF2B5EF4-FFF2-40B4-BE49-F238E27FC236}">
                  <a16:creationId xmlns:a16="http://schemas.microsoft.com/office/drawing/2014/main" id="{CF468EF0-FE15-4FF2-9F6A-307EA2BC30C5}"/>
                </a:ext>
              </a:extLst>
            </p:cNvPr>
            <p:cNvSpPr/>
            <p:nvPr/>
          </p:nvSpPr>
          <p:spPr>
            <a:xfrm>
              <a:off x="4039633"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3" name="Google Shape;7149;p154">
              <a:extLst>
                <a:ext uri="{FF2B5EF4-FFF2-40B4-BE49-F238E27FC236}">
                  <a16:creationId xmlns:a16="http://schemas.microsoft.com/office/drawing/2014/main" id="{89D636C0-8ECD-42A8-9458-3B5CD3CD1449}"/>
                </a:ext>
              </a:extLst>
            </p:cNvPr>
            <p:cNvSpPr/>
            <p:nvPr/>
          </p:nvSpPr>
          <p:spPr>
            <a:xfrm>
              <a:off x="3901736"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4" name="Google Shape;7150;p154">
              <a:extLst>
                <a:ext uri="{FF2B5EF4-FFF2-40B4-BE49-F238E27FC236}">
                  <a16:creationId xmlns:a16="http://schemas.microsoft.com/office/drawing/2014/main" id="{3A57961F-223D-46C7-8BCF-A8DCEE325787}"/>
                </a:ext>
              </a:extLst>
            </p:cNvPr>
            <p:cNvSpPr/>
            <p:nvPr/>
          </p:nvSpPr>
          <p:spPr>
            <a:xfrm>
              <a:off x="3763839"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5" name="Google Shape;7151;p154">
              <a:extLst>
                <a:ext uri="{FF2B5EF4-FFF2-40B4-BE49-F238E27FC236}">
                  <a16:creationId xmlns:a16="http://schemas.microsoft.com/office/drawing/2014/main" id="{6B972BEF-F717-4369-BCD5-242EE64F0D9E}"/>
                </a:ext>
              </a:extLst>
            </p:cNvPr>
            <p:cNvSpPr/>
            <p:nvPr/>
          </p:nvSpPr>
          <p:spPr>
            <a:xfrm>
              <a:off x="4453324"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6" name="Google Shape;7152;p154">
              <a:extLst>
                <a:ext uri="{FF2B5EF4-FFF2-40B4-BE49-F238E27FC236}">
                  <a16:creationId xmlns:a16="http://schemas.microsoft.com/office/drawing/2014/main" id="{AD32B6EE-F73C-40A6-BA23-04E5513081B7}"/>
                </a:ext>
              </a:extLst>
            </p:cNvPr>
            <p:cNvSpPr/>
            <p:nvPr/>
          </p:nvSpPr>
          <p:spPr>
            <a:xfrm>
              <a:off x="4315427"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7" name="Google Shape;7153;p154">
              <a:extLst>
                <a:ext uri="{FF2B5EF4-FFF2-40B4-BE49-F238E27FC236}">
                  <a16:creationId xmlns:a16="http://schemas.microsoft.com/office/drawing/2014/main" id="{A0B9236B-56FA-4A61-9611-CE67F03EE87D}"/>
                </a:ext>
              </a:extLst>
            </p:cNvPr>
            <p:cNvSpPr/>
            <p:nvPr/>
          </p:nvSpPr>
          <p:spPr>
            <a:xfrm>
              <a:off x="4177530"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8" name="Google Shape;7154;p154">
              <a:extLst>
                <a:ext uri="{FF2B5EF4-FFF2-40B4-BE49-F238E27FC236}">
                  <a16:creationId xmlns:a16="http://schemas.microsoft.com/office/drawing/2014/main" id="{D1393983-0638-4301-A11B-E90216FA3BB6}"/>
                </a:ext>
              </a:extLst>
            </p:cNvPr>
            <p:cNvSpPr/>
            <p:nvPr/>
          </p:nvSpPr>
          <p:spPr>
            <a:xfrm>
              <a:off x="4867014"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9" name="Google Shape;7155;p154">
              <a:extLst>
                <a:ext uri="{FF2B5EF4-FFF2-40B4-BE49-F238E27FC236}">
                  <a16:creationId xmlns:a16="http://schemas.microsoft.com/office/drawing/2014/main" id="{3A41405B-34F3-4F8E-8BAE-C33915A8F8D6}"/>
                </a:ext>
              </a:extLst>
            </p:cNvPr>
            <p:cNvSpPr/>
            <p:nvPr/>
          </p:nvSpPr>
          <p:spPr>
            <a:xfrm>
              <a:off x="4729117"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0" name="Google Shape;7156;p154">
              <a:extLst>
                <a:ext uri="{FF2B5EF4-FFF2-40B4-BE49-F238E27FC236}">
                  <a16:creationId xmlns:a16="http://schemas.microsoft.com/office/drawing/2014/main" id="{B9F334F8-EF21-46EC-A753-BA247F3CD3E1}"/>
                </a:ext>
              </a:extLst>
            </p:cNvPr>
            <p:cNvSpPr/>
            <p:nvPr/>
          </p:nvSpPr>
          <p:spPr>
            <a:xfrm>
              <a:off x="4591221"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1" name="Google Shape;7157;p154">
              <a:extLst>
                <a:ext uri="{FF2B5EF4-FFF2-40B4-BE49-F238E27FC236}">
                  <a16:creationId xmlns:a16="http://schemas.microsoft.com/office/drawing/2014/main" id="{751972B3-06E6-4FEB-95FE-6C6D8B169D31}"/>
                </a:ext>
              </a:extLst>
            </p:cNvPr>
            <p:cNvSpPr/>
            <p:nvPr/>
          </p:nvSpPr>
          <p:spPr>
            <a:xfrm>
              <a:off x="5283260"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2" name="Google Shape;7158;p154">
              <a:extLst>
                <a:ext uri="{FF2B5EF4-FFF2-40B4-BE49-F238E27FC236}">
                  <a16:creationId xmlns:a16="http://schemas.microsoft.com/office/drawing/2014/main" id="{85458FEC-DC54-403F-BCCE-3CC9B1E9DABC}"/>
                </a:ext>
              </a:extLst>
            </p:cNvPr>
            <p:cNvSpPr/>
            <p:nvPr/>
          </p:nvSpPr>
          <p:spPr>
            <a:xfrm>
              <a:off x="5145363"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3" name="Google Shape;7159;p154">
              <a:extLst>
                <a:ext uri="{FF2B5EF4-FFF2-40B4-BE49-F238E27FC236}">
                  <a16:creationId xmlns:a16="http://schemas.microsoft.com/office/drawing/2014/main" id="{FED7A77A-C641-4655-8B28-E8B3A222FF5C}"/>
                </a:ext>
              </a:extLst>
            </p:cNvPr>
            <p:cNvSpPr/>
            <p:nvPr/>
          </p:nvSpPr>
          <p:spPr>
            <a:xfrm>
              <a:off x="5007466"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4" name="Google Shape;7160;p154">
              <a:extLst>
                <a:ext uri="{FF2B5EF4-FFF2-40B4-BE49-F238E27FC236}">
                  <a16:creationId xmlns:a16="http://schemas.microsoft.com/office/drawing/2014/main" id="{0B41FBAE-261D-4157-88E8-FEB6C6153A05}"/>
                </a:ext>
              </a:extLst>
            </p:cNvPr>
            <p:cNvSpPr/>
            <p:nvPr/>
          </p:nvSpPr>
          <p:spPr>
            <a:xfrm>
              <a:off x="5696950"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5" name="Google Shape;7161;p154">
              <a:extLst>
                <a:ext uri="{FF2B5EF4-FFF2-40B4-BE49-F238E27FC236}">
                  <a16:creationId xmlns:a16="http://schemas.microsoft.com/office/drawing/2014/main" id="{E8F41FC9-EF4D-4482-AA1C-26953F264707}"/>
                </a:ext>
              </a:extLst>
            </p:cNvPr>
            <p:cNvSpPr/>
            <p:nvPr/>
          </p:nvSpPr>
          <p:spPr>
            <a:xfrm>
              <a:off x="5559054"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6" name="Google Shape;7162;p154">
              <a:extLst>
                <a:ext uri="{FF2B5EF4-FFF2-40B4-BE49-F238E27FC236}">
                  <a16:creationId xmlns:a16="http://schemas.microsoft.com/office/drawing/2014/main" id="{89D8A610-2D50-453F-A497-DD110DEE307D}"/>
                </a:ext>
              </a:extLst>
            </p:cNvPr>
            <p:cNvSpPr/>
            <p:nvPr/>
          </p:nvSpPr>
          <p:spPr>
            <a:xfrm>
              <a:off x="5421157"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7" name="Google Shape;7163;p154">
              <a:extLst>
                <a:ext uri="{FF2B5EF4-FFF2-40B4-BE49-F238E27FC236}">
                  <a16:creationId xmlns:a16="http://schemas.microsoft.com/office/drawing/2014/main" id="{FEF7524B-D6DE-4DA4-96B6-90541F415AC4}"/>
                </a:ext>
              </a:extLst>
            </p:cNvPr>
            <p:cNvSpPr/>
            <p:nvPr/>
          </p:nvSpPr>
          <p:spPr>
            <a:xfrm>
              <a:off x="6110641"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8" name="Google Shape;7164;p154">
              <a:extLst>
                <a:ext uri="{FF2B5EF4-FFF2-40B4-BE49-F238E27FC236}">
                  <a16:creationId xmlns:a16="http://schemas.microsoft.com/office/drawing/2014/main" id="{B584F893-59F4-4AB5-A6B5-5F13BBC82BE5}"/>
                </a:ext>
              </a:extLst>
            </p:cNvPr>
            <p:cNvSpPr/>
            <p:nvPr/>
          </p:nvSpPr>
          <p:spPr>
            <a:xfrm>
              <a:off x="5972744"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9" name="Google Shape;7165;p154">
              <a:extLst>
                <a:ext uri="{FF2B5EF4-FFF2-40B4-BE49-F238E27FC236}">
                  <a16:creationId xmlns:a16="http://schemas.microsoft.com/office/drawing/2014/main" id="{5C90E266-A075-4FC4-AFC8-F63D9C01C959}"/>
                </a:ext>
              </a:extLst>
            </p:cNvPr>
            <p:cNvSpPr/>
            <p:nvPr/>
          </p:nvSpPr>
          <p:spPr>
            <a:xfrm>
              <a:off x="5834847"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0" name="Google Shape;7166;p154">
              <a:extLst>
                <a:ext uri="{FF2B5EF4-FFF2-40B4-BE49-F238E27FC236}">
                  <a16:creationId xmlns:a16="http://schemas.microsoft.com/office/drawing/2014/main" id="{CFE186CC-5EF5-424A-9431-4928E9641685}"/>
                </a:ext>
              </a:extLst>
            </p:cNvPr>
            <p:cNvSpPr/>
            <p:nvPr/>
          </p:nvSpPr>
          <p:spPr>
            <a:xfrm>
              <a:off x="6388988"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1" name="Google Shape;7167;p154">
              <a:extLst>
                <a:ext uri="{FF2B5EF4-FFF2-40B4-BE49-F238E27FC236}">
                  <a16:creationId xmlns:a16="http://schemas.microsoft.com/office/drawing/2014/main" id="{001E0305-92A8-431A-B5A8-9C93D8515C95}"/>
                </a:ext>
              </a:extLst>
            </p:cNvPr>
            <p:cNvSpPr/>
            <p:nvPr/>
          </p:nvSpPr>
          <p:spPr>
            <a:xfrm>
              <a:off x="6251091"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2" name="Google Shape;7168;p154">
              <a:extLst>
                <a:ext uri="{FF2B5EF4-FFF2-40B4-BE49-F238E27FC236}">
                  <a16:creationId xmlns:a16="http://schemas.microsoft.com/office/drawing/2014/main" id="{4BF79C90-28E9-44C4-83D4-878C8B947FF0}"/>
                </a:ext>
              </a:extLst>
            </p:cNvPr>
            <p:cNvSpPr/>
            <p:nvPr/>
          </p:nvSpPr>
          <p:spPr>
            <a:xfrm>
              <a:off x="6820231"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3" name="Google Shape;7169;p154">
              <a:extLst>
                <a:ext uri="{FF2B5EF4-FFF2-40B4-BE49-F238E27FC236}">
                  <a16:creationId xmlns:a16="http://schemas.microsoft.com/office/drawing/2014/main" id="{CC7D8C01-E989-4C9D-9A8E-4C27934D4D6E}"/>
                </a:ext>
              </a:extLst>
            </p:cNvPr>
            <p:cNvSpPr/>
            <p:nvPr/>
          </p:nvSpPr>
          <p:spPr>
            <a:xfrm>
              <a:off x="6682334"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4" name="Google Shape;7170;p154">
              <a:extLst>
                <a:ext uri="{FF2B5EF4-FFF2-40B4-BE49-F238E27FC236}">
                  <a16:creationId xmlns:a16="http://schemas.microsoft.com/office/drawing/2014/main" id="{4CFC85D1-7022-466D-BC36-74E57211984E}"/>
                </a:ext>
              </a:extLst>
            </p:cNvPr>
            <p:cNvSpPr/>
            <p:nvPr/>
          </p:nvSpPr>
          <p:spPr>
            <a:xfrm>
              <a:off x="6544437"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5" name="Google Shape;7171;p154">
              <a:extLst>
                <a:ext uri="{FF2B5EF4-FFF2-40B4-BE49-F238E27FC236}">
                  <a16:creationId xmlns:a16="http://schemas.microsoft.com/office/drawing/2014/main" id="{1E98C715-618E-4922-9B82-CCC6C932CE9F}"/>
                </a:ext>
              </a:extLst>
            </p:cNvPr>
            <p:cNvSpPr/>
            <p:nvPr/>
          </p:nvSpPr>
          <p:spPr>
            <a:xfrm>
              <a:off x="7233921"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6" name="Google Shape;7172;p154">
              <a:extLst>
                <a:ext uri="{FF2B5EF4-FFF2-40B4-BE49-F238E27FC236}">
                  <a16:creationId xmlns:a16="http://schemas.microsoft.com/office/drawing/2014/main" id="{B5FF8326-D333-430E-A6FD-FE786FD15AE9}"/>
                </a:ext>
              </a:extLst>
            </p:cNvPr>
            <p:cNvSpPr/>
            <p:nvPr/>
          </p:nvSpPr>
          <p:spPr>
            <a:xfrm>
              <a:off x="7096025"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7" name="Google Shape;7173;p154">
              <a:extLst>
                <a:ext uri="{FF2B5EF4-FFF2-40B4-BE49-F238E27FC236}">
                  <a16:creationId xmlns:a16="http://schemas.microsoft.com/office/drawing/2014/main" id="{38C5DBC3-BEAD-4418-81F7-C8621E021CF9}"/>
                </a:ext>
              </a:extLst>
            </p:cNvPr>
            <p:cNvSpPr/>
            <p:nvPr/>
          </p:nvSpPr>
          <p:spPr>
            <a:xfrm>
              <a:off x="6958128"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8" name="Google Shape;7174;p154">
              <a:extLst>
                <a:ext uri="{FF2B5EF4-FFF2-40B4-BE49-F238E27FC236}">
                  <a16:creationId xmlns:a16="http://schemas.microsoft.com/office/drawing/2014/main" id="{70FA9D66-83D3-4FFA-BB31-6F3580FAA353}"/>
                </a:ext>
              </a:extLst>
            </p:cNvPr>
            <p:cNvSpPr/>
            <p:nvPr/>
          </p:nvSpPr>
          <p:spPr>
            <a:xfrm>
              <a:off x="7647612"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9" name="Google Shape;7175;p154">
              <a:extLst>
                <a:ext uri="{FF2B5EF4-FFF2-40B4-BE49-F238E27FC236}">
                  <a16:creationId xmlns:a16="http://schemas.microsoft.com/office/drawing/2014/main" id="{0697EE73-40B9-415F-9F13-3BF04CD51777}"/>
                </a:ext>
              </a:extLst>
            </p:cNvPr>
            <p:cNvSpPr/>
            <p:nvPr/>
          </p:nvSpPr>
          <p:spPr>
            <a:xfrm>
              <a:off x="7509715"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0" name="Google Shape;7176;p154">
              <a:extLst>
                <a:ext uri="{FF2B5EF4-FFF2-40B4-BE49-F238E27FC236}">
                  <a16:creationId xmlns:a16="http://schemas.microsoft.com/office/drawing/2014/main" id="{1E01B07A-D3DA-450A-B3DE-06EE03A2F7D8}"/>
                </a:ext>
              </a:extLst>
            </p:cNvPr>
            <p:cNvSpPr/>
            <p:nvPr/>
          </p:nvSpPr>
          <p:spPr>
            <a:xfrm>
              <a:off x="7371818"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1" name="Google Shape;7177;p154">
              <a:extLst>
                <a:ext uri="{FF2B5EF4-FFF2-40B4-BE49-F238E27FC236}">
                  <a16:creationId xmlns:a16="http://schemas.microsoft.com/office/drawing/2014/main" id="{7C25C492-9273-4DFA-8C86-4ABC1827D2B7}"/>
                </a:ext>
              </a:extLst>
            </p:cNvPr>
            <p:cNvSpPr/>
            <p:nvPr/>
          </p:nvSpPr>
          <p:spPr>
            <a:xfrm>
              <a:off x="7925959"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2" name="Google Shape;7178;p154">
              <a:extLst>
                <a:ext uri="{FF2B5EF4-FFF2-40B4-BE49-F238E27FC236}">
                  <a16:creationId xmlns:a16="http://schemas.microsoft.com/office/drawing/2014/main" id="{38B1D11F-EF05-42A0-91E6-F6C3DBFB153D}"/>
                </a:ext>
              </a:extLst>
            </p:cNvPr>
            <p:cNvSpPr/>
            <p:nvPr/>
          </p:nvSpPr>
          <p:spPr>
            <a:xfrm>
              <a:off x="7788062"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3" name="Google Shape;7179;p154">
              <a:extLst>
                <a:ext uri="{FF2B5EF4-FFF2-40B4-BE49-F238E27FC236}">
                  <a16:creationId xmlns:a16="http://schemas.microsoft.com/office/drawing/2014/main" id="{0723EB4F-19FF-4247-84F2-CB050720D992}"/>
                </a:ext>
              </a:extLst>
            </p:cNvPr>
            <p:cNvSpPr/>
            <p:nvPr/>
          </p:nvSpPr>
          <p:spPr>
            <a:xfrm>
              <a:off x="8347474"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4" name="Google Shape;7180;p154">
              <a:extLst>
                <a:ext uri="{FF2B5EF4-FFF2-40B4-BE49-F238E27FC236}">
                  <a16:creationId xmlns:a16="http://schemas.microsoft.com/office/drawing/2014/main" id="{5E01FB72-DCCC-47C9-8FFA-FAC785655451}"/>
                </a:ext>
              </a:extLst>
            </p:cNvPr>
            <p:cNvSpPr/>
            <p:nvPr/>
          </p:nvSpPr>
          <p:spPr>
            <a:xfrm>
              <a:off x="8209577"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5" name="Google Shape;7181;p154">
              <a:extLst>
                <a:ext uri="{FF2B5EF4-FFF2-40B4-BE49-F238E27FC236}">
                  <a16:creationId xmlns:a16="http://schemas.microsoft.com/office/drawing/2014/main" id="{0A99E86E-1702-4FE0-9D5C-8AA041A35F79}"/>
                </a:ext>
              </a:extLst>
            </p:cNvPr>
            <p:cNvSpPr/>
            <p:nvPr/>
          </p:nvSpPr>
          <p:spPr>
            <a:xfrm>
              <a:off x="8071680"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6" name="Google Shape;7182;p154">
              <a:extLst>
                <a:ext uri="{FF2B5EF4-FFF2-40B4-BE49-F238E27FC236}">
                  <a16:creationId xmlns:a16="http://schemas.microsoft.com/office/drawing/2014/main" id="{E6309978-D484-4B78-9899-EE5E6B7EAF6D}"/>
                </a:ext>
              </a:extLst>
            </p:cNvPr>
            <p:cNvSpPr/>
            <p:nvPr/>
          </p:nvSpPr>
          <p:spPr>
            <a:xfrm>
              <a:off x="8485371"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grpSp>
      <p:sp>
        <p:nvSpPr>
          <p:cNvPr id="141" name="Google Shape;7187;p154">
            <a:extLst>
              <a:ext uri="{FF2B5EF4-FFF2-40B4-BE49-F238E27FC236}">
                <a16:creationId xmlns:a16="http://schemas.microsoft.com/office/drawing/2014/main" id="{4E3E5ECF-19C3-462B-AA5C-E6A0E51F9FB6}"/>
              </a:ext>
            </a:extLst>
          </p:cNvPr>
          <p:cNvSpPr txBox="1"/>
          <p:nvPr/>
        </p:nvSpPr>
        <p:spPr>
          <a:xfrm flipH="1">
            <a:off x="3873001" y="4574069"/>
            <a:ext cx="3492865" cy="964326"/>
          </a:xfrm>
          <a:prstGeom prst="rect">
            <a:avLst/>
          </a:prstGeom>
          <a:noFill/>
          <a:ln>
            <a:noFill/>
          </a:ln>
        </p:spPr>
        <p:txBody>
          <a:bodyPr spcFirstLastPara="1" wrap="square" lIns="91425" tIns="45700" rIns="91425" bIns="45700" anchor="t" anchorCtr="0">
            <a:spAutoFit/>
          </a:bodyPr>
          <a:lstStyle/>
          <a:p>
            <a:pPr marL="171450" indent="-171450">
              <a:spcBef>
                <a:spcPts val="171"/>
              </a:spcBef>
              <a:buClr>
                <a:schemeClr val="dk1"/>
              </a:buClr>
              <a:buSzPts val="900"/>
              <a:buFont typeface="Arial"/>
              <a:buChar char="•"/>
            </a:pPr>
            <a:r>
              <a:rPr lang="en-US" sz="1000" dirty="0">
                <a:solidFill>
                  <a:schemeClr val="dk1"/>
                </a:solidFill>
                <a:ea typeface="Arial"/>
                <a:cs typeface="Arial"/>
              </a:rPr>
              <a:t>Establish and confirm work schedule </a:t>
            </a:r>
          </a:p>
          <a:p>
            <a:pPr marL="171450" indent="-171450">
              <a:spcBef>
                <a:spcPts val="171"/>
              </a:spcBef>
              <a:buClr>
                <a:srgbClr val="000000"/>
              </a:buClr>
              <a:buSzPts val="900"/>
              <a:buFont typeface="Arial"/>
              <a:buChar char="•"/>
            </a:pPr>
            <a:r>
              <a:rPr lang="en-US" sz="1000" dirty="0">
                <a:solidFill>
                  <a:schemeClr val="dk1"/>
                </a:solidFill>
                <a:ea typeface="Arial"/>
                <a:cs typeface="Arial"/>
              </a:rPr>
              <a:t>Added to all relevant recurring meetings, Microsoft Team groups, distribution lists and objective folders</a:t>
            </a:r>
          </a:p>
          <a:p>
            <a:pPr marL="171450" indent="-171450">
              <a:spcBef>
                <a:spcPts val="171"/>
              </a:spcBef>
              <a:buClr>
                <a:srgbClr val="000000"/>
              </a:buClr>
              <a:buSzPts val="900"/>
              <a:buFont typeface="Arial"/>
              <a:buChar char="•"/>
            </a:pPr>
            <a:r>
              <a:rPr lang="en-US" sz="1000" dirty="0">
                <a:solidFill>
                  <a:schemeClr val="dk1"/>
                </a:solidFill>
                <a:ea typeface="Arial"/>
                <a:cs typeface="Arial"/>
              </a:rPr>
              <a:t>Attended the ‘One Commission’ induction program</a:t>
            </a:r>
          </a:p>
          <a:p>
            <a:pPr marL="171450" indent="-171450">
              <a:spcBef>
                <a:spcPts val="171"/>
              </a:spcBef>
              <a:buClr>
                <a:srgbClr val="000000"/>
              </a:buClr>
              <a:buSzPts val="900"/>
              <a:buFont typeface="Arial"/>
              <a:buChar char="•"/>
            </a:pPr>
            <a:r>
              <a:rPr lang="en-US" sz="1000" dirty="0">
                <a:solidFill>
                  <a:schemeClr val="dk1"/>
                </a:solidFill>
                <a:ea typeface="Arial"/>
                <a:cs typeface="Arial"/>
              </a:rPr>
              <a:t>Received Week 1 survey </a:t>
            </a:r>
          </a:p>
        </p:txBody>
      </p:sp>
      <p:cxnSp>
        <p:nvCxnSpPr>
          <p:cNvPr id="149" name="Google Shape;7195;p154">
            <a:extLst>
              <a:ext uri="{FF2B5EF4-FFF2-40B4-BE49-F238E27FC236}">
                <a16:creationId xmlns:a16="http://schemas.microsoft.com/office/drawing/2014/main" id="{BD6DB729-1F11-47AF-9BB6-214A0B3A8ABC}"/>
              </a:ext>
            </a:extLst>
          </p:cNvPr>
          <p:cNvCxnSpPr/>
          <p:nvPr/>
        </p:nvCxnSpPr>
        <p:spPr>
          <a:xfrm rot="5400000">
            <a:off x="974112" y="4390618"/>
            <a:ext cx="304800" cy="2117"/>
          </a:xfrm>
          <a:prstGeom prst="straightConnector1">
            <a:avLst/>
          </a:prstGeom>
          <a:noFill/>
          <a:ln w="9525" cap="flat" cmpd="sng">
            <a:solidFill>
              <a:srgbClr val="7F7F7F"/>
            </a:solidFill>
            <a:prstDash val="dash"/>
            <a:round/>
            <a:headEnd type="none" w="sm" len="sm"/>
            <a:tailEnd type="none" w="sm" len="sm"/>
          </a:ln>
        </p:spPr>
      </p:cxnSp>
      <p:cxnSp>
        <p:nvCxnSpPr>
          <p:cNvPr id="150" name="Google Shape;7196;p154">
            <a:extLst>
              <a:ext uri="{FF2B5EF4-FFF2-40B4-BE49-F238E27FC236}">
                <a16:creationId xmlns:a16="http://schemas.microsoft.com/office/drawing/2014/main" id="{FDA645B9-5064-456B-9231-50D7B0632555}"/>
              </a:ext>
            </a:extLst>
          </p:cNvPr>
          <p:cNvCxnSpPr/>
          <p:nvPr/>
        </p:nvCxnSpPr>
        <p:spPr>
          <a:xfrm rot="5400000">
            <a:off x="5011955" y="4377287"/>
            <a:ext cx="304800" cy="2117"/>
          </a:xfrm>
          <a:prstGeom prst="straightConnector1">
            <a:avLst/>
          </a:prstGeom>
          <a:noFill/>
          <a:ln w="9525" cap="flat" cmpd="sng">
            <a:solidFill>
              <a:srgbClr val="7F7F7F"/>
            </a:solidFill>
            <a:prstDash val="dash"/>
            <a:round/>
            <a:headEnd type="none" w="sm" len="sm"/>
            <a:tailEnd type="none" w="sm" len="sm"/>
          </a:ln>
        </p:spPr>
      </p:cxnSp>
      <p:cxnSp>
        <p:nvCxnSpPr>
          <p:cNvPr id="151" name="Google Shape;7197;p154">
            <a:extLst>
              <a:ext uri="{FF2B5EF4-FFF2-40B4-BE49-F238E27FC236}">
                <a16:creationId xmlns:a16="http://schemas.microsoft.com/office/drawing/2014/main" id="{FF9AF728-BA4C-4B85-AD14-1F347B56B522}"/>
              </a:ext>
            </a:extLst>
          </p:cNvPr>
          <p:cNvCxnSpPr>
            <a:cxnSpLocks/>
          </p:cNvCxnSpPr>
          <p:nvPr/>
        </p:nvCxnSpPr>
        <p:spPr>
          <a:xfrm rot="5400000">
            <a:off x="9002087" y="4390618"/>
            <a:ext cx="304800" cy="2117"/>
          </a:xfrm>
          <a:prstGeom prst="straightConnector1">
            <a:avLst/>
          </a:prstGeom>
          <a:noFill/>
          <a:ln w="9525" cap="flat" cmpd="sng">
            <a:solidFill>
              <a:srgbClr val="7F7F7F"/>
            </a:solidFill>
            <a:prstDash val="dash"/>
            <a:round/>
            <a:headEnd type="none" w="sm" len="sm"/>
            <a:tailEnd type="none" w="sm" len="sm"/>
          </a:ln>
        </p:spPr>
      </p:cxnSp>
      <p:cxnSp>
        <p:nvCxnSpPr>
          <p:cNvPr id="152" name="Google Shape;7198;p154">
            <a:extLst>
              <a:ext uri="{FF2B5EF4-FFF2-40B4-BE49-F238E27FC236}">
                <a16:creationId xmlns:a16="http://schemas.microsoft.com/office/drawing/2014/main" id="{4F47F635-066D-499C-A393-5CA2DD04B089}"/>
              </a:ext>
            </a:extLst>
          </p:cNvPr>
          <p:cNvCxnSpPr>
            <a:cxnSpLocks/>
          </p:cNvCxnSpPr>
          <p:nvPr/>
        </p:nvCxnSpPr>
        <p:spPr>
          <a:xfrm>
            <a:off x="3144341" y="4268693"/>
            <a:ext cx="8562" cy="1387072"/>
          </a:xfrm>
          <a:prstGeom prst="straightConnector1">
            <a:avLst/>
          </a:prstGeom>
          <a:noFill/>
          <a:ln w="9525" cap="flat" cmpd="sng">
            <a:solidFill>
              <a:srgbClr val="7F7F7F"/>
            </a:solidFill>
            <a:prstDash val="dash"/>
            <a:round/>
            <a:headEnd type="none" w="sm" len="sm"/>
            <a:tailEnd type="none" w="sm" len="sm"/>
          </a:ln>
        </p:spPr>
      </p:cxnSp>
      <p:cxnSp>
        <p:nvCxnSpPr>
          <p:cNvPr id="153" name="Google Shape;7199;p154">
            <a:extLst>
              <a:ext uri="{FF2B5EF4-FFF2-40B4-BE49-F238E27FC236}">
                <a16:creationId xmlns:a16="http://schemas.microsoft.com/office/drawing/2014/main" id="{734733F9-D18C-4225-8E0C-47A1541CEB05}"/>
              </a:ext>
            </a:extLst>
          </p:cNvPr>
          <p:cNvCxnSpPr>
            <a:cxnSpLocks/>
          </p:cNvCxnSpPr>
          <p:nvPr/>
        </p:nvCxnSpPr>
        <p:spPr>
          <a:xfrm rot="5400000">
            <a:off x="6518408" y="4928035"/>
            <a:ext cx="1320800" cy="2117"/>
          </a:xfrm>
          <a:prstGeom prst="straightConnector1">
            <a:avLst/>
          </a:prstGeom>
          <a:noFill/>
          <a:ln w="9525" cap="flat" cmpd="sng">
            <a:solidFill>
              <a:srgbClr val="7F7F7F"/>
            </a:solidFill>
            <a:prstDash val="dash"/>
            <a:round/>
            <a:headEnd type="none" w="sm" len="sm"/>
            <a:tailEnd type="none" w="sm" len="sm"/>
          </a:ln>
        </p:spPr>
      </p:cxnSp>
      <p:grpSp>
        <p:nvGrpSpPr>
          <p:cNvPr id="156" name="Google Shape;7119;p154">
            <a:extLst>
              <a:ext uri="{FF2B5EF4-FFF2-40B4-BE49-F238E27FC236}">
                <a16:creationId xmlns:a16="http://schemas.microsoft.com/office/drawing/2014/main" id="{A520C0F4-7FDD-4968-99DB-B0C8714AAD49}"/>
              </a:ext>
            </a:extLst>
          </p:cNvPr>
          <p:cNvGrpSpPr/>
          <p:nvPr/>
        </p:nvGrpSpPr>
        <p:grpSpPr>
          <a:xfrm>
            <a:off x="8549753" y="2191375"/>
            <a:ext cx="1193800" cy="1397000"/>
            <a:chOff x="7648575" y="2552700"/>
            <a:chExt cx="895350" cy="1047750"/>
          </a:xfrm>
        </p:grpSpPr>
        <p:sp>
          <p:nvSpPr>
            <p:cNvPr id="157" name="Google Shape;7120;p154">
              <a:extLst>
                <a:ext uri="{FF2B5EF4-FFF2-40B4-BE49-F238E27FC236}">
                  <a16:creationId xmlns:a16="http://schemas.microsoft.com/office/drawing/2014/main" id="{1780AF38-CAA2-43BD-BD0E-61E81A72B179}"/>
                </a:ext>
              </a:extLst>
            </p:cNvPr>
            <p:cNvSpPr/>
            <p:nvPr/>
          </p:nvSpPr>
          <p:spPr>
            <a:xfrm>
              <a:off x="8073391" y="33718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158" name="Google Shape;7121;p154">
              <a:extLst>
                <a:ext uri="{FF2B5EF4-FFF2-40B4-BE49-F238E27FC236}">
                  <a16:creationId xmlns:a16="http://schemas.microsoft.com/office/drawing/2014/main" id="{4D5AC049-7A9A-46B0-B4C3-D23785B22C11}"/>
                </a:ext>
              </a:extLst>
            </p:cNvPr>
            <p:cNvSpPr/>
            <p:nvPr/>
          </p:nvSpPr>
          <p:spPr>
            <a:xfrm>
              <a:off x="7648575" y="2552700"/>
              <a:ext cx="895350" cy="89535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rgbClr val="FFFFFF"/>
                  </a:solidFill>
                  <a:latin typeface="Arial"/>
                  <a:ea typeface="Arial"/>
                  <a:cs typeface="Arial"/>
                  <a:sym typeface="Arial"/>
                </a:rPr>
                <a:t>Month 1</a:t>
              </a:r>
              <a:endParaRPr sz="1400" b="1" dirty="0"/>
            </a:p>
          </p:txBody>
        </p:sp>
      </p:grpSp>
      <p:sp>
        <p:nvSpPr>
          <p:cNvPr id="159" name="Google Shape;7190;p154">
            <a:extLst>
              <a:ext uri="{FF2B5EF4-FFF2-40B4-BE49-F238E27FC236}">
                <a16:creationId xmlns:a16="http://schemas.microsoft.com/office/drawing/2014/main" id="{09C3E62B-6918-4FA2-8B84-2FC60EC0F201}"/>
              </a:ext>
            </a:extLst>
          </p:cNvPr>
          <p:cNvSpPr txBox="1"/>
          <p:nvPr/>
        </p:nvSpPr>
        <p:spPr>
          <a:xfrm flipH="1">
            <a:off x="7725200" y="4574253"/>
            <a:ext cx="3197317" cy="630902"/>
          </a:xfrm>
          <a:prstGeom prst="rect">
            <a:avLst/>
          </a:prstGeom>
          <a:noFill/>
          <a:ln>
            <a:noFill/>
          </a:ln>
        </p:spPr>
        <p:txBody>
          <a:bodyPr spcFirstLastPara="1" wrap="square" lIns="91425" tIns="45700" rIns="91425" bIns="45700" anchor="t" anchorCtr="0">
            <a:spAutoFit/>
          </a:bodyPr>
          <a:lstStyle/>
          <a:p>
            <a:pPr marL="171450" indent="-171450">
              <a:spcBef>
                <a:spcPts val="171"/>
              </a:spcBef>
              <a:buClr>
                <a:schemeClr val="dk1"/>
              </a:buClr>
              <a:buSzPts val="900"/>
              <a:buFont typeface="Arial"/>
              <a:buChar char="•"/>
            </a:pPr>
            <a:r>
              <a:rPr lang="en-AU" sz="1000" dirty="0">
                <a:solidFill>
                  <a:schemeClr val="dk1"/>
                </a:solidFill>
                <a:ea typeface="Arial"/>
                <a:cs typeface="Arial"/>
              </a:rPr>
              <a:t>Check-in with Manager to discuss the past Month</a:t>
            </a:r>
          </a:p>
          <a:p>
            <a:pPr marL="171450" indent="-171450">
              <a:spcBef>
                <a:spcPts val="171"/>
              </a:spcBef>
              <a:buClr>
                <a:srgbClr val="000000"/>
              </a:buClr>
              <a:buSzPts val="900"/>
              <a:buFont typeface="Arial"/>
              <a:buChar char="•"/>
            </a:pPr>
            <a:r>
              <a:rPr lang="en-AU" sz="1000" dirty="0">
                <a:solidFill>
                  <a:schemeClr val="dk1"/>
                </a:solidFill>
                <a:ea typeface="Arial"/>
                <a:cs typeface="Arial"/>
              </a:rPr>
              <a:t>Review and finalise goals and development plans</a:t>
            </a:r>
          </a:p>
          <a:p>
            <a:pPr marL="171450" indent="-171450">
              <a:spcBef>
                <a:spcPts val="171"/>
              </a:spcBef>
              <a:buClr>
                <a:srgbClr val="000000"/>
              </a:buClr>
              <a:buSzPts val="900"/>
              <a:buFont typeface="Arial"/>
              <a:buChar char="•"/>
            </a:pPr>
            <a:r>
              <a:rPr lang="en-AU" sz="1000" dirty="0">
                <a:solidFill>
                  <a:schemeClr val="dk1"/>
                </a:solidFill>
                <a:ea typeface="Arial"/>
                <a:cs typeface="Arial"/>
              </a:rPr>
              <a:t>Received 1 month survey</a:t>
            </a:r>
          </a:p>
        </p:txBody>
      </p:sp>
      <p:cxnSp>
        <p:nvCxnSpPr>
          <p:cNvPr id="160" name="Google Shape;7199;p154">
            <a:extLst>
              <a:ext uri="{FF2B5EF4-FFF2-40B4-BE49-F238E27FC236}">
                <a16:creationId xmlns:a16="http://schemas.microsoft.com/office/drawing/2014/main" id="{F2527AFB-C7C1-4A2D-9F5E-486628728738}"/>
              </a:ext>
            </a:extLst>
          </p:cNvPr>
          <p:cNvCxnSpPr>
            <a:cxnSpLocks/>
          </p:cNvCxnSpPr>
          <p:nvPr/>
        </p:nvCxnSpPr>
        <p:spPr>
          <a:xfrm rot="5400000">
            <a:off x="10485983" y="4888265"/>
            <a:ext cx="1320800" cy="2117"/>
          </a:xfrm>
          <a:prstGeom prst="straightConnector1">
            <a:avLst/>
          </a:prstGeom>
          <a:noFill/>
          <a:ln w="9525" cap="flat" cmpd="sng">
            <a:solidFill>
              <a:srgbClr val="7F7F7F"/>
            </a:solidFill>
            <a:prstDash val="dash"/>
            <a:round/>
            <a:headEnd type="none" w="sm" len="sm"/>
            <a:tailEnd type="none" w="sm" len="sm"/>
          </a:ln>
        </p:spPr>
      </p:cxnSp>
      <p:sp>
        <p:nvSpPr>
          <p:cNvPr id="140" name="Slide Number Placeholder 7">
            <a:extLst>
              <a:ext uri="{FF2B5EF4-FFF2-40B4-BE49-F238E27FC236}">
                <a16:creationId xmlns:a16="http://schemas.microsoft.com/office/drawing/2014/main" id="{1ECC87A2-C639-4888-A14F-6D9805D1604E}"/>
              </a:ext>
            </a:extLst>
          </p:cNvPr>
          <p:cNvSpPr txBox="1">
            <a:spLocks/>
          </p:cNvSpPr>
          <p:nvPr/>
        </p:nvSpPr>
        <p:spPr>
          <a:xfrm>
            <a:off x="10967668" y="6355784"/>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39</a:t>
            </a:fld>
            <a:endParaRPr lang="en-US" dirty="0"/>
          </a:p>
        </p:txBody>
      </p:sp>
      <p:sp>
        <p:nvSpPr>
          <p:cNvPr id="142" name="Footer Placeholder 1">
            <a:extLst>
              <a:ext uri="{FF2B5EF4-FFF2-40B4-BE49-F238E27FC236}">
                <a16:creationId xmlns:a16="http://schemas.microsoft.com/office/drawing/2014/main" id="{88A6D42E-B37D-426C-9474-824C80842259}"/>
              </a:ext>
            </a:extLst>
          </p:cNvPr>
          <p:cNvSpPr>
            <a:spLocks noGrp="1"/>
          </p:cNvSpPr>
          <p:nvPr>
            <p:ph type="ftr" sz="quarter" idx="11"/>
          </p:nvPr>
        </p:nvSpPr>
        <p:spPr>
          <a:xfrm>
            <a:off x="1172187" y="6356350"/>
            <a:ext cx="6783813" cy="180000"/>
          </a:xfrm>
        </p:spPr>
        <p:txBody>
          <a:bodyPr/>
          <a:lstStyle/>
          <a:p>
            <a:pPr algn="ctr"/>
            <a:r>
              <a:rPr lang="en-AU" smtClean="0"/>
              <a:t>NDIS Commission Workforce Plan 2023-2028</a:t>
            </a:r>
            <a:endParaRPr lang="en-US" dirty="0"/>
          </a:p>
        </p:txBody>
      </p:sp>
      <p:sp>
        <p:nvSpPr>
          <p:cNvPr id="138" name="Google Shape;7184;p154">
            <a:extLst>
              <a:ext uri="{FF2B5EF4-FFF2-40B4-BE49-F238E27FC236}">
                <a16:creationId xmlns:a16="http://schemas.microsoft.com/office/drawing/2014/main" id="{F9E59E40-ABC6-47F8-BDA9-39DF61DEE794}"/>
              </a:ext>
            </a:extLst>
          </p:cNvPr>
          <p:cNvSpPr txBox="1"/>
          <p:nvPr/>
        </p:nvSpPr>
        <p:spPr>
          <a:xfrm flipH="1">
            <a:off x="2088940" y="5509018"/>
            <a:ext cx="3720188" cy="810438"/>
          </a:xfrm>
          <a:prstGeom prst="rect">
            <a:avLst/>
          </a:prstGeom>
          <a:solidFill>
            <a:schemeClr val="bg1"/>
          </a:solidFill>
          <a:ln>
            <a:noFill/>
          </a:ln>
        </p:spPr>
        <p:txBody>
          <a:bodyPr spcFirstLastPara="1" wrap="square" lIns="91425" tIns="45700" rIns="91425" bIns="45700" anchor="t" anchorCtr="0">
            <a:spAutoFit/>
          </a:bodyPr>
          <a:lstStyle/>
          <a:p>
            <a:pPr marL="171450" indent="-171450">
              <a:spcBef>
                <a:spcPts val="171"/>
              </a:spcBef>
              <a:buClr>
                <a:schemeClr val="dk1"/>
              </a:buClr>
              <a:buSzPts val="900"/>
              <a:buFont typeface="Arial"/>
              <a:buChar char="•"/>
            </a:pPr>
            <a:r>
              <a:rPr lang="en-US" sz="1000" dirty="0">
                <a:solidFill>
                  <a:srgbClr val="000000"/>
                </a:solidFill>
                <a:cs typeface="Arial"/>
              </a:rPr>
              <a:t>Security pass, desk assigned and Login/Computer access  </a:t>
            </a:r>
          </a:p>
          <a:p>
            <a:pPr marL="171450" indent="-171450">
              <a:spcBef>
                <a:spcPts val="171"/>
              </a:spcBef>
              <a:buClr>
                <a:srgbClr val="000000"/>
              </a:buClr>
              <a:buSzPts val="900"/>
              <a:buFont typeface="Arial"/>
              <a:buChar char="•"/>
            </a:pPr>
            <a:r>
              <a:rPr lang="en-US" sz="1000" dirty="0">
                <a:solidFill>
                  <a:srgbClr val="000000"/>
                </a:solidFill>
                <a:cs typeface="Arial"/>
              </a:rPr>
              <a:t>Provide office and amenities tour </a:t>
            </a:r>
          </a:p>
          <a:p>
            <a:pPr marL="171450" indent="-171450">
              <a:spcBef>
                <a:spcPts val="171"/>
              </a:spcBef>
              <a:buClr>
                <a:srgbClr val="000000"/>
              </a:buClr>
              <a:buSzPts val="900"/>
              <a:buFont typeface="Arial"/>
              <a:buChar char="•"/>
            </a:pPr>
            <a:r>
              <a:rPr lang="en-US" sz="1000" dirty="0">
                <a:solidFill>
                  <a:srgbClr val="000000"/>
                </a:solidFill>
                <a:cs typeface="Arial"/>
              </a:rPr>
              <a:t>Introductions to the team and buddy </a:t>
            </a:r>
          </a:p>
          <a:p>
            <a:pPr marL="171450" indent="-171450">
              <a:spcBef>
                <a:spcPts val="171"/>
              </a:spcBef>
              <a:buClr>
                <a:srgbClr val="000000"/>
              </a:buClr>
              <a:buSzPts val="900"/>
              <a:buFont typeface="Arial"/>
              <a:buChar char="•"/>
            </a:pPr>
            <a:r>
              <a:rPr lang="en-US" sz="1000" dirty="0">
                <a:solidFill>
                  <a:srgbClr val="000000"/>
                </a:solidFill>
                <a:cs typeface="Arial"/>
              </a:rPr>
              <a:t>Discuss new role and expectations in more detail </a:t>
            </a:r>
          </a:p>
        </p:txBody>
      </p:sp>
      <p:sp>
        <p:nvSpPr>
          <p:cNvPr id="144" name="Google Shape;7190;p154">
            <a:extLst>
              <a:ext uri="{FF2B5EF4-FFF2-40B4-BE49-F238E27FC236}">
                <a16:creationId xmlns:a16="http://schemas.microsoft.com/office/drawing/2014/main" id="{9049D9B3-6FD5-4FFB-90CC-5476656625A5}"/>
              </a:ext>
            </a:extLst>
          </p:cNvPr>
          <p:cNvSpPr txBox="1"/>
          <p:nvPr/>
        </p:nvSpPr>
        <p:spPr>
          <a:xfrm flipH="1">
            <a:off x="5902351" y="5538395"/>
            <a:ext cx="3821193" cy="784790"/>
          </a:xfrm>
          <a:prstGeom prst="rect">
            <a:avLst/>
          </a:prstGeom>
          <a:solidFill>
            <a:schemeClr val="bg1"/>
          </a:solidFill>
          <a:ln>
            <a:noFill/>
          </a:ln>
        </p:spPr>
        <p:txBody>
          <a:bodyPr spcFirstLastPara="1" wrap="square" lIns="91425" tIns="45700" rIns="91425" bIns="45700" anchor="t" anchorCtr="0">
            <a:spAutoFit/>
          </a:bodyPr>
          <a:lstStyle/>
          <a:p>
            <a:pPr marL="171450" indent="-171450">
              <a:spcBef>
                <a:spcPts val="171"/>
              </a:spcBef>
              <a:buClr>
                <a:srgbClr val="000000"/>
              </a:buClr>
              <a:buSzPts val="900"/>
              <a:buFont typeface="Arial"/>
              <a:buChar char="•"/>
            </a:pPr>
            <a:r>
              <a:rPr lang="en-US" sz="1000" dirty="0">
                <a:solidFill>
                  <a:schemeClr val="dk1"/>
                </a:solidFill>
                <a:ea typeface="Arial"/>
                <a:cs typeface="Arial"/>
              </a:rPr>
              <a:t>Begin the professional development plans, goal and milestone setting process</a:t>
            </a:r>
          </a:p>
          <a:p>
            <a:pPr marL="171450" indent="-171450">
              <a:spcBef>
                <a:spcPts val="171"/>
              </a:spcBef>
              <a:buClr>
                <a:srgbClr val="000000"/>
              </a:buClr>
              <a:buSzPts val="900"/>
              <a:buFont typeface="Arial"/>
              <a:buChar char="•"/>
            </a:pPr>
            <a:r>
              <a:rPr lang="en-US" sz="1000" dirty="0">
                <a:solidFill>
                  <a:schemeClr val="dk1"/>
                </a:solidFill>
                <a:ea typeface="Arial"/>
                <a:cs typeface="Arial"/>
              </a:rPr>
              <a:t>Connected with new starter community </a:t>
            </a:r>
          </a:p>
          <a:p>
            <a:pPr marL="171450" indent="-171450">
              <a:spcBef>
                <a:spcPts val="171"/>
              </a:spcBef>
              <a:buClr>
                <a:srgbClr val="000000"/>
              </a:buClr>
              <a:buSzPts val="900"/>
              <a:buFont typeface="Arial"/>
              <a:buChar char="•"/>
            </a:pPr>
            <a:r>
              <a:rPr lang="en-US" sz="1000" dirty="0">
                <a:solidFill>
                  <a:schemeClr val="dk1"/>
                </a:solidFill>
                <a:ea typeface="Arial"/>
                <a:cs typeface="Arial"/>
              </a:rPr>
              <a:t>Undertaken mandatory APS training </a:t>
            </a:r>
          </a:p>
        </p:txBody>
      </p:sp>
      <p:sp>
        <p:nvSpPr>
          <p:cNvPr id="161" name="Google Shape;7190;p154">
            <a:extLst>
              <a:ext uri="{FF2B5EF4-FFF2-40B4-BE49-F238E27FC236}">
                <a16:creationId xmlns:a16="http://schemas.microsoft.com/office/drawing/2014/main" id="{326BA8EA-F7CA-4EC3-88A1-D9C8783317BE}"/>
              </a:ext>
            </a:extLst>
          </p:cNvPr>
          <p:cNvSpPr txBox="1"/>
          <p:nvPr/>
        </p:nvSpPr>
        <p:spPr>
          <a:xfrm flipH="1">
            <a:off x="10067560" y="5439767"/>
            <a:ext cx="2058592" cy="759142"/>
          </a:xfrm>
          <a:prstGeom prst="rect">
            <a:avLst/>
          </a:prstGeom>
          <a:solidFill>
            <a:schemeClr val="bg1"/>
          </a:solidFill>
          <a:ln>
            <a:noFill/>
          </a:ln>
        </p:spPr>
        <p:txBody>
          <a:bodyPr spcFirstLastPara="1" wrap="square" lIns="91425" tIns="45700" rIns="91425" bIns="45700" anchor="t" anchorCtr="0">
            <a:spAutoFit/>
          </a:bodyPr>
          <a:lstStyle/>
          <a:p>
            <a:pPr marL="171450" indent="-171450">
              <a:spcBef>
                <a:spcPts val="171"/>
              </a:spcBef>
              <a:buFont typeface="Arial,Sans-Serif"/>
              <a:buChar char="•"/>
            </a:pPr>
            <a:r>
              <a:rPr lang="en-AU" sz="1000" dirty="0">
                <a:solidFill>
                  <a:schemeClr val="dk1"/>
                </a:solidFill>
                <a:ea typeface="+mn-lt"/>
                <a:cs typeface="Arial"/>
                <a:sym typeface="Arial"/>
              </a:rPr>
              <a:t>Completed all "must have" </a:t>
            </a:r>
            <a:r>
              <a:rPr lang="en-AU" sz="1000" dirty="0" smtClean="0">
                <a:solidFill>
                  <a:schemeClr val="dk1"/>
                </a:solidFill>
                <a:ea typeface="+mn-lt"/>
                <a:cs typeface="Arial"/>
                <a:sym typeface="Arial"/>
              </a:rPr>
              <a:t>on boarding </a:t>
            </a:r>
            <a:r>
              <a:rPr lang="en-AU" sz="1000" dirty="0">
                <a:solidFill>
                  <a:schemeClr val="dk1"/>
                </a:solidFill>
                <a:ea typeface="+mn-lt"/>
                <a:cs typeface="Arial"/>
                <a:sym typeface="Arial"/>
              </a:rPr>
              <a:t>activities </a:t>
            </a:r>
          </a:p>
          <a:p>
            <a:pPr marL="171450" indent="-171450">
              <a:spcBef>
                <a:spcPts val="171"/>
              </a:spcBef>
              <a:buFont typeface="Arial,Sans-Serif"/>
              <a:buChar char="•"/>
            </a:pPr>
            <a:r>
              <a:rPr lang="en-AU" sz="1000" dirty="0">
                <a:solidFill>
                  <a:schemeClr val="dk1"/>
                </a:solidFill>
                <a:ea typeface="+mn-lt"/>
                <a:cs typeface="Arial"/>
                <a:sym typeface="Arial"/>
              </a:rPr>
              <a:t>Completed all new starter Learning bites </a:t>
            </a:r>
            <a:endParaRPr lang="en-AU" sz="1000" dirty="0">
              <a:solidFill>
                <a:schemeClr val="dk1"/>
              </a:solidFill>
              <a:ea typeface="+mn-lt"/>
              <a:cs typeface="+mn-lt"/>
              <a:sym typeface="Arial"/>
            </a:endParaRPr>
          </a:p>
        </p:txBody>
      </p:sp>
      <p:sp>
        <p:nvSpPr>
          <p:cNvPr id="139" name="TextBox 138">
            <a:extLst>
              <a:ext uri="{FF2B5EF4-FFF2-40B4-BE49-F238E27FC236}">
                <a16:creationId xmlns:a16="http://schemas.microsoft.com/office/drawing/2014/main" id="{B452CBA6-55F8-4D6F-8808-AA8F92BEAFEB}"/>
              </a:ext>
            </a:extLst>
          </p:cNvPr>
          <p:cNvSpPr txBox="1"/>
          <p:nvPr/>
        </p:nvSpPr>
        <p:spPr>
          <a:xfrm>
            <a:off x="618791" y="5621399"/>
            <a:ext cx="1386191" cy="954107"/>
          </a:xfrm>
          <a:prstGeom prst="rect">
            <a:avLst/>
          </a:prstGeom>
          <a:noFill/>
        </p:spPr>
        <p:txBody>
          <a:bodyPr wrap="square" lIns="91440" tIns="45720" rIns="91440" bIns="45720" rtlCol="0" anchor="t">
            <a:spAutoFit/>
          </a:bodyPr>
          <a:lstStyle/>
          <a:p>
            <a:r>
              <a:rPr lang="en-AU" sz="800" dirty="0"/>
              <a:t>By referring to the </a:t>
            </a:r>
            <a:r>
              <a:rPr lang="en-AU" sz="800" dirty="0" smtClean="0"/>
              <a:t>on boarding </a:t>
            </a:r>
            <a:r>
              <a:rPr lang="en-AU" sz="800" dirty="0"/>
              <a:t>roadmap, I know what I need to do as a leader, to support my new team member at each stage of their </a:t>
            </a:r>
            <a:r>
              <a:rPr lang="en-AU" sz="800" dirty="0" smtClean="0"/>
              <a:t>on boarding </a:t>
            </a:r>
            <a:r>
              <a:rPr lang="en-AU" sz="800" dirty="0"/>
              <a:t>journey and set them up for success. </a:t>
            </a:r>
            <a:endParaRPr lang="en-AU" sz="1000" dirty="0">
              <a:cs typeface="Calibri"/>
            </a:endParaRPr>
          </a:p>
        </p:txBody>
      </p:sp>
      <p:pic>
        <p:nvPicPr>
          <p:cNvPr id="146" name="Graphic 145" descr="decorative">
            <a:extLst>
              <a:ext uri="{FF2B5EF4-FFF2-40B4-BE49-F238E27FC236}">
                <a16:creationId xmlns:a16="http://schemas.microsoft.com/office/drawing/2014/main" id="{59914F99-4F54-475A-8C88-FA27527C85EE}"/>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7888" y="5285521"/>
            <a:ext cx="619182" cy="812932"/>
          </a:xfrm>
          <a:prstGeom prst="rect">
            <a:avLst/>
          </a:prstGeom>
        </p:spPr>
      </p:pic>
    </p:spTree>
    <p:extLst>
      <p:ext uri="{BB962C8B-B14F-4D97-AF65-F5344CB8AC3E}">
        <p14:creationId xmlns:p14="http://schemas.microsoft.com/office/powerpoint/2010/main" val="40516027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B9735C1-2577-4861-B6E6-B93F6BEF046A}"/>
              </a:ext>
            </a:extLst>
          </p:cNvPr>
          <p:cNvSpPr/>
          <p:nvPr/>
        </p:nvSpPr>
        <p:spPr>
          <a:xfrm>
            <a:off x="503692" y="1675457"/>
            <a:ext cx="3449125" cy="50267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TextBox 17">
            <a:extLst>
              <a:ext uri="{FF2B5EF4-FFF2-40B4-BE49-F238E27FC236}">
                <a16:creationId xmlns:a16="http://schemas.microsoft.com/office/drawing/2014/main" id="{1D9CAC00-4A34-4A1E-9B09-8371E883E7E4}"/>
              </a:ext>
            </a:extLst>
          </p:cNvPr>
          <p:cNvSpPr txBox="1"/>
          <p:nvPr/>
        </p:nvSpPr>
        <p:spPr>
          <a:xfrm>
            <a:off x="6681696" y="843150"/>
            <a:ext cx="2120939" cy="407548"/>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AU" sz="900" b="0" i="0" u="none" strike="noStrike" kern="1200" cap="none" spc="0" normalizeH="0" baseline="0" noProof="0" dirty="0">
              <a:ln>
                <a:noFill/>
              </a:ln>
              <a:solidFill>
                <a:prstClr val="black"/>
              </a:solidFill>
              <a:effectLst/>
              <a:uLnTx/>
              <a:uFillTx/>
              <a:latin typeface="Helvetica Neue" panose="020B0604020202020204"/>
              <a:ea typeface="+mn-ea"/>
              <a:cs typeface="+mn-cs"/>
            </a:endParaRPr>
          </a:p>
        </p:txBody>
      </p:sp>
      <p:sp>
        <p:nvSpPr>
          <p:cNvPr id="43" name="Title 4">
            <a:extLst>
              <a:ext uri="{FF2B5EF4-FFF2-40B4-BE49-F238E27FC236}">
                <a16:creationId xmlns:a16="http://schemas.microsoft.com/office/drawing/2014/main" id="{F5AA326D-52F5-4465-8F25-185600174607}"/>
              </a:ext>
            </a:extLst>
          </p:cNvPr>
          <p:cNvSpPr>
            <a:spLocks noGrp="1"/>
          </p:cNvSpPr>
          <p:nvPr>
            <p:ph type="title"/>
          </p:nvPr>
        </p:nvSpPr>
        <p:spPr>
          <a:xfrm>
            <a:off x="503692" y="132376"/>
            <a:ext cx="7993921" cy="1376364"/>
          </a:xfrm>
        </p:spPr>
        <p:txBody>
          <a:bodyPr>
            <a:noAutofit/>
          </a:bodyPr>
          <a:lstStyle/>
          <a:p>
            <a:pPr>
              <a:lnSpc>
                <a:spcPct val="100000"/>
              </a:lnSpc>
            </a:pPr>
            <a:r>
              <a:rPr lang="en-US" sz="2400" dirty="0">
                <a:solidFill>
                  <a:schemeClr val="tx2"/>
                </a:solidFill>
              </a:rPr>
              <a:t>The Commission’s workforce is its single greatest asset and central to achieving better outcomes for people with disability</a:t>
            </a:r>
            <a:endParaRPr lang="en-AU" sz="2400" dirty="0">
              <a:solidFill>
                <a:schemeClr val="tx2"/>
              </a:solidFill>
            </a:endParaRPr>
          </a:p>
        </p:txBody>
      </p:sp>
      <p:sp>
        <p:nvSpPr>
          <p:cNvPr id="48" name="TextBox 47">
            <a:extLst>
              <a:ext uri="{FF2B5EF4-FFF2-40B4-BE49-F238E27FC236}">
                <a16:creationId xmlns:a16="http://schemas.microsoft.com/office/drawing/2014/main" id="{E5DCB057-3CAD-4B56-8F2D-C54586AB69F5}"/>
              </a:ext>
            </a:extLst>
          </p:cNvPr>
          <p:cNvSpPr txBox="1"/>
          <p:nvPr/>
        </p:nvSpPr>
        <p:spPr>
          <a:xfrm>
            <a:off x="4024017" y="1464008"/>
            <a:ext cx="6051236" cy="4837339"/>
          </a:xfrm>
          <a:prstGeom prst="rect">
            <a:avLst/>
          </a:prstGeom>
          <a:noFill/>
        </p:spPr>
        <p:txBody>
          <a:bodyPr wrap="square" lIns="91440" tIns="45720" rIns="91440" bIns="45720" anchor="t">
            <a:spAutoFit/>
          </a:bodyPr>
          <a:lstStyle/>
          <a:p>
            <a:pPr>
              <a:spcAft>
                <a:spcPts val="300"/>
              </a:spcAft>
            </a:pPr>
            <a:r>
              <a:rPr lang="en-US" sz="1100" b="1" dirty="0">
                <a:solidFill>
                  <a:schemeClr val="tx2"/>
                </a:solidFill>
              </a:rPr>
              <a:t>Why a Workforce </a:t>
            </a:r>
            <a:r>
              <a:rPr lang="en-US" sz="1100" b="1" dirty="0" smtClean="0">
                <a:solidFill>
                  <a:schemeClr val="tx2"/>
                </a:solidFill>
              </a:rPr>
              <a:t>Plan </a:t>
            </a:r>
            <a:r>
              <a:rPr lang="en-US" sz="1100" b="1" dirty="0">
                <a:solidFill>
                  <a:schemeClr val="tx2"/>
                </a:solidFill>
              </a:rPr>
              <a:t>and why now?</a:t>
            </a:r>
            <a:endParaRPr lang="en-US" sz="1100" b="1" dirty="0">
              <a:solidFill>
                <a:schemeClr val="tx2"/>
              </a:solidFill>
              <a:cs typeface="Calibri"/>
            </a:endParaRPr>
          </a:p>
          <a:p>
            <a:pPr>
              <a:spcAft>
                <a:spcPts val="600"/>
              </a:spcAft>
            </a:pPr>
            <a:r>
              <a:rPr lang="en-US" sz="1000" dirty="0"/>
              <a:t>The Commission was first established in 2018, and its evolution has been rapid and it has had to navigate new ground as the first ever disability quality safeguarding regulator. As the Commission begins its next chapter, the need to focus on its workforce is critical. The </a:t>
            </a:r>
            <a:r>
              <a:rPr lang="en-US" sz="1000" dirty="0" smtClean="0"/>
              <a:t>Commission’s </a:t>
            </a:r>
            <a:r>
              <a:rPr lang="en-US" sz="1000" dirty="0"/>
              <a:t>workforce is its single greatest asset – ‘we are passionate, purpose driven and committed to the vision of ‘One Commission’.’ </a:t>
            </a:r>
            <a:r>
              <a:rPr lang="en-AU" sz="1000" dirty="0"/>
              <a:t>The </a:t>
            </a:r>
            <a:r>
              <a:rPr lang="en-AU" sz="1000" dirty="0" smtClean="0"/>
              <a:t>Commission’s </a:t>
            </a:r>
            <a:r>
              <a:rPr lang="en-AU" sz="1000" dirty="0"/>
              <a:t>ability to achieve its strategic priorities is reliant on a workforce that is united, capable and empowered. The </a:t>
            </a:r>
            <a:r>
              <a:rPr lang="en-AU" sz="1000" dirty="0" smtClean="0"/>
              <a:t>Commission’s </a:t>
            </a:r>
            <a:r>
              <a:rPr lang="en-AU" sz="1000" dirty="0"/>
              <a:t>workforce is critical in building public trust in the Scheme and will be an important influencer of change across the NDIS market by building connections and collaboration across the Commission and providers, peers, participants and other NDIS stakeholders. </a:t>
            </a:r>
            <a:endParaRPr lang="en-AU" sz="1000" dirty="0">
              <a:cs typeface="Calibri"/>
            </a:endParaRPr>
          </a:p>
          <a:p>
            <a:pPr>
              <a:spcAft>
                <a:spcPts val="600"/>
              </a:spcAft>
            </a:pPr>
            <a:r>
              <a:rPr lang="en-US" sz="1000" dirty="0"/>
              <a:t>The Workforce </a:t>
            </a:r>
            <a:r>
              <a:rPr lang="en-US" sz="1000" dirty="0" smtClean="0"/>
              <a:t>Plan 2023 </a:t>
            </a:r>
            <a:r>
              <a:rPr lang="en-US" sz="1000" dirty="0"/>
              <a:t>– </a:t>
            </a:r>
            <a:r>
              <a:rPr lang="en-US" sz="1000" dirty="0" smtClean="0"/>
              <a:t>2028 </a:t>
            </a:r>
            <a:r>
              <a:rPr lang="en-US" sz="1000" dirty="0"/>
              <a:t>(the </a:t>
            </a:r>
            <a:r>
              <a:rPr lang="en-US" sz="1000" dirty="0" smtClean="0"/>
              <a:t>Plan) </a:t>
            </a:r>
            <a:r>
              <a:rPr lang="en-US" sz="1000" dirty="0"/>
              <a:t>is a priority activity in the Strategic Plan 2022-2027 and Corporate Plan 2022-23, aligned with the strategic priority of ‘Workforce Capability’. It will </a:t>
            </a:r>
            <a:r>
              <a:rPr lang="en-AU" sz="1000" dirty="0"/>
              <a:t>enable the Commission towards its vision and purpose with a clear workforce vision:  </a:t>
            </a:r>
            <a:r>
              <a:rPr lang="en-AU" sz="1000" i="1" dirty="0"/>
              <a:t>A highly capable and diverse workforce with a clear understanding of our organisation’s purpose and the confidence to meaningfully engage with participants and providers. </a:t>
            </a:r>
            <a:r>
              <a:rPr lang="en-US" sz="1000" dirty="0"/>
              <a:t>This </a:t>
            </a:r>
            <a:r>
              <a:rPr lang="en-US" sz="1000" dirty="0" smtClean="0"/>
              <a:t>Plan </a:t>
            </a:r>
            <a:r>
              <a:rPr lang="en-US" sz="1000" dirty="0"/>
              <a:t>provides an important opportunity for the Commission to look at the impact of its transformation from a workforce perspective, and outline how it will invest in its people. The </a:t>
            </a:r>
            <a:r>
              <a:rPr lang="en-US" sz="1000" dirty="0" smtClean="0"/>
              <a:t>Plan </a:t>
            </a:r>
            <a:r>
              <a:rPr lang="en-US" sz="1000" dirty="0"/>
              <a:t>considers key workforce investments around priority areas of growth, performance, capability, wellbeing, inclusion and diversity, identifying opportunities to respond to our emerging needs, so that the organisation is well-positioned to respond early. The </a:t>
            </a:r>
            <a:r>
              <a:rPr lang="en-US" sz="1000" dirty="0" smtClean="0"/>
              <a:t>Plan </a:t>
            </a:r>
            <a:r>
              <a:rPr lang="en-US" sz="1000" dirty="0"/>
              <a:t>considers the importance of maintaining business as usual outcomes as well as supporting future workforce decision making.</a:t>
            </a:r>
            <a:endParaRPr lang="en-US" sz="1000" dirty="0">
              <a:cs typeface="Calibri"/>
            </a:endParaRPr>
          </a:p>
          <a:p>
            <a:pPr>
              <a:spcAft>
                <a:spcPts val="300"/>
              </a:spcAft>
            </a:pPr>
            <a:r>
              <a:rPr lang="en-US" sz="1100" b="1" dirty="0">
                <a:solidFill>
                  <a:schemeClr val="tx2"/>
                </a:solidFill>
              </a:rPr>
              <a:t>Building on our strengths and the good work already underway</a:t>
            </a:r>
            <a:endParaRPr lang="en-US" sz="1100" b="1" dirty="0">
              <a:solidFill>
                <a:schemeClr val="tx2"/>
              </a:solidFill>
              <a:cs typeface="Calibri"/>
            </a:endParaRPr>
          </a:p>
          <a:p>
            <a:pPr>
              <a:spcAft>
                <a:spcPts val="600"/>
              </a:spcAft>
            </a:pPr>
            <a:r>
              <a:rPr lang="en-US" sz="1000" dirty="0"/>
              <a:t>The </a:t>
            </a:r>
            <a:r>
              <a:rPr lang="en-US" sz="1000" dirty="0" smtClean="0"/>
              <a:t>Plan </a:t>
            </a:r>
            <a:r>
              <a:rPr lang="en-US" sz="1000" dirty="0"/>
              <a:t>is designed to build and extend on the strengths of our workforce – our passion, commitment and strong belief in the Commission’s purpose. We will also leverage our people's diverse knowledge, skills and experience and their empathetic, caring, and human-centred approach to everything we do. Significant work is already underway in areas such as employee recognition, induction, onboarding and wellbeing.</a:t>
            </a:r>
            <a:endParaRPr lang="en-US" sz="1000" dirty="0">
              <a:cs typeface="Calibri"/>
            </a:endParaRPr>
          </a:p>
          <a:p>
            <a:pPr>
              <a:spcAft>
                <a:spcPts val="300"/>
              </a:spcAft>
            </a:pPr>
            <a:r>
              <a:rPr lang="en-US" sz="1100" b="1" dirty="0">
                <a:solidFill>
                  <a:schemeClr val="tx2"/>
                </a:solidFill>
              </a:rPr>
              <a:t>The Workforce </a:t>
            </a:r>
            <a:r>
              <a:rPr lang="en-US" sz="1100" b="1" dirty="0" smtClean="0">
                <a:solidFill>
                  <a:schemeClr val="tx2"/>
                </a:solidFill>
              </a:rPr>
              <a:t>Plan </a:t>
            </a:r>
            <a:r>
              <a:rPr lang="en-US" sz="1100" b="1" dirty="0">
                <a:solidFill>
                  <a:schemeClr val="tx2"/>
                </a:solidFill>
              </a:rPr>
              <a:t>is anchored in four pillars guiding our focus </a:t>
            </a:r>
            <a:endParaRPr lang="en-US" sz="1100" b="1" dirty="0">
              <a:solidFill>
                <a:schemeClr val="tx2"/>
              </a:solidFill>
              <a:cs typeface="Calibri"/>
            </a:endParaRPr>
          </a:p>
          <a:p>
            <a:pPr>
              <a:spcAft>
                <a:spcPts val="600"/>
              </a:spcAft>
            </a:pPr>
            <a:r>
              <a:rPr lang="en-US" sz="1000" dirty="0"/>
              <a:t>The </a:t>
            </a:r>
            <a:r>
              <a:rPr lang="en-US" sz="1000" dirty="0" smtClean="0"/>
              <a:t>Plan </a:t>
            </a:r>
            <a:r>
              <a:rPr lang="en-US" sz="1000" dirty="0"/>
              <a:t>includes four key, interconnected pillars: </a:t>
            </a:r>
            <a:r>
              <a:rPr lang="en-AU" sz="1000" dirty="0"/>
              <a:t>workforce sustainability, capability, growth and performance all critically enabled by </a:t>
            </a:r>
            <a:r>
              <a:rPr lang="en-US" sz="1000" dirty="0"/>
              <a:t>diversity, inclusion and wellbeing and our culture principles. It proposes practice actions – some of which are immediate, and others medium to longer term over the coming five years.</a:t>
            </a:r>
            <a:endParaRPr lang="en-US" sz="1000" dirty="0">
              <a:cs typeface="Calibri"/>
            </a:endParaRPr>
          </a:p>
        </p:txBody>
      </p:sp>
      <p:sp>
        <p:nvSpPr>
          <p:cNvPr id="44" name="TextBox 43">
            <a:extLst>
              <a:ext uri="{FF2B5EF4-FFF2-40B4-BE49-F238E27FC236}">
                <a16:creationId xmlns:a16="http://schemas.microsoft.com/office/drawing/2014/main" id="{6E2B59ED-76CA-4B70-9205-561E595945B1}"/>
              </a:ext>
            </a:extLst>
          </p:cNvPr>
          <p:cNvSpPr txBox="1"/>
          <p:nvPr/>
        </p:nvSpPr>
        <p:spPr>
          <a:xfrm>
            <a:off x="503693" y="1510799"/>
            <a:ext cx="3520324" cy="4798183"/>
          </a:xfrm>
          <a:prstGeom prst="rect">
            <a:avLst/>
          </a:prstGeom>
          <a:solidFill>
            <a:schemeClr val="bg2"/>
          </a:solidFill>
        </p:spPr>
        <p:txBody>
          <a:bodyPr wrap="square" lIns="90000" tIns="45720" rIns="90000" bIns="45720" anchor="t">
            <a:noAutofit/>
          </a:bodyPr>
          <a:lstStyle/>
          <a:p>
            <a:pPr>
              <a:spcAft>
                <a:spcPts val="300"/>
              </a:spcAft>
            </a:pPr>
            <a:r>
              <a:rPr lang="en-US" sz="1100" b="1" dirty="0">
                <a:solidFill>
                  <a:schemeClr val="tx2"/>
                </a:solidFill>
              </a:rPr>
              <a:t>Background</a:t>
            </a:r>
            <a:endParaRPr lang="en-US" sz="1100" b="1" dirty="0">
              <a:solidFill>
                <a:schemeClr val="tx2"/>
              </a:solidFill>
              <a:cs typeface="Calibri"/>
            </a:endParaRPr>
          </a:p>
          <a:p>
            <a:pPr>
              <a:spcAft>
                <a:spcPts val="600"/>
              </a:spcAft>
            </a:pPr>
            <a:r>
              <a:rPr lang="en-US" sz="1000" dirty="0"/>
              <a:t>The National Disability Insurance Scheme (NDIS) Quality and Safeguards Commission (the Commission) is responsible for </a:t>
            </a:r>
            <a:r>
              <a:rPr lang="en-AU" sz="1000" dirty="0"/>
              <a:t>upholding the rights of NDIS participants, to elevate quality and safety and enable consumer independence</a:t>
            </a:r>
            <a:r>
              <a:rPr lang="en-US" sz="1000" dirty="0"/>
              <a:t>. As the Commission transforms, the workforce is a critical enabler in achieving the future state as a contemporary, purpose-centred regulator. </a:t>
            </a:r>
            <a:endParaRPr lang="en-US" sz="1000" dirty="0">
              <a:cs typeface="Calibri"/>
            </a:endParaRPr>
          </a:p>
          <a:p>
            <a:pPr>
              <a:spcAft>
                <a:spcPts val="600"/>
              </a:spcAft>
            </a:pPr>
            <a:r>
              <a:rPr lang="en-US" sz="1000" dirty="0"/>
              <a:t>Since the establishment of the Commission in 2018, there have been significant challenges in the disability sector, forcing macro-level changes to ways of working. The pandemic has altered citizen expectations, requiring public sector and disability service delivery to be adaptable. The market for talent is </a:t>
            </a:r>
            <a:r>
              <a:rPr lang="en-US" sz="1000" dirty="0" smtClean="0"/>
              <a:t>tight </a:t>
            </a:r>
            <a:r>
              <a:rPr lang="en-US" sz="1000" dirty="0"/>
              <a:t>and highly competitive and the nature of work continues to change through technological, social and economic shifts, having impacts </a:t>
            </a:r>
            <a:r>
              <a:rPr lang="en-US" sz="1000" dirty="0" smtClean="0"/>
              <a:t>on </a:t>
            </a:r>
            <a:r>
              <a:rPr lang="en-US" sz="1000" dirty="0"/>
              <a:t>the disability care sector, as well as the NDIS workforce. The Royal Commission </a:t>
            </a:r>
            <a:r>
              <a:rPr lang="en-US" sz="1000" dirty="0">
                <a:cs typeface="Arial"/>
              </a:rPr>
              <a:t>into Violence, Abuse, Neglect and Exploitation of People with Disability </a:t>
            </a:r>
            <a:r>
              <a:rPr lang="en-US" sz="1000" dirty="0"/>
              <a:t>has also placed significant focus on the regulation of quality within the scheme, meaning a Workforce </a:t>
            </a:r>
            <a:r>
              <a:rPr lang="en-US" sz="1000" dirty="0" smtClean="0"/>
              <a:t>Plan </a:t>
            </a:r>
            <a:r>
              <a:rPr lang="en-US" sz="1000" dirty="0"/>
              <a:t>is critical to enabling the Commission’s ‘future state’.</a:t>
            </a:r>
            <a:endParaRPr lang="en-US" sz="1000" dirty="0">
              <a:cs typeface="Calibri"/>
            </a:endParaRPr>
          </a:p>
          <a:p>
            <a:pPr>
              <a:spcAft>
                <a:spcPts val="600"/>
              </a:spcAft>
            </a:pPr>
            <a:r>
              <a:rPr lang="en-US" sz="1000" dirty="0"/>
              <a:t>Over the next five years, the Commission will be operating in an increasingly complex environment and must continue to adapt in different ways. There will be a need to focus on building on our strengths and the work we've done to date, while also refining and introducing some new skills and capabilities. We will also need to grow our workforce to meet future demand.</a:t>
            </a:r>
            <a:r>
              <a:rPr lang="en-US" sz="1000" dirty="0">
                <a:cs typeface="Calibri"/>
              </a:rPr>
              <a:t> </a:t>
            </a:r>
            <a:r>
              <a:rPr lang="en-US" sz="1000" dirty="0"/>
              <a:t>We have the opportunity now to reflect on achievements and lessons learnt over the last four years as we reimagine the Commission and our workforce needs for the future.</a:t>
            </a:r>
            <a:endParaRPr lang="en-US" sz="1000" dirty="0">
              <a:cs typeface="Calibri"/>
            </a:endParaRPr>
          </a:p>
          <a:p>
            <a:pPr>
              <a:spcAft>
                <a:spcPts val="600"/>
              </a:spcAft>
            </a:pPr>
            <a:endParaRPr lang="en-US" sz="1000" dirty="0"/>
          </a:p>
        </p:txBody>
      </p:sp>
      <p:sp>
        <p:nvSpPr>
          <p:cNvPr id="59" name="TextBox 58">
            <a:extLst>
              <a:ext uri="{FF2B5EF4-FFF2-40B4-BE49-F238E27FC236}">
                <a16:creationId xmlns:a16="http://schemas.microsoft.com/office/drawing/2014/main" id="{0321656E-BD73-4685-8167-28D0C7D59007}"/>
              </a:ext>
            </a:extLst>
          </p:cNvPr>
          <p:cNvSpPr txBox="1"/>
          <p:nvPr/>
        </p:nvSpPr>
        <p:spPr>
          <a:xfrm>
            <a:off x="9983001" y="1463363"/>
            <a:ext cx="1679174" cy="1314490"/>
          </a:xfrm>
          <a:prstGeom prst="rect">
            <a:avLst/>
          </a:prstGeom>
          <a:noFill/>
        </p:spPr>
        <p:txBody>
          <a:bodyPr wrap="square" anchor="t">
            <a:noAutofit/>
          </a:bodyPr>
          <a:lstStyle/>
          <a:p>
            <a:pPr>
              <a:spcAft>
                <a:spcPts val="600"/>
              </a:spcAft>
            </a:pPr>
            <a:r>
              <a:rPr lang="en-US" sz="1100" b="1" dirty="0">
                <a:solidFill>
                  <a:schemeClr val="tx2"/>
                </a:solidFill>
              </a:rPr>
              <a:t>Key </a:t>
            </a:r>
            <a:r>
              <a:rPr lang="en-US" sz="1100" b="1" dirty="0" smtClean="0">
                <a:solidFill>
                  <a:schemeClr val="tx2"/>
                </a:solidFill>
              </a:rPr>
              <a:t>Plan </a:t>
            </a:r>
            <a:r>
              <a:rPr lang="en-US" sz="1100" b="1" dirty="0">
                <a:solidFill>
                  <a:schemeClr val="tx2"/>
                </a:solidFill>
              </a:rPr>
              <a:t>outcomes</a:t>
            </a:r>
            <a:endParaRPr lang="en-AU" sz="1100" b="1" dirty="0">
              <a:solidFill>
                <a:schemeClr val="tx2"/>
              </a:solidFill>
            </a:endParaRPr>
          </a:p>
        </p:txBody>
      </p:sp>
      <p:sp>
        <p:nvSpPr>
          <p:cNvPr id="66" name="Google Shape;1911;p170">
            <a:extLst>
              <a:ext uri="{FF2B5EF4-FFF2-40B4-BE49-F238E27FC236}">
                <a16:creationId xmlns:a16="http://schemas.microsoft.com/office/drawing/2014/main" id="{76BA0316-FCFD-445D-8D1D-D5AD03A8FF07}"/>
              </a:ext>
            </a:extLst>
          </p:cNvPr>
          <p:cNvSpPr txBox="1"/>
          <p:nvPr/>
        </p:nvSpPr>
        <p:spPr>
          <a:xfrm>
            <a:off x="10073875" y="1715154"/>
            <a:ext cx="1571317" cy="1437305"/>
          </a:xfrm>
          <a:prstGeom prst="rect">
            <a:avLst/>
          </a:prstGeom>
          <a:solidFill>
            <a:schemeClr val="dk2"/>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AU" sz="1000" dirty="0">
                <a:solidFill>
                  <a:schemeClr val="lt1"/>
                </a:solidFill>
                <a:latin typeface="+mn-lt"/>
              </a:rPr>
              <a:t>A </a:t>
            </a:r>
            <a:r>
              <a:rPr lang="en-AU" sz="1000" b="1" dirty="0">
                <a:solidFill>
                  <a:schemeClr val="lt1"/>
                </a:solidFill>
                <a:latin typeface="+mn-lt"/>
              </a:rPr>
              <a:t>diverse workforce with the right skills and attributes </a:t>
            </a:r>
            <a:r>
              <a:rPr lang="en-AU" sz="1000" dirty="0">
                <a:solidFill>
                  <a:schemeClr val="lt1"/>
                </a:solidFill>
                <a:latin typeface="+mn-lt"/>
              </a:rPr>
              <a:t>that the Commission needs today and in the future to be a contemporary, purpose-centred regulator</a:t>
            </a:r>
          </a:p>
          <a:p>
            <a:pPr marL="0" marR="0" lvl="0" indent="0" algn="l" rtl="0">
              <a:lnSpc>
                <a:spcPct val="100000"/>
              </a:lnSpc>
              <a:spcBef>
                <a:spcPts val="0"/>
              </a:spcBef>
              <a:spcAft>
                <a:spcPts val="0"/>
              </a:spcAft>
              <a:buNone/>
            </a:pPr>
            <a:endParaRPr sz="900" dirty="0">
              <a:latin typeface="+mn-lt"/>
            </a:endParaRPr>
          </a:p>
        </p:txBody>
      </p:sp>
      <p:sp>
        <p:nvSpPr>
          <p:cNvPr id="67" name="Google Shape;1912;p170">
            <a:extLst>
              <a:ext uri="{FF2B5EF4-FFF2-40B4-BE49-F238E27FC236}">
                <a16:creationId xmlns:a16="http://schemas.microsoft.com/office/drawing/2014/main" id="{D83375AE-DCB5-4ACA-AB91-7D95E550CC4C}"/>
              </a:ext>
            </a:extLst>
          </p:cNvPr>
          <p:cNvSpPr txBox="1"/>
          <p:nvPr/>
        </p:nvSpPr>
        <p:spPr>
          <a:xfrm>
            <a:off x="10073875" y="3223000"/>
            <a:ext cx="1571317" cy="1437305"/>
          </a:xfrm>
          <a:prstGeom prst="rect">
            <a:avLst/>
          </a:prstGeom>
          <a:solidFill>
            <a:schemeClr val="accent2"/>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600"/>
            </a:pPr>
            <a:r>
              <a:rPr lang="en-US" sz="1000" dirty="0">
                <a:solidFill>
                  <a:schemeClr val="lt1"/>
                </a:solidFill>
                <a:latin typeface="+mn-lt"/>
              </a:rPr>
              <a:t>A </a:t>
            </a:r>
            <a:r>
              <a:rPr lang="en-US" sz="1000" b="1" dirty="0">
                <a:solidFill>
                  <a:schemeClr val="lt1"/>
                </a:solidFill>
                <a:latin typeface="+mn-lt"/>
              </a:rPr>
              <a:t>resilient workforce </a:t>
            </a:r>
            <a:r>
              <a:rPr lang="en-AU" sz="1000" dirty="0">
                <a:solidFill>
                  <a:schemeClr val="lt1"/>
                </a:solidFill>
                <a:latin typeface="+mn-lt"/>
              </a:rPr>
              <a:t>able to respond and adapt to challenges and new opportunities, </a:t>
            </a:r>
            <a:r>
              <a:rPr lang="en-US" sz="1000" dirty="0">
                <a:solidFill>
                  <a:schemeClr val="lt1"/>
                </a:solidFill>
                <a:latin typeface="+mn-lt"/>
              </a:rPr>
              <a:t>giving the Commission the agility and flexibility to meet emerging needs</a:t>
            </a:r>
            <a:endParaRPr lang="en-AU" sz="1000" dirty="0">
              <a:solidFill>
                <a:schemeClr val="lt1"/>
              </a:solidFill>
              <a:latin typeface="+mn-lt"/>
            </a:endParaRPr>
          </a:p>
          <a:p>
            <a:pPr marL="0" marR="0" lvl="0" indent="0" algn="l" rtl="0">
              <a:lnSpc>
                <a:spcPct val="100000"/>
              </a:lnSpc>
              <a:spcBef>
                <a:spcPts val="0"/>
              </a:spcBef>
              <a:spcAft>
                <a:spcPts val="0"/>
              </a:spcAft>
              <a:buClr>
                <a:srgbClr val="000000"/>
              </a:buClr>
              <a:buSzPts val="1600"/>
              <a:buFont typeface="Arial"/>
              <a:buNone/>
            </a:pPr>
            <a:endParaRPr sz="900" b="0" i="0" u="none" strike="noStrike" cap="none" dirty="0">
              <a:solidFill>
                <a:schemeClr val="lt1"/>
              </a:solidFill>
              <a:latin typeface="+mn-lt"/>
              <a:ea typeface="Arial"/>
              <a:cs typeface="Arial"/>
              <a:sym typeface="Arial"/>
            </a:endParaRPr>
          </a:p>
        </p:txBody>
      </p:sp>
      <p:sp>
        <p:nvSpPr>
          <p:cNvPr id="68" name="Google Shape;1913;p170">
            <a:extLst>
              <a:ext uri="{FF2B5EF4-FFF2-40B4-BE49-F238E27FC236}">
                <a16:creationId xmlns:a16="http://schemas.microsoft.com/office/drawing/2014/main" id="{DD24E95C-FC5E-47B7-AC23-178CD358799F}"/>
              </a:ext>
            </a:extLst>
          </p:cNvPr>
          <p:cNvSpPr txBox="1"/>
          <p:nvPr/>
        </p:nvSpPr>
        <p:spPr>
          <a:xfrm>
            <a:off x="10055514" y="4739044"/>
            <a:ext cx="1608039" cy="1492389"/>
          </a:xfrm>
          <a:prstGeom prst="rect">
            <a:avLst/>
          </a:prstGeom>
          <a:solidFill>
            <a:schemeClr val="accent4"/>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AU" sz="1000" dirty="0">
                <a:solidFill>
                  <a:schemeClr val="lt1"/>
                </a:solidFill>
                <a:latin typeface="+mn-lt"/>
              </a:rPr>
              <a:t>An employer of  choice, with the ability to </a:t>
            </a:r>
            <a:r>
              <a:rPr lang="en-AU" sz="1000" b="1" dirty="0">
                <a:solidFill>
                  <a:schemeClr val="lt1"/>
                </a:solidFill>
                <a:latin typeface="+mn-lt"/>
              </a:rPr>
              <a:t>attract and retain people </a:t>
            </a:r>
            <a:r>
              <a:rPr lang="en-AU" sz="1000" dirty="0">
                <a:solidFill>
                  <a:schemeClr val="lt1"/>
                </a:solidFill>
                <a:latin typeface="+mn-lt"/>
              </a:rPr>
              <a:t>with the skills and attributes the Commission needs</a:t>
            </a:r>
          </a:p>
        </p:txBody>
      </p:sp>
      <p:sp>
        <p:nvSpPr>
          <p:cNvPr id="60" name="Google Shape;879;g11dc8470dbd_0_411">
            <a:extLst>
              <a:ext uri="{FF2B5EF4-FFF2-40B4-BE49-F238E27FC236}">
                <a16:creationId xmlns:a16="http://schemas.microsoft.com/office/drawing/2014/main" id="{C2404533-8B9E-41D0-AE74-689F67680DC2}"/>
              </a:ext>
            </a:extLst>
          </p:cNvPr>
          <p:cNvSpPr/>
          <p:nvPr/>
        </p:nvSpPr>
        <p:spPr>
          <a:xfrm>
            <a:off x="11293976" y="2789231"/>
            <a:ext cx="289630" cy="299966"/>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dirty="0">
              <a:solidFill>
                <a:srgbClr val="000000"/>
              </a:solidFill>
              <a:latin typeface="Arial"/>
              <a:ea typeface="Arial"/>
              <a:cs typeface="Arial"/>
              <a:sym typeface="Arial"/>
            </a:endParaRPr>
          </a:p>
        </p:txBody>
      </p:sp>
      <p:sp>
        <p:nvSpPr>
          <p:cNvPr id="62" name="Google Shape;1938;p171">
            <a:extLst>
              <a:ext uri="{FF2B5EF4-FFF2-40B4-BE49-F238E27FC236}">
                <a16:creationId xmlns:a16="http://schemas.microsoft.com/office/drawing/2014/main" id="{777B0F92-37A2-439E-AF55-D522C7AED41D}"/>
              </a:ext>
            </a:extLst>
          </p:cNvPr>
          <p:cNvSpPr/>
          <p:nvPr/>
        </p:nvSpPr>
        <p:spPr>
          <a:xfrm>
            <a:off x="11291403" y="4276595"/>
            <a:ext cx="295823" cy="308299"/>
          </a:xfrm>
          <a:custGeom>
            <a:avLst/>
            <a:gdLst/>
            <a:ahLst/>
            <a:cxnLst/>
            <a:rect l="l" t="t" r="r" b="b"/>
            <a:pathLst>
              <a:path w="346" h="347" extrusionOk="0">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bg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1000"/>
              <a:buFont typeface="Arial"/>
              <a:buNone/>
            </a:pPr>
            <a:endParaRPr sz="1000" b="0" i="0" u="none" strike="noStrike" cap="none" dirty="0">
              <a:solidFill>
                <a:srgbClr val="000000"/>
              </a:solidFill>
              <a:latin typeface="Arial"/>
              <a:ea typeface="Arial"/>
              <a:cs typeface="Arial"/>
              <a:sym typeface="Arial"/>
            </a:endParaRPr>
          </a:p>
        </p:txBody>
      </p:sp>
      <p:sp>
        <p:nvSpPr>
          <p:cNvPr id="34" name="Google Shape;753;g12f6fb1d8b0_2_59">
            <a:extLst>
              <a:ext uri="{FF2B5EF4-FFF2-40B4-BE49-F238E27FC236}">
                <a16:creationId xmlns:a16="http://schemas.microsoft.com/office/drawing/2014/main" id="{2E6B745A-FC62-4217-A8AB-8D6C332C9473}"/>
              </a:ext>
            </a:extLst>
          </p:cNvPr>
          <p:cNvSpPr/>
          <p:nvPr/>
        </p:nvSpPr>
        <p:spPr>
          <a:xfrm>
            <a:off x="11389021" y="5837393"/>
            <a:ext cx="89422" cy="95074"/>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chemeClr val="bg1"/>
              </a:solidFill>
              <a:latin typeface="Arial"/>
              <a:ea typeface="Arial"/>
              <a:cs typeface="Arial"/>
              <a:sym typeface="Arial"/>
            </a:endParaRPr>
          </a:p>
        </p:txBody>
      </p:sp>
      <p:sp>
        <p:nvSpPr>
          <p:cNvPr id="35" name="Google Shape;754;g12f6fb1d8b0_2_59">
            <a:extLst>
              <a:ext uri="{FF2B5EF4-FFF2-40B4-BE49-F238E27FC236}">
                <a16:creationId xmlns:a16="http://schemas.microsoft.com/office/drawing/2014/main" id="{CC37D210-A2C4-45CF-8405-1BC99B37C3B1}"/>
              </a:ext>
            </a:extLst>
          </p:cNvPr>
          <p:cNvSpPr/>
          <p:nvPr/>
        </p:nvSpPr>
        <p:spPr>
          <a:xfrm>
            <a:off x="11333086" y="5804517"/>
            <a:ext cx="216556" cy="238088"/>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chemeClr val="bg1"/>
              </a:solidFill>
              <a:latin typeface="Arial"/>
              <a:ea typeface="Arial"/>
              <a:cs typeface="Arial"/>
              <a:sym typeface="Arial"/>
            </a:endParaRPr>
          </a:p>
        </p:txBody>
      </p:sp>
      <p:sp>
        <p:nvSpPr>
          <p:cNvPr id="36" name="Rectangle 35">
            <a:extLst>
              <a:ext uri="{FF2B5EF4-FFF2-40B4-BE49-F238E27FC236}">
                <a16:creationId xmlns:a16="http://schemas.microsoft.com/office/drawing/2014/main" id="{1596608C-2D2C-4324-8E6E-3BE053307D73}"/>
              </a:ext>
            </a:extLst>
          </p:cNvPr>
          <p:cNvSpPr/>
          <p:nvPr/>
        </p:nvSpPr>
        <p:spPr>
          <a:xfrm>
            <a:off x="11293976" y="5777956"/>
            <a:ext cx="289630" cy="28963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bg1"/>
              </a:solidFill>
            </a:endParaRPr>
          </a:p>
        </p:txBody>
      </p:sp>
      <p:sp>
        <p:nvSpPr>
          <p:cNvPr id="25" name="Footer Placeholder 3">
            <a:extLst>
              <a:ext uri="{FF2B5EF4-FFF2-40B4-BE49-F238E27FC236}">
                <a16:creationId xmlns:a16="http://schemas.microsoft.com/office/drawing/2014/main" id="{5913FB60-B348-4211-8911-0E8831797C66}"/>
              </a:ext>
            </a:extLst>
          </p:cNvPr>
          <p:cNvSpPr>
            <a:spLocks noGrp="1"/>
          </p:cNvSpPr>
          <p:nvPr>
            <p:ph type="ftr" sz="quarter" idx="11"/>
          </p:nvPr>
        </p:nvSpPr>
        <p:spPr>
          <a:xfrm>
            <a:off x="1172187" y="6356350"/>
            <a:ext cx="6783813" cy="180000"/>
          </a:xfrm>
        </p:spPr>
        <p:txBody>
          <a:bodyPr/>
          <a:lstStyle/>
          <a:p>
            <a:pPr algn="ctr"/>
            <a:r>
              <a:rPr lang="en-AU" smtClean="0"/>
              <a:t>NDIS Commission Workforce Plan 2023-2028</a:t>
            </a:r>
            <a:endParaRPr lang="en-US" dirty="0"/>
          </a:p>
        </p:txBody>
      </p:sp>
      <p:sp>
        <p:nvSpPr>
          <p:cNvPr id="26" name="Slide Number Placeholder 6">
            <a:extLst>
              <a:ext uri="{FF2B5EF4-FFF2-40B4-BE49-F238E27FC236}">
                <a16:creationId xmlns:a16="http://schemas.microsoft.com/office/drawing/2014/main" id="{2DDDB6C7-449D-4D93-B843-BF68D27D3D1A}"/>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4</a:t>
            </a:fld>
            <a:endParaRPr lang="en-US" dirty="0"/>
          </a:p>
        </p:txBody>
      </p:sp>
    </p:spTree>
    <p:extLst>
      <p:ext uri="{BB962C8B-B14F-4D97-AF65-F5344CB8AC3E}">
        <p14:creationId xmlns:p14="http://schemas.microsoft.com/office/powerpoint/2010/main" val="3696478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26522" y="387916"/>
            <a:ext cx="8369867" cy="992778"/>
          </a:xfrm>
        </p:spPr>
        <p:txBody>
          <a:bodyPr>
            <a:normAutofit/>
          </a:bodyPr>
          <a:lstStyle/>
          <a:p>
            <a:pPr>
              <a:lnSpc>
                <a:spcPct val="100000"/>
              </a:lnSpc>
            </a:pPr>
            <a:r>
              <a:rPr lang="en-US" dirty="0">
                <a:solidFill>
                  <a:schemeClr val="tx2"/>
                </a:solidFill>
                <a:latin typeface="+mn-lt"/>
              </a:rPr>
              <a:t>Opportunity spotlight:</a:t>
            </a:r>
            <a:br>
              <a:rPr lang="en-US" dirty="0">
                <a:solidFill>
                  <a:schemeClr val="tx2"/>
                </a:solidFill>
                <a:latin typeface="+mn-lt"/>
              </a:rPr>
            </a:br>
            <a:r>
              <a:rPr lang="en-AU" dirty="0">
                <a:solidFill>
                  <a:schemeClr val="tx2"/>
                </a:solidFill>
                <a:latin typeface="+mn-lt"/>
              </a:rPr>
              <a:t>Broaden our target market for recruitment </a:t>
            </a:r>
            <a:r>
              <a:rPr lang="en-AU" b="1" dirty="0">
                <a:solidFill>
                  <a:schemeClr val="tx2"/>
                </a:solidFill>
                <a:latin typeface="+mn-lt"/>
              </a:rPr>
              <a:t>(WS3)</a:t>
            </a:r>
            <a:endParaRPr lang="en-AU" dirty="0">
              <a:solidFill>
                <a:schemeClr val="tx2"/>
              </a:solidFill>
              <a:latin typeface="+mn-lt"/>
            </a:endParaRPr>
          </a:p>
        </p:txBody>
      </p:sp>
      <p:sp>
        <p:nvSpPr>
          <p:cNvPr id="140" name="Slide Number Placeholder 7">
            <a:extLst>
              <a:ext uri="{FF2B5EF4-FFF2-40B4-BE49-F238E27FC236}">
                <a16:creationId xmlns:a16="http://schemas.microsoft.com/office/drawing/2014/main" id="{1ECC87A2-C639-4888-A14F-6D9805D1604E}"/>
              </a:ext>
            </a:extLst>
          </p:cNvPr>
          <p:cNvSpPr txBox="1">
            <a:spLocks/>
          </p:cNvSpPr>
          <p:nvPr/>
        </p:nvSpPr>
        <p:spPr>
          <a:xfrm>
            <a:off x="10967668" y="6355784"/>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40</a:t>
            </a:fld>
            <a:endParaRPr lang="en-US" dirty="0"/>
          </a:p>
        </p:txBody>
      </p:sp>
      <p:sp>
        <p:nvSpPr>
          <p:cNvPr id="142" name="Footer Placeholder 1">
            <a:extLst>
              <a:ext uri="{FF2B5EF4-FFF2-40B4-BE49-F238E27FC236}">
                <a16:creationId xmlns:a16="http://schemas.microsoft.com/office/drawing/2014/main" id="{88A6D42E-B37D-426C-9474-824C80842259}"/>
              </a:ext>
            </a:extLst>
          </p:cNvPr>
          <p:cNvSpPr>
            <a:spLocks noGrp="1"/>
          </p:cNvSpPr>
          <p:nvPr>
            <p:ph type="ftr" sz="quarter" idx="11"/>
          </p:nvPr>
        </p:nvSpPr>
        <p:spPr>
          <a:xfrm>
            <a:off x="1172187" y="6549775"/>
            <a:ext cx="6783813" cy="180000"/>
          </a:xfrm>
        </p:spPr>
        <p:txBody>
          <a:bodyPr/>
          <a:lstStyle/>
          <a:p>
            <a:pPr algn="ctr"/>
            <a:r>
              <a:rPr lang="en-AU" smtClean="0"/>
              <a:t>NDIS Commission Workforce Plan 2023-2028</a:t>
            </a:r>
            <a:endParaRPr lang="en-US" dirty="0"/>
          </a:p>
        </p:txBody>
      </p:sp>
      <p:sp>
        <p:nvSpPr>
          <p:cNvPr id="137" name="TextBox 136">
            <a:extLst>
              <a:ext uri="{FF2B5EF4-FFF2-40B4-BE49-F238E27FC236}">
                <a16:creationId xmlns:a16="http://schemas.microsoft.com/office/drawing/2014/main" id="{0685C67A-397F-4671-87B3-C49AF7E743E4}"/>
              </a:ext>
            </a:extLst>
          </p:cNvPr>
          <p:cNvSpPr txBox="1"/>
          <p:nvPr/>
        </p:nvSpPr>
        <p:spPr>
          <a:xfrm>
            <a:off x="526522" y="1511970"/>
            <a:ext cx="11148922" cy="553998"/>
          </a:xfrm>
          <a:prstGeom prst="rect">
            <a:avLst/>
          </a:prstGeom>
          <a:noFill/>
        </p:spPr>
        <p:txBody>
          <a:bodyPr wrap="square">
            <a:spAutoFit/>
          </a:bodyPr>
          <a:lstStyle/>
          <a:p>
            <a:pPr>
              <a:spcBef>
                <a:spcPts val="300"/>
              </a:spcBef>
              <a:buClr>
                <a:schemeClr val="tx1"/>
              </a:buClr>
              <a:tabLst>
                <a:tab pos="449263" algn="l"/>
              </a:tabLst>
              <a:defRPr/>
            </a:pPr>
            <a:r>
              <a:rPr kumimoji="0" lang="en-AU" sz="1000" b="1" i="0" u="none" strike="noStrike" kern="1200" cap="none" spc="0" normalizeH="0" baseline="0" noProof="0" dirty="0">
                <a:ln>
                  <a:noFill/>
                </a:ln>
                <a:solidFill>
                  <a:schemeClr val="accent1"/>
                </a:solidFill>
                <a:effectLst/>
                <a:uLnTx/>
                <a:uFillTx/>
                <a:latin typeface="Calibri" panose="020F0502020204030204"/>
                <a:ea typeface="+mn-ea"/>
                <a:cs typeface="+mn-cs"/>
              </a:rPr>
              <a:t>Broaden our </a:t>
            </a:r>
            <a:r>
              <a:rPr lang="en-AU" sz="1000" b="1" dirty="0">
                <a:solidFill>
                  <a:schemeClr val="accent1"/>
                </a:solidFill>
                <a:latin typeface="Calibri" panose="020F0502020204030204"/>
              </a:rPr>
              <a:t>target market for recruitment </a:t>
            </a:r>
            <a:r>
              <a:rPr lang="en-AU" sz="1000" dirty="0">
                <a:latin typeface="Calibri" panose="020F0502020204030204"/>
              </a:rPr>
              <a:t>by </a:t>
            </a:r>
            <a:r>
              <a:rPr lang="en-AU" sz="1000" b="1" dirty="0">
                <a:solidFill>
                  <a:schemeClr val="tx2"/>
                </a:solidFill>
                <a:latin typeface="Calibri" panose="020F0502020204030204"/>
              </a:rPr>
              <a:t>exploring new and different approaches to attract and grow new talent pipelines </a:t>
            </a:r>
            <a:r>
              <a:rPr lang="en-AU" sz="1000" dirty="0">
                <a:latin typeface="Calibri" panose="020F0502020204030204"/>
              </a:rPr>
              <a:t>to</a:t>
            </a:r>
            <a:r>
              <a:rPr lang="en-AU" sz="1000" b="0" dirty="0">
                <a:latin typeface="Calibri" panose="020F0502020204030204"/>
              </a:rPr>
              <a:t> assist with future demand, surge capacity and workload using flexible contingent workforces in areas of high demand, such as the contact centre. For </a:t>
            </a:r>
            <a:r>
              <a:rPr lang="en-AU" sz="1000" b="0" dirty="0" smtClean="0">
                <a:latin typeface="Calibri" panose="020F0502020204030204"/>
              </a:rPr>
              <a:t>example, </a:t>
            </a:r>
            <a:r>
              <a:rPr lang="en-AU" sz="1000" b="1" dirty="0">
                <a:solidFill>
                  <a:schemeClr val="tx2"/>
                </a:solidFill>
                <a:latin typeface="Calibri" panose="020F0502020204030204"/>
              </a:rPr>
              <a:t>an</a:t>
            </a:r>
            <a:r>
              <a:rPr lang="en-AU" sz="1000" b="1" dirty="0">
                <a:latin typeface="Calibri" panose="020F0502020204030204"/>
              </a:rPr>
              <a:t> </a:t>
            </a:r>
            <a:r>
              <a:rPr lang="en-AU" sz="1000" b="1" dirty="0">
                <a:solidFill>
                  <a:schemeClr val="tx2"/>
                </a:solidFill>
                <a:latin typeface="Calibri" panose="020F0502020204030204"/>
              </a:rPr>
              <a:t>early career program in the form of internships, cadetships, school pathway program, mentor programs or casual hub </a:t>
            </a:r>
            <a:r>
              <a:rPr lang="en-AU" sz="1000" b="0" dirty="0">
                <a:latin typeface="Calibri" panose="020F0502020204030204"/>
              </a:rPr>
              <a:t>in partnership with universities/vocational institutions</a:t>
            </a:r>
            <a:endParaRPr lang="en-AU" sz="1000" b="1" dirty="0">
              <a:latin typeface="Calibri" panose="020F0502020204030204"/>
              <a:cs typeface="Calibri"/>
            </a:endParaRPr>
          </a:p>
        </p:txBody>
      </p:sp>
      <p:sp>
        <p:nvSpPr>
          <p:cNvPr id="33" name="Oval 32">
            <a:extLst>
              <a:ext uri="{FF2B5EF4-FFF2-40B4-BE49-F238E27FC236}">
                <a16:creationId xmlns:a16="http://schemas.microsoft.com/office/drawing/2014/main" id="{7FE10987-15C6-E1FD-B15F-99AFC5AB8937}"/>
              </a:ext>
            </a:extLst>
          </p:cNvPr>
          <p:cNvSpPr/>
          <p:nvPr/>
        </p:nvSpPr>
        <p:spPr>
          <a:xfrm>
            <a:off x="9334636" y="3062258"/>
            <a:ext cx="887393" cy="66554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dirty="0">
                <a:solidFill>
                  <a:schemeClr val="tx1"/>
                </a:solidFill>
                <a:ea typeface="+mn-lt"/>
                <a:cs typeface="+mn-lt"/>
              </a:rPr>
              <a:t>Re-engage qualified past candidates</a:t>
            </a:r>
            <a:endParaRPr lang="en-AU" dirty="0">
              <a:solidFill>
                <a:schemeClr val="tx1"/>
              </a:solidFill>
              <a:cs typeface="Calibri" panose="020F0502020204030204"/>
            </a:endParaRPr>
          </a:p>
        </p:txBody>
      </p:sp>
      <p:sp>
        <p:nvSpPr>
          <p:cNvPr id="187" name="Arrow: Up-Down 186">
            <a:extLst>
              <a:ext uri="{FF2B5EF4-FFF2-40B4-BE49-F238E27FC236}">
                <a16:creationId xmlns:a16="http://schemas.microsoft.com/office/drawing/2014/main" id="{107EC19E-5B8F-8816-239E-1AE7A4AD161E}"/>
              </a:ext>
            </a:extLst>
          </p:cNvPr>
          <p:cNvSpPr/>
          <p:nvPr/>
        </p:nvSpPr>
        <p:spPr>
          <a:xfrm rot="1680000" flipH="1">
            <a:off x="9432380" y="3722953"/>
            <a:ext cx="61572" cy="27709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Arrow: Up-Down 189">
            <a:extLst>
              <a:ext uri="{FF2B5EF4-FFF2-40B4-BE49-F238E27FC236}">
                <a16:creationId xmlns:a16="http://schemas.microsoft.com/office/drawing/2014/main" id="{D783B881-776E-B4DB-EDC4-8EB160504F96}"/>
              </a:ext>
            </a:extLst>
          </p:cNvPr>
          <p:cNvSpPr/>
          <p:nvPr/>
        </p:nvSpPr>
        <p:spPr>
          <a:xfrm rot="12960000">
            <a:off x="7733112" y="3941360"/>
            <a:ext cx="61575" cy="12315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678DB474-4F87-990A-08D9-F84745F749DB}"/>
              </a:ext>
            </a:extLst>
          </p:cNvPr>
          <p:cNvSpPr/>
          <p:nvPr/>
        </p:nvSpPr>
        <p:spPr>
          <a:xfrm>
            <a:off x="6497597" y="2561280"/>
            <a:ext cx="887393" cy="66554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dirty="0">
                <a:solidFill>
                  <a:schemeClr val="tx1"/>
                </a:solidFill>
                <a:ea typeface="+mn-lt"/>
                <a:cs typeface="+mn-lt"/>
              </a:rPr>
              <a:t>Establish an employee referral program</a:t>
            </a:r>
            <a:r>
              <a:rPr lang="en-AU" sz="700" dirty="0">
                <a:ea typeface="+mn-lt"/>
                <a:cs typeface="+mn-lt"/>
              </a:rPr>
              <a:t>  </a:t>
            </a:r>
            <a:endParaRPr lang="en-US" dirty="0"/>
          </a:p>
        </p:txBody>
      </p:sp>
      <p:sp>
        <p:nvSpPr>
          <p:cNvPr id="35" name="Oval 34">
            <a:extLst>
              <a:ext uri="{FF2B5EF4-FFF2-40B4-BE49-F238E27FC236}">
                <a16:creationId xmlns:a16="http://schemas.microsoft.com/office/drawing/2014/main" id="{9AE8CC89-3A0B-6611-DA72-2BEF64153D39}"/>
              </a:ext>
            </a:extLst>
          </p:cNvPr>
          <p:cNvSpPr/>
          <p:nvPr/>
        </p:nvSpPr>
        <p:spPr>
          <a:xfrm>
            <a:off x="9200499" y="5126319"/>
            <a:ext cx="1441574" cy="113505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dirty="0">
                <a:solidFill>
                  <a:schemeClr val="tx1"/>
                </a:solidFill>
                <a:ea typeface="+mn-lt"/>
                <a:cs typeface="+mn-lt"/>
              </a:rPr>
              <a:t>Offer flexible, hybrid and remote work options in full time, part time or on a job share basis to maximise candidate pools including in regional locations. </a:t>
            </a:r>
            <a:endParaRPr lang="en-AU" dirty="0">
              <a:solidFill>
                <a:schemeClr val="tx1"/>
              </a:solidFill>
              <a:cs typeface="Calibri" panose="020F0502020204030204"/>
            </a:endParaRPr>
          </a:p>
        </p:txBody>
      </p:sp>
      <p:sp>
        <p:nvSpPr>
          <p:cNvPr id="153" name="Oval 152">
            <a:extLst>
              <a:ext uri="{FF2B5EF4-FFF2-40B4-BE49-F238E27FC236}">
                <a16:creationId xmlns:a16="http://schemas.microsoft.com/office/drawing/2014/main" id="{81531692-AF86-2722-DA85-B0709C1D559D}"/>
              </a:ext>
            </a:extLst>
          </p:cNvPr>
          <p:cNvSpPr/>
          <p:nvPr/>
        </p:nvSpPr>
        <p:spPr>
          <a:xfrm>
            <a:off x="5820263" y="5339885"/>
            <a:ext cx="1349211" cy="127360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b="1" dirty="0">
                <a:solidFill>
                  <a:schemeClr val="tx1"/>
                </a:solidFill>
                <a:ea typeface="+mn-lt"/>
                <a:cs typeface="+mn-lt"/>
              </a:rPr>
              <a:t>Encourage employees to boomerang </a:t>
            </a:r>
            <a:r>
              <a:rPr lang="en-AU" sz="700" dirty="0">
                <a:solidFill>
                  <a:schemeClr val="tx1"/>
                </a:solidFill>
                <a:ea typeface="+mn-lt"/>
                <a:cs typeface="+mn-lt"/>
              </a:rPr>
              <a:t>-- Keep in touch with previous employees -- some of your best candidates may be former employees. </a:t>
            </a:r>
            <a:endParaRPr lang="en-US" dirty="0">
              <a:solidFill>
                <a:schemeClr val="tx1"/>
              </a:solidFill>
              <a:cs typeface="Calibri"/>
            </a:endParaRPr>
          </a:p>
        </p:txBody>
      </p:sp>
      <p:sp>
        <p:nvSpPr>
          <p:cNvPr id="154" name="Oval 153">
            <a:extLst>
              <a:ext uri="{FF2B5EF4-FFF2-40B4-BE49-F238E27FC236}">
                <a16:creationId xmlns:a16="http://schemas.microsoft.com/office/drawing/2014/main" id="{61031EB9-83BA-6926-AD52-9E7D20F79F4F}"/>
              </a:ext>
            </a:extLst>
          </p:cNvPr>
          <p:cNvSpPr/>
          <p:nvPr/>
        </p:nvSpPr>
        <p:spPr>
          <a:xfrm>
            <a:off x="4888929" y="5047401"/>
            <a:ext cx="925878" cy="75790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dirty="0">
                <a:solidFill>
                  <a:schemeClr val="tx1"/>
                </a:solidFill>
                <a:ea typeface="+mn-lt"/>
                <a:cs typeface="+mn-lt"/>
              </a:rPr>
              <a:t>Establish a Temporary Employment Register </a:t>
            </a:r>
            <a:endParaRPr lang="en-AU" dirty="0">
              <a:solidFill>
                <a:schemeClr val="tx1"/>
              </a:solidFill>
              <a:cs typeface="Calibri" panose="020F0502020204030204"/>
            </a:endParaRPr>
          </a:p>
        </p:txBody>
      </p:sp>
      <p:sp>
        <p:nvSpPr>
          <p:cNvPr id="156" name="Oval 155">
            <a:extLst>
              <a:ext uri="{FF2B5EF4-FFF2-40B4-BE49-F238E27FC236}">
                <a16:creationId xmlns:a16="http://schemas.microsoft.com/office/drawing/2014/main" id="{9E46F427-89C5-488C-5EC5-67EBF99F6EFB}"/>
              </a:ext>
            </a:extLst>
          </p:cNvPr>
          <p:cNvSpPr/>
          <p:nvPr/>
        </p:nvSpPr>
        <p:spPr>
          <a:xfrm>
            <a:off x="7467415" y="5132067"/>
            <a:ext cx="1379999" cy="10273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dirty="0">
                <a:solidFill>
                  <a:schemeClr val="tx1"/>
                </a:solidFill>
                <a:ea typeface="+mn-lt"/>
                <a:cs typeface="+mn-lt"/>
              </a:rPr>
              <a:t>Reduce barriers to application by introducing practical and tailored questions for candidate application processes </a:t>
            </a:r>
            <a:endParaRPr lang="en-AU" dirty="0">
              <a:solidFill>
                <a:schemeClr val="tx1"/>
              </a:solidFill>
              <a:cs typeface="Calibri" panose="020F0502020204030204"/>
            </a:endParaRPr>
          </a:p>
        </p:txBody>
      </p:sp>
      <p:sp>
        <p:nvSpPr>
          <p:cNvPr id="23" name="Rectangle: Rounded Corners 22">
            <a:extLst>
              <a:ext uri="{FF2B5EF4-FFF2-40B4-BE49-F238E27FC236}">
                <a16:creationId xmlns:a16="http://schemas.microsoft.com/office/drawing/2014/main" id="{6034A26F-76CF-51E9-9441-3B30DD0AF2E8}"/>
              </a:ext>
            </a:extLst>
          </p:cNvPr>
          <p:cNvSpPr/>
          <p:nvPr/>
        </p:nvSpPr>
        <p:spPr>
          <a:xfrm>
            <a:off x="5190922" y="4106962"/>
            <a:ext cx="4300559" cy="5883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ea typeface="+mn-lt"/>
                <a:cs typeface="+mn-lt"/>
              </a:rPr>
              <a:t>Practical opportunities for exploring new and different approaches to attract and grow new talent pipelines</a:t>
            </a:r>
            <a:endParaRPr lang="en-US" sz="1000" dirty="0">
              <a:ea typeface="+mn-lt"/>
              <a:cs typeface="+mn-lt"/>
            </a:endParaRPr>
          </a:p>
        </p:txBody>
      </p:sp>
      <p:sp>
        <p:nvSpPr>
          <p:cNvPr id="181" name="Arrow: Up-Down 180">
            <a:extLst>
              <a:ext uri="{FF2B5EF4-FFF2-40B4-BE49-F238E27FC236}">
                <a16:creationId xmlns:a16="http://schemas.microsoft.com/office/drawing/2014/main" id="{C3BA754A-E5CD-594C-8073-7147935B2964}"/>
              </a:ext>
            </a:extLst>
          </p:cNvPr>
          <p:cNvSpPr/>
          <p:nvPr/>
        </p:nvSpPr>
        <p:spPr>
          <a:xfrm>
            <a:off x="6907589" y="3297653"/>
            <a:ext cx="38487" cy="73121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Arrow: Up-Down 181">
            <a:extLst>
              <a:ext uri="{FF2B5EF4-FFF2-40B4-BE49-F238E27FC236}">
                <a16:creationId xmlns:a16="http://schemas.microsoft.com/office/drawing/2014/main" id="{7BB8885F-BB89-EEBF-7C95-5BAAE89E243B}"/>
              </a:ext>
            </a:extLst>
          </p:cNvPr>
          <p:cNvSpPr/>
          <p:nvPr/>
        </p:nvSpPr>
        <p:spPr>
          <a:xfrm>
            <a:off x="6553529" y="4775472"/>
            <a:ext cx="46183" cy="53109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Arrow: Up-Down 182">
            <a:extLst>
              <a:ext uri="{FF2B5EF4-FFF2-40B4-BE49-F238E27FC236}">
                <a16:creationId xmlns:a16="http://schemas.microsoft.com/office/drawing/2014/main" id="{1458D2F3-A9E3-67B2-6650-A6EC7013C25A}"/>
              </a:ext>
            </a:extLst>
          </p:cNvPr>
          <p:cNvSpPr/>
          <p:nvPr/>
        </p:nvSpPr>
        <p:spPr>
          <a:xfrm rot="19920000">
            <a:off x="9390483" y="4790339"/>
            <a:ext cx="46183" cy="40794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Arrow: Up-Down 183">
            <a:extLst>
              <a:ext uri="{FF2B5EF4-FFF2-40B4-BE49-F238E27FC236}">
                <a16:creationId xmlns:a16="http://schemas.microsoft.com/office/drawing/2014/main" id="{49B6427C-2AD4-D992-42BC-DD7071539123}"/>
              </a:ext>
            </a:extLst>
          </p:cNvPr>
          <p:cNvSpPr/>
          <p:nvPr/>
        </p:nvSpPr>
        <p:spPr>
          <a:xfrm flipH="1">
            <a:off x="8177591" y="4775470"/>
            <a:ext cx="30785" cy="315578"/>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Arrow: Up-Down 184">
            <a:extLst>
              <a:ext uri="{FF2B5EF4-FFF2-40B4-BE49-F238E27FC236}">
                <a16:creationId xmlns:a16="http://schemas.microsoft.com/office/drawing/2014/main" id="{26FD8131-13A4-3F0C-D8C6-588C5DA34A84}"/>
              </a:ext>
            </a:extLst>
          </p:cNvPr>
          <p:cNvSpPr/>
          <p:nvPr/>
        </p:nvSpPr>
        <p:spPr>
          <a:xfrm rot="540000" flipH="1">
            <a:off x="5467009" y="4723476"/>
            <a:ext cx="46179" cy="26939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8" name="Group 197">
            <a:extLst>
              <a:ext uri="{FF2B5EF4-FFF2-40B4-BE49-F238E27FC236}">
                <a16:creationId xmlns:a16="http://schemas.microsoft.com/office/drawing/2014/main" id="{046C8D37-99E5-DCAD-4B20-A4172F729756}"/>
              </a:ext>
            </a:extLst>
          </p:cNvPr>
          <p:cNvGrpSpPr/>
          <p:nvPr/>
        </p:nvGrpSpPr>
        <p:grpSpPr>
          <a:xfrm>
            <a:off x="2824779" y="2244197"/>
            <a:ext cx="3613288" cy="1842279"/>
            <a:chOff x="3148629" y="2006072"/>
            <a:chExt cx="3613288" cy="1842279"/>
          </a:xfrm>
        </p:grpSpPr>
        <p:grpSp>
          <p:nvGrpSpPr>
            <p:cNvPr id="129" name="Group 128">
              <a:extLst>
                <a:ext uri="{FF2B5EF4-FFF2-40B4-BE49-F238E27FC236}">
                  <a16:creationId xmlns:a16="http://schemas.microsoft.com/office/drawing/2014/main" id="{569D94EF-9C75-8A4D-7791-AA27257E102A}"/>
                </a:ext>
              </a:extLst>
            </p:cNvPr>
            <p:cNvGrpSpPr/>
            <p:nvPr/>
          </p:nvGrpSpPr>
          <p:grpSpPr>
            <a:xfrm>
              <a:off x="3148629" y="2006072"/>
              <a:ext cx="1929113" cy="1504707"/>
              <a:chOff x="4064763" y="2207992"/>
              <a:chExt cx="1929113" cy="1504707"/>
            </a:xfrm>
          </p:grpSpPr>
          <p:sp>
            <p:nvSpPr>
              <p:cNvPr id="28" name="Oval 27">
                <a:extLst>
                  <a:ext uri="{FF2B5EF4-FFF2-40B4-BE49-F238E27FC236}">
                    <a16:creationId xmlns:a16="http://schemas.microsoft.com/office/drawing/2014/main" id="{B2114857-67D2-B4FE-2BD5-1530F233462A}"/>
                  </a:ext>
                </a:extLst>
              </p:cNvPr>
              <p:cNvSpPr/>
              <p:nvPr/>
            </p:nvSpPr>
            <p:spPr>
              <a:xfrm>
                <a:off x="4064763" y="2207992"/>
                <a:ext cx="1929113" cy="15047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AU" sz="700" b="1" dirty="0">
                  <a:solidFill>
                    <a:schemeClr val="tx1"/>
                  </a:solidFill>
                  <a:cs typeface="Calibri"/>
                </a:endParaRPr>
              </a:p>
            </p:txBody>
          </p:sp>
          <p:pic>
            <p:nvPicPr>
              <p:cNvPr id="45" name="Picture 44">
                <a:extLst>
                  <a:ext uri="{FF2B5EF4-FFF2-40B4-BE49-F238E27FC236}">
                    <a16:creationId xmlns:a16="http://schemas.microsoft.com/office/drawing/2014/main" id="{C66BB0A5-CCEF-F0A7-25FC-4C32A1CA162A}"/>
                  </a:ext>
                </a:extLst>
              </p:cNvPr>
              <p:cNvPicPr>
                <a:picLocks noChangeAspect="1"/>
              </p:cNvPicPr>
              <p:nvPr/>
            </p:nvPicPr>
            <p:blipFill>
              <a:blip r:embed="rId3"/>
              <a:stretch>
                <a:fillRect/>
              </a:stretch>
            </p:blipFill>
            <p:spPr>
              <a:xfrm>
                <a:off x="4281003" y="2798076"/>
                <a:ext cx="614431" cy="195828"/>
              </a:xfrm>
              <a:prstGeom prst="rect">
                <a:avLst/>
              </a:prstGeom>
            </p:spPr>
          </p:pic>
          <p:pic>
            <p:nvPicPr>
              <p:cNvPr id="47" name="Picture 46">
                <a:hlinkClick r:id="rId4"/>
                <a:extLst>
                  <a:ext uri="{FF2B5EF4-FFF2-40B4-BE49-F238E27FC236}">
                    <a16:creationId xmlns:a16="http://schemas.microsoft.com/office/drawing/2014/main" id="{8E9796A9-5F3A-A5B2-F6DE-BF18E8668C71}"/>
                  </a:ext>
                </a:extLst>
              </p:cNvPr>
              <p:cNvPicPr>
                <a:picLocks noChangeAspect="1"/>
              </p:cNvPicPr>
              <p:nvPr/>
            </p:nvPicPr>
            <p:blipFill>
              <a:blip r:embed="rId5"/>
              <a:stretch>
                <a:fillRect/>
              </a:stretch>
            </p:blipFill>
            <p:spPr>
              <a:xfrm>
                <a:off x="4913241" y="3074798"/>
                <a:ext cx="845925" cy="195720"/>
              </a:xfrm>
              <a:prstGeom prst="rect">
                <a:avLst/>
              </a:prstGeom>
            </p:spPr>
          </p:pic>
          <p:pic>
            <p:nvPicPr>
              <p:cNvPr id="49" name="Picture 48">
                <a:extLst>
                  <a:ext uri="{FF2B5EF4-FFF2-40B4-BE49-F238E27FC236}">
                    <a16:creationId xmlns:a16="http://schemas.microsoft.com/office/drawing/2014/main" id="{A966C0D2-D95A-E422-3355-27D7DD44AEAA}"/>
                  </a:ext>
                </a:extLst>
              </p:cNvPr>
              <p:cNvPicPr>
                <a:picLocks noChangeAspect="1"/>
              </p:cNvPicPr>
              <p:nvPr/>
            </p:nvPicPr>
            <p:blipFill>
              <a:blip r:embed="rId6"/>
              <a:stretch>
                <a:fillRect/>
              </a:stretch>
            </p:blipFill>
            <p:spPr>
              <a:xfrm>
                <a:off x="4952260" y="2781074"/>
                <a:ext cx="955407" cy="207887"/>
              </a:xfrm>
              <a:prstGeom prst="rect">
                <a:avLst/>
              </a:prstGeom>
            </p:spPr>
          </p:pic>
          <p:pic>
            <p:nvPicPr>
              <p:cNvPr id="51" name="Picture 50">
                <a:extLst>
                  <a:ext uri="{FF2B5EF4-FFF2-40B4-BE49-F238E27FC236}">
                    <a16:creationId xmlns:a16="http://schemas.microsoft.com/office/drawing/2014/main" id="{0167C741-BA0E-4D77-0BC7-569A6F6DBC63}"/>
                  </a:ext>
                </a:extLst>
              </p:cNvPr>
              <p:cNvPicPr>
                <a:picLocks noChangeAspect="1"/>
              </p:cNvPicPr>
              <p:nvPr/>
            </p:nvPicPr>
            <p:blipFill>
              <a:blip r:embed="rId7"/>
              <a:stretch>
                <a:fillRect/>
              </a:stretch>
            </p:blipFill>
            <p:spPr>
              <a:xfrm>
                <a:off x="4711549" y="3361478"/>
                <a:ext cx="867245" cy="183683"/>
              </a:xfrm>
              <a:prstGeom prst="rect">
                <a:avLst/>
              </a:prstGeom>
            </p:spPr>
          </p:pic>
          <p:pic>
            <p:nvPicPr>
              <p:cNvPr id="53" name="Picture 52">
                <a:extLst>
                  <a:ext uri="{FF2B5EF4-FFF2-40B4-BE49-F238E27FC236}">
                    <a16:creationId xmlns:a16="http://schemas.microsoft.com/office/drawing/2014/main" id="{4F6A9EEA-7ABF-6E24-CC5F-C79362E10D93}"/>
                  </a:ext>
                </a:extLst>
              </p:cNvPr>
              <p:cNvPicPr>
                <a:picLocks noChangeAspect="1"/>
              </p:cNvPicPr>
              <p:nvPr/>
            </p:nvPicPr>
            <p:blipFill>
              <a:blip r:embed="rId8"/>
              <a:stretch>
                <a:fillRect/>
              </a:stretch>
            </p:blipFill>
            <p:spPr>
              <a:xfrm>
                <a:off x="4944574" y="2534534"/>
                <a:ext cx="782437" cy="203521"/>
              </a:xfrm>
              <a:prstGeom prst="rect">
                <a:avLst/>
              </a:prstGeom>
            </p:spPr>
          </p:pic>
          <p:pic>
            <p:nvPicPr>
              <p:cNvPr id="55" name="Picture 54">
                <a:extLst>
                  <a:ext uri="{FF2B5EF4-FFF2-40B4-BE49-F238E27FC236}">
                    <a16:creationId xmlns:a16="http://schemas.microsoft.com/office/drawing/2014/main" id="{10F24350-BEB1-ECC2-A76C-4FCD9672F2CA}"/>
                  </a:ext>
                </a:extLst>
              </p:cNvPr>
              <p:cNvPicPr>
                <a:picLocks noChangeAspect="1"/>
              </p:cNvPicPr>
              <p:nvPr/>
            </p:nvPicPr>
            <p:blipFill>
              <a:blip r:embed="rId9"/>
              <a:stretch>
                <a:fillRect/>
              </a:stretch>
            </p:blipFill>
            <p:spPr>
              <a:xfrm>
                <a:off x="4769145" y="2316260"/>
                <a:ext cx="609244" cy="183009"/>
              </a:xfrm>
              <a:prstGeom prst="rect">
                <a:avLst/>
              </a:prstGeom>
            </p:spPr>
          </p:pic>
          <p:pic>
            <p:nvPicPr>
              <p:cNvPr id="57" name="Picture 56">
                <a:extLst>
                  <a:ext uri="{FF2B5EF4-FFF2-40B4-BE49-F238E27FC236}">
                    <a16:creationId xmlns:a16="http://schemas.microsoft.com/office/drawing/2014/main" id="{8C828659-E076-DDBF-28AE-0362228684B4}"/>
                  </a:ext>
                </a:extLst>
              </p:cNvPr>
              <p:cNvPicPr>
                <a:picLocks noChangeAspect="1"/>
              </p:cNvPicPr>
              <p:nvPr/>
            </p:nvPicPr>
            <p:blipFill>
              <a:blip r:embed="rId10"/>
              <a:stretch>
                <a:fillRect/>
              </a:stretch>
            </p:blipFill>
            <p:spPr>
              <a:xfrm>
                <a:off x="4287357" y="3067779"/>
                <a:ext cx="421783" cy="288626"/>
              </a:xfrm>
              <a:prstGeom prst="rect">
                <a:avLst/>
              </a:prstGeom>
            </p:spPr>
          </p:pic>
          <p:pic>
            <p:nvPicPr>
              <p:cNvPr id="59" name="Picture 58">
                <a:extLst>
                  <a:ext uri="{FF2B5EF4-FFF2-40B4-BE49-F238E27FC236}">
                    <a16:creationId xmlns:a16="http://schemas.microsoft.com/office/drawing/2014/main" id="{4DE37D1A-C052-E425-2132-78E57E848F84}"/>
                  </a:ext>
                </a:extLst>
              </p:cNvPr>
              <p:cNvPicPr>
                <a:picLocks noChangeAspect="1"/>
              </p:cNvPicPr>
              <p:nvPr/>
            </p:nvPicPr>
            <p:blipFill>
              <a:blip r:embed="rId11"/>
              <a:stretch>
                <a:fillRect/>
              </a:stretch>
            </p:blipFill>
            <p:spPr>
              <a:xfrm>
                <a:off x="4279561" y="2530609"/>
                <a:ext cx="627277" cy="173779"/>
              </a:xfrm>
              <a:prstGeom prst="rect">
                <a:avLst/>
              </a:prstGeom>
            </p:spPr>
          </p:pic>
        </p:grpSp>
        <p:sp>
          <p:nvSpPr>
            <p:cNvPr id="189" name="Arrow: Up-Down 188">
              <a:extLst>
                <a:ext uri="{FF2B5EF4-FFF2-40B4-BE49-F238E27FC236}">
                  <a16:creationId xmlns:a16="http://schemas.microsoft.com/office/drawing/2014/main" id="{4518448C-362F-54B3-1F70-75BA179A4B19}"/>
                </a:ext>
              </a:extLst>
            </p:cNvPr>
            <p:cNvSpPr/>
            <p:nvPr/>
          </p:nvSpPr>
          <p:spPr>
            <a:xfrm rot="10260000">
              <a:off x="6346404" y="3694409"/>
              <a:ext cx="53879" cy="15394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Arrow: Right 190">
              <a:extLst>
                <a:ext uri="{FF2B5EF4-FFF2-40B4-BE49-F238E27FC236}">
                  <a16:creationId xmlns:a16="http://schemas.microsoft.com/office/drawing/2014/main" id="{AFAEF5B6-D288-E180-49A7-FEA6F3804A39}"/>
                </a:ext>
              </a:extLst>
            </p:cNvPr>
            <p:cNvSpPr/>
            <p:nvPr/>
          </p:nvSpPr>
          <p:spPr>
            <a:xfrm rot="11700000">
              <a:off x="5088302" y="3001677"/>
              <a:ext cx="153943" cy="538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320E994C-ED03-C4DF-8765-C12416018155}"/>
                </a:ext>
              </a:extLst>
            </p:cNvPr>
            <p:cNvSpPr/>
            <p:nvPr/>
          </p:nvSpPr>
          <p:spPr>
            <a:xfrm>
              <a:off x="5276499" y="2655487"/>
              <a:ext cx="1485418" cy="105136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b="1" dirty="0">
                  <a:solidFill>
                    <a:schemeClr val="tx1"/>
                  </a:solidFill>
                  <a:ea typeface="+mn-lt"/>
                  <a:cs typeface="+mn-lt"/>
                </a:rPr>
                <a:t>Diversify recruitment sourcing channels  and utilise niche job boards and candidate networks </a:t>
              </a:r>
              <a:r>
                <a:rPr lang="en-AU" sz="700" dirty="0">
                  <a:solidFill>
                    <a:schemeClr val="tx1"/>
                  </a:solidFill>
                  <a:ea typeface="+mn-lt"/>
                  <a:cs typeface="+mn-lt"/>
                </a:rPr>
                <a:t>to increase the volume and diversity of candidates.</a:t>
              </a:r>
              <a:endParaRPr lang="en-AU" dirty="0">
                <a:solidFill>
                  <a:schemeClr val="tx1"/>
                </a:solidFill>
                <a:cs typeface="Calibri"/>
              </a:endParaRPr>
            </a:p>
          </p:txBody>
        </p:sp>
      </p:grpSp>
      <p:grpSp>
        <p:nvGrpSpPr>
          <p:cNvPr id="197" name="Group 196">
            <a:extLst>
              <a:ext uri="{FF2B5EF4-FFF2-40B4-BE49-F238E27FC236}">
                <a16:creationId xmlns:a16="http://schemas.microsoft.com/office/drawing/2014/main" id="{A8EF3A33-AB73-547E-4667-4C9C80237E96}"/>
              </a:ext>
            </a:extLst>
          </p:cNvPr>
          <p:cNvGrpSpPr/>
          <p:nvPr/>
        </p:nvGrpSpPr>
        <p:grpSpPr>
          <a:xfrm>
            <a:off x="2324138" y="4206871"/>
            <a:ext cx="2808661" cy="1347988"/>
            <a:chOff x="2647988" y="3968746"/>
            <a:chExt cx="2808661" cy="1347988"/>
          </a:xfrm>
        </p:grpSpPr>
        <p:sp>
          <p:nvSpPr>
            <p:cNvPr id="29" name="Oval 28">
              <a:extLst>
                <a:ext uri="{FF2B5EF4-FFF2-40B4-BE49-F238E27FC236}">
                  <a16:creationId xmlns:a16="http://schemas.microsoft.com/office/drawing/2014/main" id="{B61E1924-DFD2-3B1E-04BE-A7BF5746772B}"/>
                </a:ext>
              </a:extLst>
            </p:cNvPr>
            <p:cNvSpPr/>
            <p:nvPr/>
          </p:nvSpPr>
          <p:spPr>
            <a:xfrm>
              <a:off x="3528410" y="3968746"/>
              <a:ext cx="1639748" cy="128286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b="1" dirty="0">
                  <a:solidFill>
                    <a:schemeClr val="tx1"/>
                  </a:solidFill>
                  <a:ea typeface="+mn-lt"/>
                  <a:cs typeface="+mn-lt"/>
                </a:rPr>
                <a:t>Optimise our career pages and develop more engaging job ads </a:t>
              </a:r>
              <a:r>
                <a:rPr lang="en-AU" sz="700" dirty="0">
                  <a:solidFill>
                    <a:schemeClr val="tx1"/>
                  </a:solidFill>
                  <a:ea typeface="+mn-lt"/>
                  <a:cs typeface="+mn-lt"/>
                </a:rPr>
                <a:t>designed to share the Commission community, purpose and experience, and the value the candidate can </a:t>
              </a:r>
              <a:r>
                <a:rPr lang="en-AU" sz="700" dirty="0" smtClean="0">
                  <a:solidFill>
                    <a:schemeClr val="tx1"/>
                  </a:solidFill>
                  <a:ea typeface="+mn-lt"/>
                  <a:cs typeface="+mn-lt"/>
                </a:rPr>
                <a:t>add</a:t>
              </a:r>
              <a:endParaRPr lang="en-AU" dirty="0">
                <a:solidFill>
                  <a:schemeClr val="tx1"/>
                </a:solidFill>
                <a:cs typeface="Calibri" panose="020F0502020204030204"/>
              </a:endParaRPr>
            </a:p>
          </p:txBody>
        </p:sp>
        <p:grpSp>
          <p:nvGrpSpPr>
            <p:cNvPr id="157" name="Group 156">
              <a:extLst>
                <a:ext uri="{FF2B5EF4-FFF2-40B4-BE49-F238E27FC236}">
                  <a16:creationId xmlns:a16="http://schemas.microsoft.com/office/drawing/2014/main" id="{3A165443-C6F4-774F-11ED-5F7E9A45C836}"/>
                </a:ext>
              </a:extLst>
            </p:cNvPr>
            <p:cNvGrpSpPr/>
            <p:nvPr/>
          </p:nvGrpSpPr>
          <p:grpSpPr>
            <a:xfrm>
              <a:off x="2647988" y="4758949"/>
              <a:ext cx="718060" cy="557785"/>
              <a:chOff x="4568086" y="5186427"/>
              <a:chExt cx="718060" cy="557785"/>
            </a:xfrm>
          </p:grpSpPr>
          <p:sp>
            <p:nvSpPr>
              <p:cNvPr id="41" name="Oval 40">
                <a:extLst>
                  <a:ext uri="{FF2B5EF4-FFF2-40B4-BE49-F238E27FC236}">
                    <a16:creationId xmlns:a16="http://schemas.microsoft.com/office/drawing/2014/main" id="{30AA5EA7-CC63-72A4-B373-D8B64698B57E}"/>
                  </a:ext>
                </a:extLst>
              </p:cNvPr>
              <p:cNvSpPr/>
              <p:nvPr/>
            </p:nvSpPr>
            <p:spPr>
              <a:xfrm>
                <a:off x="4568086" y="5186427"/>
                <a:ext cx="718060" cy="55778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AU" sz="700" b="1" dirty="0">
                  <a:solidFill>
                    <a:schemeClr val="tx1"/>
                  </a:solidFill>
                  <a:cs typeface="Calibri"/>
                </a:endParaRPr>
              </a:p>
            </p:txBody>
          </p:sp>
          <p:pic>
            <p:nvPicPr>
              <p:cNvPr id="62" name="Picture 61">
                <a:extLst>
                  <a:ext uri="{FF2B5EF4-FFF2-40B4-BE49-F238E27FC236}">
                    <a16:creationId xmlns:a16="http://schemas.microsoft.com/office/drawing/2014/main" id="{3BF2BA6D-2E9C-BA02-124D-DA498EC827CA}"/>
                  </a:ext>
                </a:extLst>
              </p:cNvPr>
              <p:cNvPicPr>
                <a:picLocks noChangeAspect="1"/>
              </p:cNvPicPr>
              <p:nvPr/>
            </p:nvPicPr>
            <p:blipFill>
              <a:blip r:embed="rId12"/>
              <a:stretch>
                <a:fillRect/>
              </a:stretch>
            </p:blipFill>
            <p:spPr>
              <a:xfrm>
                <a:off x="4712438" y="5343359"/>
                <a:ext cx="444650" cy="247843"/>
              </a:xfrm>
              <a:prstGeom prst="rect">
                <a:avLst/>
              </a:prstGeom>
            </p:spPr>
          </p:pic>
        </p:grpSp>
        <p:sp>
          <p:nvSpPr>
            <p:cNvPr id="188" name="Arrow: Up-Down 187">
              <a:extLst>
                <a:ext uri="{FF2B5EF4-FFF2-40B4-BE49-F238E27FC236}">
                  <a16:creationId xmlns:a16="http://schemas.microsoft.com/office/drawing/2014/main" id="{D0465238-44BD-A6E0-9A32-8BABFC07C9DE}"/>
                </a:ext>
              </a:extLst>
            </p:cNvPr>
            <p:cNvSpPr/>
            <p:nvPr/>
          </p:nvSpPr>
          <p:spPr>
            <a:xfrm rot="4860000">
              <a:off x="5279617" y="4093197"/>
              <a:ext cx="46183" cy="30788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Arrow: Right 191">
              <a:extLst>
                <a:ext uri="{FF2B5EF4-FFF2-40B4-BE49-F238E27FC236}">
                  <a16:creationId xmlns:a16="http://schemas.microsoft.com/office/drawing/2014/main" id="{2E25AF24-D624-B414-8FFF-910600D9C74D}"/>
                </a:ext>
              </a:extLst>
            </p:cNvPr>
            <p:cNvSpPr/>
            <p:nvPr/>
          </p:nvSpPr>
          <p:spPr>
            <a:xfrm rot="9780000">
              <a:off x="3368917" y="4812241"/>
              <a:ext cx="153943" cy="538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0" name="Group 199">
            <a:extLst>
              <a:ext uri="{FF2B5EF4-FFF2-40B4-BE49-F238E27FC236}">
                <a16:creationId xmlns:a16="http://schemas.microsoft.com/office/drawing/2014/main" id="{382479FA-53CB-E907-F48A-82001548C26F}"/>
              </a:ext>
            </a:extLst>
          </p:cNvPr>
          <p:cNvGrpSpPr/>
          <p:nvPr/>
        </p:nvGrpSpPr>
        <p:grpSpPr>
          <a:xfrm>
            <a:off x="7371731" y="2298705"/>
            <a:ext cx="2083644" cy="1676370"/>
            <a:chOff x="7695581" y="2060580"/>
            <a:chExt cx="2083644" cy="1676370"/>
          </a:xfrm>
        </p:grpSpPr>
        <p:sp>
          <p:nvSpPr>
            <p:cNvPr id="24" name="Oval 23">
              <a:extLst>
                <a:ext uri="{FF2B5EF4-FFF2-40B4-BE49-F238E27FC236}">
                  <a16:creationId xmlns:a16="http://schemas.microsoft.com/office/drawing/2014/main" id="{7957BFB2-8587-365C-15BD-03A42DD8463F}"/>
                </a:ext>
              </a:extLst>
            </p:cNvPr>
            <p:cNvSpPr/>
            <p:nvPr/>
          </p:nvSpPr>
          <p:spPr>
            <a:xfrm>
              <a:off x="7695581" y="2918547"/>
              <a:ext cx="1454896" cy="81840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dirty="0">
                  <a:solidFill>
                    <a:schemeClr val="tx1"/>
                  </a:solidFill>
                  <a:ea typeface="+mn-lt"/>
                  <a:cs typeface="+mn-lt"/>
                </a:rPr>
                <a:t>Network and proactively approach prospective candidates from across the sector </a:t>
              </a:r>
              <a:endParaRPr lang="en-AU" dirty="0">
                <a:solidFill>
                  <a:schemeClr val="tx1"/>
                </a:solidFill>
                <a:cs typeface="Calibri" panose="020F0502020204030204"/>
              </a:endParaRPr>
            </a:p>
          </p:txBody>
        </p:sp>
        <p:sp>
          <p:nvSpPr>
            <p:cNvPr id="26" name="Oval 25">
              <a:extLst>
                <a:ext uri="{FF2B5EF4-FFF2-40B4-BE49-F238E27FC236}">
                  <a16:creationId xmlns:a16="http://schemas.microsoft.com/office/drawing/2014/main" id="{3B719369-557C-E84C-17B0-BC1F81C646EA}"/>
                </a:ext>
              </a:extLst>
            </p:cNvPr>
            <p:cNvSpPr/>
            <p:nvPr/>
          </p:nvSpPr>
          <p:spPr>
            <a:xfrm>
              <a:off x="8714802" y="2060580"/>
              <a:ext cx="1064423" cy="85796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AU" sz="700" b="1" dirty="0">
                <a:solidFill>
                  <a:schemeClr val="tx1"/>
                </a:solidFill>
                <a:cs typeface="Calibri"/>
              </a:endParaRPr>
            </a:p>
          </p:txBody>
        </p:sp>
        <p:pic>
          <p:nvPicPr>
            <p:cNvPr id="132" name="Picture 131" descr="A picture containing text&#10;&#10;Description automatically generated">
              <a:extLst>
                <a:ext uri="{FF2B5EF4-FFF2-40B4-BE49-F238E27FC236}">
                  <a16:creationId xmlns:a16="http://schemas.microsoft.com/office/drawing/2014/main" id="{03944449-92BB-CBF1-F580-2F1F4134996C}"/>
                </a:ext>
              </a:extLst>
            </p:cNvPr>
            <p:cNvPicPr>
              <a:picLocks noChangeAspect="1"/>
            </p:cNvPicPr>
            <p:nvPr/>
          </p:nvPicPr>
          <p:blipFill>
            <a:blip r:embed="rId13"/>
            <a:stretch>
              <a:fillRect/>
            </a:stretch>
          </p:blipFill>
          <p:spPr>
            <a:xfrm>
              <a:off x="8963120" y="2217199"/>
              <a:ext cx="636969" cy="225222"/>
            </a:xfrm>
            <a:prstGeom prst="rect">
              <a:avLst/>
            </a:prstGeom>
          </p:spPr>
        </p:pic>
        <p:pic>
          <p:nvPicPr>
            <p:cNvPr id="134" name="Picture 133" descr="A picture containing logo&#10;&#10;Description automatically generated">
              <a:extLst>
                <a:ext uri="{FF2B5EF4-FFF2-40B4-BE49-F238E27FC236}">
                  <a16:creationId xmlns:a16="http://schemas.microsoft.com/office/drawing/2014/main" id="{F499973B-4AD6-EBB5-97A5-5701F186632C}"/>
                </a:ext>
              </a:extLst>
            </p:cNvPr>
            <p:cNvPicPr>
              <a:picLocks noChangeAspect="1"/>
            </p:cNvPicPr>
            <p:nvPr/>
          </p:nvPicPr>
          <p:blipFill>
            <a:blip r:embed="rId14"/>
            <a:stretch>
              <a:fillRect/>
            </a:stretch>
          </p:blipFill>
          <p:spPr>
            <a:xfrm>
              <a:off x="9015903" y="2513347"/>
              <a:ext cx="538406" cy="219607"/>
            </a:xfrm>
            <a:prstGeom prst="rect">
              <a:avLst/>
            </a:prstGeom>
          </p:spPr>
        </p:pic>
        <p:sp>
          <p:nvSpPr>
            <p:cNvPr id="193" name="Arrow: Right 192">
              <a:extLst>
                <a:ext uri="{FF2B5EF4-FFF2-40B4-BE49-F238E27FC236}">
                  <a16:creationId xmlns:a16="http://schemas.microsoft.com/office/drawing/2014/main" id="{141BF3C4-4FD6-1ED3-5BCB-4066D62E5A60}"/>
                </a:ext>
              </a:extLst>
            </p:cNvPr>
            <p:cNvSpPr/>
            <p:nvPr/>
          </p:nvSpPr>
          <p:spPr>
            <a:xfrm rot="-2460000">
              <a:off x="8709850" y="2870580"/>
              <a:ext cx="153943" cy="538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6" name="Arrow: Up-Down 185">
            <a:extLst>
              <a:ext uri="{FF2B5EF4-FFF2-40B4-BE49-F238E27FC236}">
                <a16:creationId xmlns:a16="http://schemas.microsoft.com/office/drawing/2014/main" id="{CE604DE0-5855-858E-03E3-CECD9F0B56D3}"/>
              </a:ext>
            </a:extLst>
          </p:cNvPr>
          <p:cNvSpPr/>
          <p:nvPr/>
        </p:nvSpPr>
        <p:spPr>
          <a:xfrm rot="16200000">
            <a:off x="9666953" y="4325198"/>
            <a:ext cx="53881" cy="32327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6" name="Group 205">
            <a:extLst>
              <a:ext uri="{FF2B5EF4-FFF2-40B4-BE49-F238E27FC236}">
                <a16:creationId xmlns:a16="http://schemas.microsoft.com/office/drawing/2014/main" id="{81329DCE-7E2D-0D52-351E-5D0CB2F13FF0}"/>
              </a:ext>
            </a:extLst>
          </p:cNvPr>
          <p:cNvGrpSpPr/>
          <p:nvPr/>
        </p:nvGrpSpPr>
        <p:grpSpPr>
          <a:xfrm>
            <a:off x="421747" y="2327348"/>
            <a:ext cx="2163111" cy="2437418"/>
            <a:chOff x="421747" y="2327348"/>
            <a:chExt cx="2734611" cy="2104043"/>
          </a:xfrm>
        </p:grpSpPr>
        <p:sp>
          <p:nvSpPr>
            <p:cNvPr id="203" name="TextBox 202">
              <a:extLst>
                <a:ext uri="{FF2B5EF4-FFF2-40B4-BE49-F238E27FC236}">
                  <a16:creationId xmlns:a16="http://schemas.microsoft.com/office/drawing/2014/main" id="{7238C4D5-404F-C068-AFD1-A58A5D5FE4DB}"/>
                </a:ext>
              </a:extLst>
            </p:cNvPr>
            <p:cNvSpPr txBox="1"/>
            <p:nvPr/>
          </p:nvSpPr>
          <p:spPr>
            <a:xfrm>
              <a:off x="421747" y="2821183"/>
              <a:ext cx="2734610" cy="1610208"/>
            </a:xfrm>
            <a:prstGeom prst="rect">
              <a:avLst/>
            </a:prstGeom>
            <a:noFill/>
            <a:ln>
              <a:solidFill>
                <a:schemeClr val="tx1"/>
              </a:solidFill>
              <a:prstDash val="sysDot"/>
            </a:ln>
          </p:spPr>
          <p:txBody>
            <a:bodyPr wrap="square" lIns="91440" tIns="45720" rIns="91440" bIns="45720" rtlCol="0" anchor="t">
              <a:noAutofit/>
            </a:bodyPr>
            <a:lstStyle/>
            <a:p>
              <a:pPr marL="180975" indent="-180975">
                <a:buClr>
                  <a:schemeClr val="tx1"/>
                </a:buClr>
                <a:buFont typeface="Arial" panose="020B0604020202020204" pitchFamily="34" charset="0"/>
                <a:buChar char="•"/>
                <a:tabLst>
                  <a:tab pos="87313" algn="l"/>
                </a:tabLst>
                <a:defRPr/>
              </a:pPr>
              <a:endParaRPr lang="en-AU" sz="500" b="1" dirty="0"/>
            </a:p>
            <a:p>
              <a:pPr marL="171450" indent="-171450">
                <a:spcAft>
                  <a:spcPts val="400"/>
                </a:spcAft>
                <a:buClr>
                  <a:schemeClr val="tx1"/>
                </a:buClr>
                <a:buFont typeface="Arial" panose="020B0604020202020204" pitchFamily="34" charset="0"/>
                <a:buChar char="•"/>
                <a:tabLst>
                  <a:tab pos="87313" algn="l"/>
                </a:tabLst>
                <a:defRPr/>
              </a:pPr>
              <a:r>
                <a:rPr lang="en-AU" sz="1000" b="1" dirty="0"/>
                <a:t>Early career hires </a:t>
              </a:r>
              <a:r>
                <a:rPr lang="en-AU" sz="1000" dirty="0"/>
                <a:t>such as school leavers, university students and graduates</a:t>
              </a:r>
            </a:p>
            <a:p>
              <a:pPr marL="171450" indent="-171450">
                <a:spcAft>
                  <a:spcPts val="400"/>
                </a:spcAft>
                <a:buClr>
                  <a:schemeClr val="tx1"/>
                </a:buClr>
                <a:buFont typeface="Arial" panose="020B0604020202020204" pitchFamily="34" charset="0"/>
                <a:buChar char="•"/>
                <a:tabLst>
                  <a:tab pos="87313" algn="l"/>
                </a:tabLst>
                <a:defRPr/>
              </a:pPr>
              <a:r>
                <a:rPr lang="en-AU" sz="1000" b="1" dirty="0"/>
                <a:t>APS employees </a:t>
              </a:r>
            </a:p>
            <a:p>
              <a:pPr marL="171450" indent="-171450">
                <a:spcAft>
                  <a:spcPts val="400"/>
                </a:spcAft>
                <a:buClr>
                  <a:schemeClr val="tx1"/>
                </a:buClr>
                <a:buFont typeface="Arial" panose="020B0604020202020204" pitchFamily="34" charset="0"/>
                <a:buChar char="•"/>
                <a:tabLst>
                  <a:tab pos="87313" algn="l"/>
                </a:tabLst>
                <a:defRPr/>
              </a:pPr>
              <a:r>
                <a:rPr lang="en-AU" sz="1000" b="1" dirty="0"/>
                <a:t>Experienced APS lateral hires </a:t>
              </a:r>
            </a:p>
            <a:p>
              <a:pPr marL="171450" indent="-171450">
                <a:spcAft>
                  <a:spcPts val="400"/>
                </a:spcAft>
                <a:buClr>
                  <a:schemeClr val="tx1"/>
                </a:buClr>
                <a:buFont typeface="Arial" panose="020B0604020202020204" pitchFamily="34" charset="0"/>
                <a:buChar char="•"/>
                <a:tabLst>
                  <a:tab pos="87313" algn="l"/>
                </a:tabLst>
                <a:defRPr/>
              </a:pPr>
              <a:r>
                <a:rPr lang="en-AU" sz="1000" b="1" dirty="0"/>
                <a:t>Lateral hires from the private sector </a:t>
              </a:r>
            </a:p>
            <a:p>
              <a:pPr marL="171450" indent="-171450">
                <a:spcAft>
                  <a:spcPts val="400"/>
                </a:spcAft>
                <a:buClr>
                  <a:schemeClr val="tx1"/>
                </a:buClr>
                <a:buFont typeface="Arial" panose="020B0604020202020204" pitchFamily="34" charset="0"/>
                <a:buChar char="•"/>
                <a:tabLst>
                  <a:tab pos="87313" algn="l"/>
                </a:tabLst>
                <a:defRPr/>
              </a:pPr>
              <a:r>
                <a:rPr lang="en-AU" sz="1000" b="1" dirty="0"/>
                <a:t>Previous employees </a:t>
              </a:r>
            </a:p>
            <a:p>
              <a:pPr marL="171450" indent="-171450">
                <a:spcAft>
                  <a:spcPts val="400"/>
                </a:spcAft>
                <a:buClr>
                  <a:schemeClr val="tx1"/>
                </a:buClr>
                <a:buFont typeface="Arial" panose="020B0604020202020204" pitchFamily="34" charset="0"/>
                <a:buChar char="•"/>
                <a:tabLst>
                  <a:tab pos="87313" algn="l"/>
                </a:tabLst>
                <a:defRPr/>
              </a:pPr>
              <a:r>
                <a:rPr lang="en-AU" sz="1000" b="1" dirty="0"/>
                <a:t>Qualified past candidates </a:t>
              </a:r>
            </a:p>
          </p:txBody>
        </p:sp>
        <p:sp>
          <p:nvSpPr>
            <p:cNvPr id="205" name="TextBox 204">
              <a:extLst>
                <a:ext uri="{FF2B5EF4-FFF2-40B4-BE49-F238E27FC236}">
                  <a16:creationId xmlns:a16="http://schemas.microsoft.com/office/drawing/2014/main" id="{80E78329-0632-11BD-29F2-87D7B288B595}"/>
                </a:ext>
              </a:extLst>
            </p:cNvPr>
            <p:cNvSpPr txBox="1"/>
            <p:nvPr/>
          </p:nvSpPr>
          <p:spPr>
            <a:xfrm>
              <a:off x="421748" y="2327348"/>
              <a:ext cx="2734610" cy="401919"/>
            </a:xfrm>
            <a:prstGeom prst="rect">
              <a:avLst/>
            </a:prstGeom>
            <a:solidFill>
              <a:schemeClr val="tx2"/>
            </a:solidFill>
            <a:ln>
              <a:solidFill>
                <a:schemeClr val="tx2"/>
              </a:solidFill>
            </a:ln>
          </p:spPr>
          <p:style>
            <a:lnRef idx="0">
              <a:schemeClr val="accent1"/>
            </a:lnRef>
            <a:fillRef idx="1">
              <a:schemeClr val="accent1"/>
            </a:fillRef>
            <a:effectRef idx="0">
              <a:schemeClr val="dk1"/>
            </a:effectRef>
            <a:fontRef idx="minor">
              <a:schemeClr val="lt1"/>
            </a:fontRef>
          </p:style>
          <p:txBody>
            <a:bodyPr lIns="91440" tIns="45720" rIns="91440" bIns="45720" rtlCol="0" anchor="ctr"/>
            <a:lstStyle>
              <a:defPPr>
                <a:defRPr lang="en-US"/>
              </a:defPPr>
              <a:lvl1pPr algn="ctr">
                <a:spcAft>
                  <a:spcPts val="600"/>
                </a:spcAft>
                <a:defRPr sz="1000" b="1">
                  <a:solidFill>
                    <a:schemeClr val="bg1"/>
                  </a:solidFil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AU" dirty="0"/>
                <a:t>Target talent pipeline</a:t>
              </a:r>
            </a:p>
          </p:txBody>
        </p:sp>
      </p:grpSp>
      <p:grpSp>
        <p:nvGrpSpPr>
          <p:cNvPr id="8" name="Group 7">
            <a:extLst>
              <a:ext uri="{FF2B5EF4-FFF2-40B4-BE49-F238E27FC236}">
                <a16:creationId xmlns:a16="http://schemas.microsoft.com/office/drawing/2014/main" id="{8D1EEEE4-46C2-2F58-7036-E47ECE99310B}"/>
              </a:ext>
            </a:extLst>
          </p:cNvPr>
          <p:cNvGrpSpPr/>
          <p:nvPr/>
        </p:nvGrpSpPr>
        <p:grpSpPr>
          <a:xfrm>
            <a:off x="9905793" y="1960764"/>
            <a:ext cx="2242304" cy="3277217"/>
            <a:chOff x="9905793" y="1960764"/>
            <a:chExt cx="2242304" cy="3277217"/>
          </a:xfrm>
        </p:grpSpPr>
        <p:sp>
          <p:nvSpPr>
            <p:cNvPr id="39" name="Oval 38">
              <a:extLst>
                <a:ext uri="{FF2B5EF4-FFF2-40B4-BE49-F238E27FC236}">
                  <a16:creationId xmlns:a16="http://schemas.microsoft.com/office/drawing/2014/main" id="{4666CB18-FCC1-7241-BB47-59F720C1D9FC}"/>
                </a:ext>
              </a:extLst>
            </p:cNvPr>
            <p:cNvSpPr/>
            <p:nvPr/>
          </p:nvSpPr>
          <p:spPr>
            <a:xfrm>
              <a:off x="9905793" y="3943698"/>
              <a:ext cx="1666415" cy="129428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b="1" dirty="0">
                  <a:solidFill>
                    <a:schemeClr val="tx1"/>
                  </a:solidFill>
                  <a:ea typeface="+mn-lt"/>
                  <a:cs typeface="+mn-lt"/>
                </a:rPr>
                <a:t>Connect with universities </a:t>
              </a:r>
              <a:r>
                <a:rPr lang="en-AU" sz="700" b="1" dirty="0" smtClean="0">
                  <a:solidFill>
                    <a:schemeClr val="tx1"/>
                  </a:solidFill>
                  <a:ea typeface="+mn-lt"/>
                  <a:cs typeface="+mn-lt"/>
                </a:rPr>
                <a:t>close-by </a:t>
              </a:r>
              <a:r>
                <a:rPr lang="en-AU" sz="700" b="1" dirty="0">
                  <a:solidFill>
                    <a:schemeClr val="tx1"/>
                  </a:solidFill>
                  <a:ea typeface="+mn-lt"/>
                  <a:cs typeface="+mn-lt"/>
                </a:rPr>
                <a:t>to our existing geographic footprint - </a:t>
              </a:r>
              <a:r>
                <a:rPr lang="en-AU" sz="700" dirty="0">
                  <a:solidFill>
                    <a:schemeClr val="tx1"/>
                  </a:solidFill>
                  <a:ea typeface="+mn-lt"/>
                  <a:cs typeface="+mn-lt"/>
                </a:rPr>
                <a:t>Utilise University Online Jobs </a:t>
              </a:r>
              <a:r>
                <a:rPr lang="en-AU" sz="700" dirty="0" smtClean="0">
                  <a:solidFill>
                    <a:schemeClr val="tx1"/>
                  </a:solidFill>
                  <a:ea typeface="+mn-lt"/>
                  <a:cs typeface="+mn-lt"/>
                </a:rPr>
                <a:t>Portals, </a:t>
              </a:r>
              <a:r>
                <a:rPr lang="en-AU" sz="700" dirty="0">
                  <a:solidFill>
                    <a:schemeClr val="tx1"/>
                  </a:solidFill>
                  <a:ea typeface="+mn-lt"/>
                  <a:cs typeface="+mn-lt"/>
                </a:rPr>
                <a:t>University vacation employment programs and career fair exhibits (virtual and in person)</a:t>
              </a:r>
              <a:endParaRPr lang="en-US" sz="700" dirty="0">
                <a:solidFill>
                  <a:schemeClr val="tx1"/>
                </a:solidFill>
                <a:ea typeface="+mn-lt"/>
                <a:cs typeface="+mn-lt"/>
              </a:endParaRPr>
            </a:p>
          </p:txBody>
        </p:sp>
        <p:sp>
          <p:nvSpPr>
            <p:cNvPr id="37" name="Oval 36">
              <a:extLst>
                <a:ext uri="{FF2B5EF4-FFF2-40B4-BE49-F238E27FC236}">
                  <a16:creationId xmlns:a16="http://schemas.microsoft.com/office/drawing/2014/main" id="{FEAAFAAD-564F-D2BB-22E1-9F865D79D989}"/>
                </a:ext>
              </a:extLst>
            </p:cNvPr>
            <p:cNvSpPr/>
            <p:nvPr/>
          </p:nvSpPr>
          <p:spPr>
            <a:xfrm>
              <a:off x="10311140" y="1960764"/>
              <a:ext cx="1836957" cy="164927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AU" sz="700" b="1" dirty="0">
                <a:solidFill>
                  <a:schemeClr val="tx1"/>
                </a:solidFill>
                <a:cs typeface="Calibri"/>
              </a:endParaRPr>
            </a:p>
          </p:txBody>
        </p:sp>
        <p:pic>
          <p:nvPicPr>
            <p:cNvPr id="141" name="Picture 140">
              <a:extLst>
                <a:ext uri="{FF2B5EF4-FFF2-40B4-BE49-F238E27FC236}">
                  <a16:creationId xmlns:a16="http://schemas.microsoft.com/office/drawing/2014/main" id="{F6024697-0E18-23E3-BCE5-D14581375626}"/>
                </a:ext>
              </a:extLst>
            </p:cNvPr>
            <p:cNvPicPr>
              <a:picLocks noChangeAspect="1"/>
            </p:cNvPicPr>
            <p:nvPr/>
          </p:nvPicPr>
          <p:blipFill>
            <a:blip r:embed="rId15"/>
            <a:stretch>
              <a:fillRect/>
            </a:stretch>
          </p:blipFill>
          <p:spPr>
            <a:xfrm>
              <a:off x="10801555" y="2130495"/>
              <a:ext cx="693816" cy="220797"/>
            </a:xfrm>
            <a:prstGeom prst="rect">
              <a:avLst/>
            </a:prstGeom>
          </p:spPr>
        </p:pic>
        <p:pic>
          <p:nvPicPr>
            <p:cNvPr id="144" name="Picture 143">
              <a:extLst>
                <a:ext uri="{FF2B5EF4-FFF2-40B4-BE49-F238E27FC236}">
                  <a16:creationId xmlns:a16="http://schemas.microsoft.com/office/drawing/2014/main" id="{12E1FEA9-3656-AC0D-0BB7-438D67CE1888}"/>
                </a:ext>
              </a:extLst>
            </p:cNvPr>
            <p:cNvPicPr>
              <a:picLocks noChangeAspect="1"/>
            </p:cNvPicPr>
            <p:nvPr/>
          </p:nvPicPr>
          <p:blipFill>
            <a:blip r:embed="rId16"/>
            <a:stretch>
              <a:fillRect/>
            </a:stretch>
          </p:blipFill>
          <p:spPr>
            <a:xfrm rot="21435859">
              <a:off x="10925163" y="2456624"/>
              <a:ext cx="315617" cy="306105"/>
            </a:xfrm>
            <a:prstGeom prst="rect">
              <a:avLst/>
            </a:prstGeom>
          </p:spPr>
        </p:pic>
        <p:pic>
          <p:nvPicPr>
            <p:cNvPr id="149" name="Picture 148">
              <a:extLst>
                <a:ext uri="{FF2B5EF4-FFF2-40B4-BE49-F238E27FC236}">
                  <a16:creationId xmlns:a16="http://schemas.microsoft.com/office/drawing/2014/main" id="{34C8675E-7E0F-29E5-5E4F-027D82A94D5F}"/>
                </a:ext>
              </a:extLst>
            </p:cNvPr>
            <p:cNvPicPr>
              <a:picLocks noChangeAspect="1"/>
            </p:cNvPicPr>
            <p:nvPr/>
          </p:nvPicPr>
          <p:blipFill>
            <a:blip r:embed="rId17"/>
            <a:stretch>
              <a:fillRect/>
            </a:stretch>
          </p:blipFill>
          <p:spPr>
            <a:xfrm>
              <a:off x="11405852" y="2400251"/>
              <a:ext cx="595589" cy="268538"/>
            </a:xfrm>
            <a:prstGeom prst="rect">
              <a:avLst/>
            </a:prstGeom>
          </p:spPr>
        </p:pic>
        <p:pic>
          <p:nvPicPr>
            <p:cNvPr id="151" name="Picture 150">
              <a:extLst>
                <a:ext uri="{FF2B5EF4-FFF2-40B4-BE49-F238E27FC236}">
                  <a16:creationId xmlns:a16="http://schemas.microsoft.com/office/drawing/2014/main" id="{6CD7F07C-2533-DE93-D6C0-978B8A69EA3F}"/>
                </a:ext>
              </a:extLst>
            </p:cNvPr>
            <p:cNvPicPr>
              <a:picLocks noChangeAspect="1"/>
            </p:cNvPicPr>
            <p:nvPr/>
          </p:nvPicPr>
          <p:blipFill>
            <a:blip r:embed="rId18"/>
            <a:stretch>
              <a:fillRect/>
            </a:stretch>
          </p:blipFill>
          <p:spPr>
            <a:xfrm>
              <a:off x="10479355" y="2415420"/>
              <a:ext cx="317603" cy="384320"/>
            </a:xfrm>
            <a:prstGeom prst="rect">
              <a:avLst/>
            </a:prstGeom>
          </p:spPr>
        </p:pic>
        <p:sp>
          <p:nvSpPr>
            <p:cNvPr id="194" name="Arrow: Right 193">
              <a:extLst>
                <a:ext uri="{FF2B5EF4-FFF2-40B4-BE49-F238E27FC236}">
                  <a16:creationId xmlns:a16="http://schemas.microsoft.com/office/drawing/2014/main" id="{BCA7EAA5-EB25-B6F7-CA27-9AD1430CD65A}"/>
                </a:ext>
              </a:extLst>
            </p:cNvPr>
            <p:cNvSpPr/>
            <p:nvPr/>
          </p:nvSpPr>
          <p:spPr>
            <a:xfrm rot="16980000">
              <a:off x="10841438" y="3774166"/>
              <a:ext cx="260044" cy="442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5">
              <a:extLst>
                <a:ext uri="{FF2B5EF4-FFF2-40B4-BE49-F238E27FC236}">
                  <a16:creationId xmlns:a16="http://schemas.microsoft.com/office/drawing/2014/main" id="{B6E71DA8-E1C5-39D9-5945-218A4B643B4A}"/>
                </a:ext>
              </a:extLst>
            </p:cNvPr>
            <p:cNvPicPr>
              <a:picLocks noChangeAspect="1"/>
            </p:cNvPicPr>
            <p:nvPr/>
          </p:nvPicPr>
          <p:blipFill>
            <a:blip r:embed="rId19"/>
            <a:stretch>
              <a:fillRect/>
            </a:stretch>
          </p:blipFill>
          <p:spPr>
            <a:xfrm>
              <a:off x="11254451" y="2737798"/>
              <a:ext cx="833378" cy="244226"/>
            </a:xfrm>
            <a:prstGeom prst="rect">
              <a:avLst/>
            </a:prstGeom>
          </p:spPr>
        </p:pic>
        <p:pic>
          <p:nvPicPr>
            <p:cNvPr id="6" name="Picture 6" descr="Text&#10;&#10;Description automatically generated">
              <a:extLst>
                <a:ext uri="{FF2B5EF4-FFF2-40B4-BE49-F238E27FC236}">
                  <a16:creationId xmlns:a16="http://schemas.microsoft.com/office/drawing/2014/main" id="{A1379117-ADB8-AF8D-721D-C2CB40E0F6B6}"/>
                </a:ext>
              </a:extLst>
            </p:cNvPr>
            <p:cNvPicPr>
              <a:picLocks noChangeAspect="1"/>
            </p:cNvPicPr>
            <p:nvPr/>
          </p:nvPicPr>
          <p:blipFill rotWithShape="1">
            <a:blip r:embed="rId20"/>
            <a:srcRect l="9574" t="20863" r="11013" b="26010"/>
            <a:stretch/>
          </p:blipFill>
          <p:spPr>
            <a:xfrm>
              <a:off x="10475927" y="2896950"/>
              <a:ext cx="702682" cy="286754"/>
            </a:xfrm>
            <a:prstGeom prst="rect">
              <a:avLst/>
            </a:prstGeom>
          </p:spPr>
        </p:pic>
        <p:pic>
          <p:nvPicPr>
            <p:cNvPr id="7" name="Picture 7" descr="Logo, company name&#10;&#10;Description automatically generated">
              <a:extLst>
                <a:ext uri="{FF2B5EF4-FFF2-40B4-BE49-F238E27FC236}">
                  <a16:creationId xmlns:a16="http://schemas.microsoft.com/office/drawing/2014/main" id="{4E3C5C82-C825-0300-E962-15E2A1619E6C}"/>
                </a:ext>
              </a:extLst>
            </p:cNvPr>
            <p:cNvPicPr>
              <a:picLocks noChangeAspect="1"/>
            </p:cNvPicPr>
            <p:nvPr/>
          </p:nvPicPr>
          <p:blipFill>
            <a:blip r:embed="rId21"/>
            <a:stretch>
              <a:fillRect/>
            </a:stretch>
          </p:blipFill>
          <p:spPr>
            <a:xfrm>
              <a:off x="11244804" y="3101734"/>
              <a:ext cx="486137" cy="249417"/>
            </a:xfrm>
            <a:prstGeom prst="rect">
              <a:avLst/>
            </a:prstGeom>
          </p:spPr>
        </p:pic>
      </p:grpSp>
    </p:spTree>
    <p:extLst>
      <p:ext uri="{BB962C8B-B14F-4D97-AF65-F5344CB8AC3E}">
        <p14:creationId xmlns:p14="http://schemas.microsoft.com/office/powerpoint/2010/main" val="27776304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E1A89B35-8D52-4628-BF38-B16E2DEA2B8D}"/>
              </a:ext>
            </a:extLst>
          </p:cNvPr>
          <p:cNvSpPr txBox="1"/>
          <p:nvPr/>
        </p:nvSpPr>
        <p:spPr>
          <a:xfrm>
            <a:off x="487391" y="3735783"/>
            <a:ext cx="2743475" cy="1970975"/>
          </a:xfrm>
          <a:prstGeom prst="rect">
            <a:avLst/>
          </a:prstGeom>
          <a:noFill/>
          <a:ln>
            <a:solidFill>
              <a:schemeClr val="tx1"/>
            </a:solidFill>
            <a:prstDash val="sysDot"/>
          </a:ln>
        </p:spPr>
        <p:txBody>
          <a:bodyPr wrap="square" lIns="91440" tIns="45720" rIns="91440" bIns="45720" rtlCol="0" anchor="t">
            <a:noAutofit/>
          </a:bodyPr>
          <a:lstStyle/>
          <a:p>
            <a:pPr marL="180975" indent="-180975">
              <a:buClr>
                <a:schemeClr val="tx1"/>
              </a:buClr>
              <a:buFont typeface="Arial" panose="020B0604020202020204" pitchFamily="34" charset="0"/>
              <a:buChar char="•"/>
              <a:tabLst>
                <a:tab pos="87313" algn="l"/>
              </a:tabLst>
              <a:defRPr/>
            </a:pPr>
            <a:endParaRPr lang="en-AU" sz="500" dirty="0"/>
          </a:p>
          <a:p>
            <a:pPr marL="180975" indent="-180975">
              <a:spcBef>
                <a:spcPts val="300"/>
              </a:spcBef>
              <a:buClr>
                <a:schemeClr val="tx1"/>
              </a:buClr>
              <a:buFont typeface="Arial" panose="020B0604020202020204" pitchFamily="34" charset="0"/>
              <a:buChar char="•"/>
              <a:tabLst>
                <a:tab pos="87313" algn="l"/>
              </a:tabLst>
              <a:defRPr/>
            </a:pPr>
            <a:r>
              <a:rPr lang="en-AU" sz="1000" dirty="0"/>
              <a:t>Acts with empathy and demonstrates resilience, committing to achieving quality outcomes</a:t>
            </a:r>
          </a:p>
          <a:p>
            <a:pPr marL="180975" indent="-180975">
              <a:spcBef>
                <a:spcPts val="300"/>
              </a:spcBef>
              <a:buClr>
                <a:schemeClr val="tx1"/>
              </a:buClr>
              <a:buFont typeface="Arial" panose="020B0604020202020204" pitchFamily="34" charset="0"/>
              <a:buChar char="•"/>
              <a:tabLst>
                <a:tab pos="87313" algn="l"/>
              </a:tabLst>
              <a:defRPr/>
            </a:pPr>
            <a:r>
              <a:rPr lang="en-AU" sz="1000" dirty="0"/>
              <a:t>Understands the operations of the Commission and how and when to refer/escalate cases in order to deliver on the responsibilities of the Commission</a:t>
            </a:r>
          </a:p>
          <a:p>
            <a:pPr marL="180975" indent="-180975">
              <a:spcBef>
                <a:spcPts val="300"/>
              </a:spcBef>
              <a:buClr>
                <a:schemeClr val="tx1"/>
              </a:buClr>
              <a:buFont typeface="Arial" panose="020B0604020202020204" pitchFamily="34" charset="0"/>
              <a:buChar char="•"/>
              <a:tabLst>
                <a:tab pos="87313" algn="l"/>
              </a:tabLst>
              <a:defRPr/>
            </a:pPr>
            <a:r>
              <a:rPr lang="en-AU" sz="1000" dirty="0"/>
              <a:t>Deals with </a:t>
            </a:r>
            <a:r>
              <a:rPr lang="en-AU" sz="1000" dirty="0" smtClean="0"/>
              <a:t>consumers </a:t>
            </a:r>
            <a:r>
              <a:rPr lang="en-AU" sz="1000" dirty="0"/>
              <a:t>respectfully and </a:t>
            </a:r>
            <a:r>
              <a:rPr lang="en-AU" sz="1000" dirty="0" smtClean="0"/>
              <a:t>represents </a:t>
            </a:r>
            <a:r>
              <a:rPr lang="en-AU" sz="1000" dirty="0"/>
              <a:t>the Commission with integrity, building public trust</a:t>
            </a:r>
          </a:p>
        </p:txBody>
      </p:sp>
      <p:sp>
        <p:nvSpPr>
          <p:cNvPr id="2" name="Rectangle 1">
            <a:extLst>
              <a:ext uri="{FF2B5EF4-FFF2-40B4-BE49-F238E27FC236}">
                <a16:creationId xmlns:a16="http://schemas.microsoft.com/office/drawing/2014/main" id="{E6C2499C-8050-414B-AAA3-F3A3D029F90F}"/>
              </a:ext>
            </a:extLst>
          </p:cNvPr>
          <p:cNvSpPr/>
          <p:nvPr/>
        </p:nvSpPr>
        <p:spPr>
          <a:xfrm>
            <a:off x="487391" y="3243291"/>
            <a:ext cx="2740651" cy="537420"/>
          </a:xfrm>
          <a:prstGeom prst="rect">
            <a:avLst/>
          </a:prstGeom>
          <a:ln>
            <a:solidFill>
              <a:srgbClr val="5F2E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b="1" dirty="0"/>
          </a:p>
          <a:p>
            <a:pPr algn="ctr"/>
            <a:endParaRPr lang="en-AU" sz="1400" b="1" dirty="0"/>
          </a:p>
        </p:txBody>
      </p:sp>
      <p:sp>
        <p:nvSpPr>
          <p:cNvPr id="45" name="TextBox 44">
            <a:extLst>
              <a:ext uri="{FF2B5EF4-FFF2-40B4-BE49-F238E27FC236}">
                <a16:creationId xmlns:a16="http://schemas.microsoft.com/office/drawing/2014/main" id="{DA7210EA-2C57-4B45-ACF5-64C30D21F74B}"/>
              </a:ext>
            </a:extLst>
          </p:cNvPr>
          <p:cNvSpPr txBox="1"/>
          <p:nvPr/>
        </p:nvSpPr>
        <p:spPr>
          <a:xfrm>
            <a:off x="598622" y="5779097"/>
            <a:ext cx="10950190" cy="715992"/>
          </a:xfrm>
          <a:prstGeom prst="rect">
            <a:avLst/>
          </a:prstGeom>
          <a:solidFill>
            <a:schemeClr val="bg2"/>
          </a:solidFill>
        </p:spPr>
        <p:txBody>
          <a:bodyPr wrap="square" lIns="91440" tIns="45720" rIns="91440" bIns="45720" anchor="t">
            <a:noAutofit/>
          </a:bodyPr>
          <a:lstStyle/>
          <a:p>
            <a:pPr algn="ctr">
              <a:spcBef>
                <a:spcPts val="300"/>
              </a:spcBef>
              <a:tabLst>
                <a:tab pos="449263" algn="l"/>
              </a:tabLst>
              <a:defRPr/>
            </a:pPr>
            <a:r>
              <a:rPr lang="en-AU" sz="1100" b="1" dirty="0">
                <a:ea typeface="+mn-lt"/>
                <a:cs typeface="+mn-lt"/>
              </a:rPr>
              <a:t>Enabled by … </a:t>
            </a:r>
            <a:endParaRPr lang="en-US" b="1" dirty="0"/>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5" y="376485"/>
            <a:ext cx="8370198" cy="1376364"/>
          </a:xfrm>
        </p:spPr>
        <p:txBody>
          <a:bodyPr anchor="t" anchorCtr="0">
            <a:noAutofit/>
          </a:bodyPr>
          <a:lstStyle/>
          <a:p>
            <a:pPr>
              <a:lnSpc>
                <a:spcPct val="100000"/>
              </a:lnSpc>
            </a:pPr>
            <a:r>
              <a:rPr lang="en-US" sz="2700" dirty="0">
                <a:solidFill>
                  <a:schemeClr val="accent3"/>
                </a:solidFill>
              </a:rPr>
              <a:t>Opportunity spotlight: </a:t>
            </a:r>
            <a:br>
              <a:rPr lang="en-US" sz="2700" dirty="0">
                <a:solidFill>
                  <a:schemeClr val="accent3"/>
                </a:solidFill>
              </a:rPr>
            </a:br>
            <a:r>
              <a:rPr lang="en-US" sz="2700" dirty="0">
                <a:solidFill>
                  <a:schemeClr val="accent3"/>
                </a:solidFill>
              </a:rPr>
              <a:t>‘One Commission’ Core Capabilities Program (C1)</a:t>
            </a:r>
            <a:endParaRPr lang="en-AU" sz="2700" dirty="0">
              <a:solidFill>
                <a:schemeClr val="accent3"/>
              </a:solidFill>
            </a:endParaRPr>
          </a:p>
        </p:txBody>
      </p:sp>
      <p:sp>
        <p:nvSpPr>
          <p:cNvPr id="4" name="TextBox 3">
            <a:extLst>
              <a:ext uri="{FF2B5EF4-FFF2-40B4-BE49-F238E27FC236}">
                <a16:creationId xmlns:a16="http://schemas.microsoft.com/office/drawing/2014/main" id="{7D1CC35D-A8FB-CA30-F4CD-8BE4BF13EC28}"/>
              </a:ext>
            </a:extLst>
          </p:cNvPr>
          <p:cNvSpPr txBox="1"/>
          <p:nvPr/>
        </p:nvSpPr>
        <p:spPr>
          <a:xfrm>
            <a:off x="489525" y="1517351"/>
            <a:ext cx="11059287" cy="430887"/>
          </a:xfrm>
          <a:prstGeom prst="rect">
            <a:avLst/>
          </a:prstGeom>
          <a:solidFill>
            <a:schemeClr val="bg2"/>
          </a:solidFill>
        </p:spPr>
        <p:txBody>
          <a:bodyPr wrap="square" lIns="91440" tIns="45720" rIns="91440" bIns="45720" anchor="t">
            <a:spAutoFit/>
          </a:bodyPr>
          <a:lstStyle/>
          <a:p>
            <a:pPr algn="ctr">
              <a:spcBef>
                <a:spcPts val="300"/>
              </a:spcBef>
              <a:tabLst>
                <a:tab pos="449263" algn="l"/>
              </a:tabLst>
              <a:defRPr/>
            </a:pPr>
            <a:r>
              <a:rPr lang="en-AU" sz="1100" dirty="0">
                <a:ea typeface="+mn-lt"/>
                <a:cs typeface="+mn-lt"/>
              </a:rPr>
              <a:t>Develop </a:t>
            </a:r>
            <a:r>
              <a:rPr lang="en-AU" sz="1100" b="0" dirty="0">
                <a:ea typeface="+mn-lt"/>
                <a:cs typeface="+mn-lt"/>
              </a:rPr>
              <a:t>a</a:t>
            </a:r>
            <a:r>
              <a:rPr lang="en-AU" sz="1100" dirty="0">
                <a:ea typeface="+mn-lt"/>
                <a:cs typeface="+mn-lt"/>
              </a:rPr>
              <a:t> </a:t>
            </a:r>
            <a:r>
              <a:rPr lang="en-AU" sz="1100" b="1" dirty="0">
                <a:solidFill>
                  <a:schemeClr val="accent3"/>
                </a:solidFill>
                <a:ea typeface="+mn-lt"/>
                <a:cs typeface="+mn-lt"/>
              </a:rPr>
              <a:t>‘One Commission’ core capabilities program for all staff</a:t>
            </a:r>
            <a:r>
              <a:rPr lang="en-AU" sz="1100" dirty="0">
                <a:ea typeface="+mn-lt"/>
                <a:cs typeface="+mn-lt"/>
              </a:rPr>
              <a:t>, leveraging the shared knowledge</a:t>
            </a:r>
            <a:r>
              <a:rPr lang="en-AU" sz="1100" b="0" dirty="0">
                <a:ea typeface="+mn-lt"/>
                <a:cs typeface="+mn-lt"/>
              </a:rPr>
              <a:t>, </a:t>
            </a:r>
            <a:r>
              <a:rPr lang="en-AU" sz="1100" dirty="0">
                <a:ea typeface="+mn-lt"/>
                <a:cs typeface="+mn-lt"/>
              </a:rPr>
              <a:t>capability </a:t>
            </a:r>
            <a:r>
              <a:rPr lang="en-AU" sz="1100" b="0" dirty="0">
                <a:ea typeface="+mn-lt"/>
                <a:cs typeface="+mn-lt"/>
              </a:rPr>
              <a:t>and </a:t>
            </a:r>
            <a:r>
              <a:rPr lang="en-AU" sz="1100" dirty="0">
                <a:ea typeface="+mn-lt"/>
                <a:cs typeface="+mn-lt"/>
              </a:rPr>
              <a:t>resources internally and external across </a:t>
            </a:r>
            <a:r>
              <a:rPr lang="en-AU" sz="1100" b="0" dirty="0">
                <a:ea typeface="+mn-lt"/>
                <a:cs typeface="+mn-lt"/>
              </a:rPr>
              <a:t>our </a:t>
            </a:r>
            <a:r>
              <a:rPr lang="en-AU" sz="1100" dirty="0">
                <a:ea typeface="+mn-lt"/>
                <a:cs typeface="+mn-lt"/>
              </a:rPr>
              <a:t>broader regulatory community </a:t>
            </a:r>
            <a:r>
              <a:rPr lang="en-AU" sz="1100" b="0" dirty="0">
                <a:ea typeface="+mn-lt"/>
                <a:cs typeface="+mn-lt"/>
              </a:rPr>
              <a:t>and </a:t>
            </a:r>
            <a:r>
              <a:rPr lang="en-AU" sz="1100" dirty="0">
                <a:ea typeface="+mn-lt"/>
                <a:cs typeface="+mn-lt"/>
              </a:rPr>
              <a:t>disability sector to support capability development across a </a:t>
            </a:r>
            <a:r>
              <a:rPr lang="en-AU" sz="1100" b="0" dirty="0">
                <a:ea typeface="+mn-lt"/>
                <a:cs typeface="+mn-lt"/>
              </a:rPr>
              <a:t>core </a:t>
            </a:r>
            <a:r>
              <a:rPr lang="en-AU" sz="1100" dirty="0">
                <a:ea typeface="+mn-lt"/>
                <a:cs typeface="+mn-lt"/>
              </a:rPr>
              <a:t>set </a:t>
            </a:r>
            <a:r>
              <a:rPr lang="en-AU" sz="1100" b="0" dirty="0">
                <a:ea typeface="+mn-lt"/>
                <a:cs typeface="+mn-lt"/>
              </a:rPr>
              <a:t>of </a:t>
            </a:r>
            <a:r>
              <a:rPr lang="en-AU" sz="1100" dirty="0">
                <a:ea typeface="+mn-lt"/>
                <a:cs typeface="+mn-lt"/>
              </a:rPr>
              <a:t>foundational competencies</a:t>
            </a:r>
            <a:endParaRPr lang="en-US" dirty="0"/>
          </a:p>
        </p:txBody>
      </p:sp>
      <p:sp>
        <p:nvSpPr>
          <p:cNvPr id="3" name="Flowchart: Off-page Connector 2">
            <a:extLst>
              <a:ext uri="{FF2B5EF4-FFF2-40B4-BE49-F238E27FC236}">
                <a16:creationId xmlns:a16="http://schemas.microsoft.com/office/drawing/2014/main" id="{5B7CF81F-C9B4-427D-B5B1-5DD4F053A04A}"/>
              </a:ext>
            </a:extLst>
          </p:cNvPr>
          <p:cNvSpPr/>
          <p:nvPr/>
        </p:nvSpPr>
        <p:spPr>
          <a:xfrm>
            <a:off x="489526" y="1999593"/>
            <a:ext cx="11059286" cy="1228831"/>
          </a:xfrm>
          <a:prstGeom prst="flowChartOffpageConnector">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AU" sz="1050" dirty="0">
                <a:solidFill>
                  <a:schemeClr val="bg2">
                    <a:lumMod val="10000"/>
                  </a:schemeClr>
                </a:solidFill>
              </a:rPr>
              <a:t>As the Commission continues to evolve from a </a:t>
            </a:r>
            <a:r>
              <a:rPr lang="en-AU" sz="1050" dirty="0" smtClean="0">
                <a:solidFill>
                  <a:schemeClr val="bg2">
                    <a:lumMod val="10000"/>
                  </a:schemeClr>
                </a:solidFill>
              </a:rPr>
              <a:t>start-up </a:t>
            </a:r>
            <a:r>
              <a:rPr lang="en-AU" sz="1050" dirty="0">
                <a:solidFill>
                  <a:schemeClr val="bg2">
                    <a:lumMod val="10000"/>
                  </a:schemeClr>
                </a:solidFill>
              </a:rPr>
              <a:t>and begins to </a:t>
            </a:r>
            <a:r>
              <a:rPr lang="en-AU" sz="1050" dirty="0" smtClean="0">
                <a:solidFill>
                  <a:schemeClr val="bg2">
                    <a:lumMod val="10000"/>
                  </a:schemeClr>
                </a:solidFill>
              </a:rPr>
              <a:t>scale-up</a:t>
            </a:r>
            <a:r>
              <a:rPr lang="en-AU" sz="1050" dirty="0">
                <a:solidFill>
                  <a:schemeClr val="bg2">
                    <a:lumMod val="10000"/>
                  </a:schemeClr>
                </a:solidFill>
              </a:rPr>
              <a:t>, so will the breadth of workforce capabilities required for both the current and future state. Throughout consultations we heard that the Commission has some unique strengths in areas such as consumer care and empathy. However, changes in the operating environment, an increase in the volume of work, advancements in </a:t>
            </a:r>
            <a:r>
              <a:rPr lang="en-AU" sz="1050" dirty="0" smtClean="0">
                <a:solidFill>
                  <a:schemeClr val="bg2">
                    <a:lumMod val="10000"/>
                  </a:schemeClr>
                </a:solidFill>
              </a:rPr>
              <a:t>technology </a:t>
            </a:r>
            <a:r>
              <a:rPr lang="en-AU" sz="1050" dirty="0">
                <a:solidFill>
                  <a:schemeClr val="bg2">
                    <a:lumMod val="10000"/>
                  </a:schemeClr>
                </a:solidFill>
              </a:rPr>
              <a:t>are creating a need for new </a:t>
            </a:r>
            <a:r>
              <a:rPr lang="en-AU" sz="1050" dirty="0" smtClean="0">
                <a:solidFill>
                  <a:schemeClr val="bg2">
                    <a:lumMod val="10000"/>
                  </a:schemeClr>
                </a:solidFill>
              </a:rPr>
              <a:t>skills, </a:t>
            </a:r>
            <a:r>
              <a:rPr lang="en-AU" sz="1050" dirty="0">
                <a:solidFill>
                  <a:schemeClr val="bg2">
                    <a:lumMod val="10000"/>
                  </a:schemeClr>
                </a:solidFill>
              </a:rPr>
              <a:t>particularly in areas such as </a:t>
            </a:r>
            <a:r>
              <a:rPr lang="en-AU" sz="1050" b="1" dirty="0">
                <a:solidFill>
                  <a:schemeClr val="bg2">
                    <a:lumMod val="10000"/>
                  </a:schemeClr>
                </a:solidFill>
              </a:rPr>
              <a:t>regulatory and risk capability, critical thinking, escalation, and leadership</a:t>
            </a:r>
            <a:r>
              <a:rPr lang="en-AU" sz="1050" dirty="0">
                <a:solidFill>
                  <a:schemeClr val="bg2">
                    <a:lumMod val="10000"/>
                  </a:schemeClr>
                </a:solidFill>
              </a:rPr>
              <a:t>. There was also a recognition that while there were some pockets of depth of expertise, there was increasingly a need for core capabilities in the above skills. A Core Capability Program may enable a more consistent approach to the development of skills, knowledge and attributes across the </a:t>
            </a:r>
            <a:r>
              <a:rPr lang="en-AU" sz="1050" dirty="0" smtClean="0">
                <a:solidFill>
                  <a:schemeClr val="bg2">
                    <a:lumMod val="10000"/>
                  </a:schemeClr>
                </a:solidFill>
              </a:rPr>
              <a:t>Commission</a:t>
            </a:r>
            <a:r>
              <a:rPr lang="en-AU" sz="1050" dirty="0">
                <a:solidFill>
                  <a:schemeClr val="bg2">
                    <a:lumMod val="10000"/>
                  </a:schemeClr>
                </a:solidFill>
              </a:rPr>
              <a:t>. Through stakeholder consultation 14 core capabilities were identified, the below represents </a:t>
            </a:r>
            <a:r>
              <a:rPr lang="en-AU" sz="1050" i="1" dirty="0">
                <a:solidFill>
                  <a:schemeClr val="bg2">
                    <a:lumMod val="10000"/>
                  </a:schemeClr>
                </a:solidFill>
              </a:rPr>
              <a:t>examples of the themes and insights captured </a:t>
            </a:r>
            <a:r>
              <a:rPr lang="en-AU" sz="1050" dirty="0">
                <a:solidFill>
                  <a:schemeClr val="bg2">
                    <a:lumMod val="10000"/>
                  </a:schemeClr>
                </a:solidFill>
              </a:rPr>
              <a:t>across the consultation process. There are also practical steps the Commission can undertake to start weaving through core capabilities. </a:t>
            </a:r>
          </a:p>
        </p:txBody>
      </p:sp>
      <p:sp>
        <p:nvSpPr>
          <p:cNvPr id="9" name="Slide Number Placeholder 8">
            <a:extLst>
              <a:ext uri="{FF2B5EF4-FFF2-40B4-BE49-F238E27FC236}">
                <a16:creationId xmlns:a16="http://schemas.microsoft.com/office/drawing/2014/main" id="{773130B1-0FF7-8DEF-67CD-8A37F7EA26E6}"/>
              </a:ext>
            </a:extLst>
          </p:cNvPr>
          <p:cNvSpPr>
            <a:spLocks noGrp="1"/>
          </p:cNvSpPr>
          <p:nvPr>
            <p:ph type="sldNum" sz="quarter" idx="12"/>
          </p:nvPr>
        </p:nvSpPr>
        <p:spPr>
          <a:xfrm>
            <a:off x="11069001" y="6538659"/>
            <a:ext cx="362274" cy="180000"/>
          </a:xfrm>
        </p:spPr>
        <p:txBody>
          <a:bodyPr/>
          <a:lstStyle/>
          <a:p>
            <a:fld id="{C0F55C17-AF72-40D4-ADBD-B5505DEBF9BA}" type="slidenum">
              <a:rPr lang="en-AU" smtClean="0"/>
              <a:t>41</a:t>
            </a:fld>
            <a:endParaRPr lang="en-US" dirty="0"/>
          </a:p>
        </p:txBody>
      </p:sp>
      <p:sp>
        <p:nvSpPr>
          <p:cNvPr id="6" name="Footer Placeholder 5">
            <a:extLst>
              <a:ext uri="{FF2B5EF4-FFF2-40B4-BE49-F238E27FC236}">
                <a16:creationId xmlns:a16="http://schemas.microsoft.com/office/drawing/2014/main" id="{91EE8AD7-8429-5723-9020-67CC4BB93D3E}"/>
              </a:ext>
            </a:extLst>
          </p:cNvPr>
          <p:cNvSpPr>
            <a:spLocks noGrp="1"/>
          </p:cNvSpPr>
          <p:nvPr>
            <p:ph type="ftr" sz="quarter" idx="11"/>
          </p:nvPr>
        </p:nvSpPr>
        <p:spPr>
          <a:xfrm>
            <a:off x="1172187" y="6538659"/>
            <a:ext cx="6783813" cy="180000"/>
          </a:xfrm>
        </p:spPr>
        <p:txBody>
          <a:bodyPr/>
          <a:lstStyle/>
          <a:p>
            <a:pPr algn="ctr"/>
            <a:r>
              <a:rPr lang="en-AU" smtClean="0"/>
              <a:t>NDIS Commission Workforce Plan 2023-2028</a:t>
            </a:r>
            <a:endParaRPr lang="en-US" dirty="0"/>
          </a:p>
        </p:txBody>
      </p:sp>
      <p:sp>
        <p:nvSpPr>
          <p:cNvPr id="10" name="Rectangle 9">
            <a:extLst>
              <a:ext uri="{FF2B5EF4-FFF2-40B4-BE49-F238E27FC236}">
                <a16:creationId xmlns:a16="http://schemas.microsoft.com/office/drawing/2014/main" id="{A96037B3-1123-42E2-A0D7-D7340FD7F95E}"/>
              </a:ext>
            </a:extLst>
          </p:cNvPr>
          <p:cNvSpPr/>
          <p:nvPr/>
        </p:nvSpPr>
        <p:spPr>
          <a:xfrm>
            <a:off x="759657" y="6001738"/>
            <a:ext cx="2576513" cy="3776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dirty="0"/>
              <a:t>Induction and </a:t>
            </a:r>
            <a:r>
              <a:rPr lang="en-AU" sz="1050" dirty="0" smtClean="0"/>
              <a:t>on boarding</a:t>
            </a:r>
            <a:endParaRPr lang="en-AU" sz="1050" dirty="0"/>
          </a:p>
        </p:txBody>
      </p:sp>
      <p:sp>
        <p:nvSpPr>
          <p:cNvPr id="42" name="Rectangle 41">
            <a:extLst>
              <a:ext uri="{FF2B5EF4-FFF2-40B4-BE49-F238E27FC236}">
                <a16:creationId xmlns:a16="http://schemas.microsoft.com/office/drawing/2014/main" id="{626B3A98-B3BB-464D-8EA9-0B01D646AF79}"/>
              </a:ext>
            </a:extLst>
          </p:cNvPr>
          <p:cNvSpPr/>
          <p:nvPr/>
        </p:nvSpPr>
        <p:spPr>
          <a:xfrm>
            <a:off x="3434365" y="6007161"/>
            <a:ext cx="2576513" cy="3776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dirty="0"/>
              <a:t>70:20:10 Model for Learning and Development </a:t>
            </a:r>
          </a:p>
        </p:txBody>
      </p:sp>
      <p:sp>
        <p:nvSpPr>
          <p:cNvPr id="44" name="Rectangle 43">
            <a:extLst>
              <a:ext uri="{FF2B5EF4-FFF2-40B4-BE49-F238E27FC236}">
                <a16:creationId xmlns:a16="http://schemas.microsoft.com/office/drawing/2014/main" id="{3FAA6057-F66B-43DF-B305-488E2C9A92F4}"/>
              </a:ext>
            </a:extLst>
          </p:cNvPr>
          <p:cNvSpPr/>
          <p:nvPr/>
        </p:nvSpPr>
        <p:spPr>
          <a:xfrm>
            <a:off x="6095999" y="6001738"/>
            <a:ext cx="2576513" cy="3776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dirty="0"/>
              <a:t>Cross skilling and peer learning</a:t>
            </a:r>
          </a:p>
        </p:txBody>
      </p:sp>
      <p:sp>
        <p:nvSpPr>
          <p:cNvPr id="17" name="TextBox 16">
            <a:extLst>
              <a:ext uri="{FF2B5EF4-FFF2-40B4-BE49-F238E27FC236}">
                <a16:creationId xmlns:a16="http://schemas.microsoft.com/office/drawing/2014/main" id="{DA7A8E6E-6177-4647-AC69-BDA7B5A59DDA}"/>
              </a:ext>
            </a:extLst>
          </p:cNvPr>
          <p:cNvSpPr txBox="1"/>
          <p:nvPr/>
        </p:nvSpPr>
        <p:spPr>
          <a:xfrm>
            <a:off x="3343220" y="3724006"/>
            <a:ext cx="2763733" cy="1985331"/>
          </a:xfrm>
          <a:prstGeom prst="rect">
            <a:avLst/>
          </a:prstGeom>
          <a:noFill/>
          <a:ln>
            <a:solidFill>
              <a:schemeClr val="tx1"/>
            </a:solidFill>
            <a:prstDash val="sysDot"/>
          </a:ln>
        </p:spPr>
        <p:txBody>
          <a:bodyPr wrap="square" lIns="91440" tIns="45720" rIns="91440" bIns="45720" rtlCol="0" anchor="t">
            <a:noAutofit/>
          </a:bodyPr>
          <a:lstStyle>
            <a:defPPr>
              <a:defRPr lang="en-US"/>
            </a:defPPr>
            <a:lvl1pPr marL="180975" indent="-180975">
              <a:spcBef>
                <a:spcPts val="300"/>
              </a:spcBef>
              <a:buClr>
                <a:schemeClr val="tx1"/>
              </a:buClr>
              <a:buFont typeface="Arial" panose="020B0604020202020204" pitchFamily="34" charset="0"/>
              <a:buChar char="•"/>
              <a:tabLst>
                <a:tab pos="87313" algn="l"/>
              </a:tabLst>
              <a:defRPr sz="1000"/>
            </a:lvl1pPr>
          </a:lstStyle>
          <a:p>
            <a:pPr>
              <a:spcBef>
                <a:spcPts val="0"/>
              </a:spcBef>
            </a:pPr>
            <a:endParaRPr lang="en-AU" sz="500" dirty="0"/>
          </a:p>
          <a:p>
            <a:r>
              <a:rPr lang="en-US" dirty="0"/>
              <a:t>Understands </a:t>
            </a:r>
            <a:r>
              <a:rPr lang="en-US" dirty="0" smtClean="0"/>
              <a:t>the Regulatory </a:t>
            </a:r>
            <a:r>
              <a:rPr lang="en-US" dirty="0"/>
              <a:t>A</a:t>
            </a:r>
            <a:r>
              <a:rPr lang="en-US" dirty="0" smtClean="0"/>
              <a:t>pproach </a:t>
            </a:r>
            <a:r>
              <a:rPr lang="en-US" dirty="0"/>
              <a:t>and how the Commission uses the full set of levers and tools to drive quality and safeguarding</a:t>
            </a:r>
            <a:endParaRPr lang="en-AU" dirty="0"/>
          </a:p>
          <a:p>
            <a:r>
              <a:rPr lang="en-AU" dirty="0"/>
              <a:t>Understands relevant legislation </a:t>
            </a:r>
            <a:r>
              <a:rPr lang="en-AU" dirty="0" smtClean="0"/>
              <a:t>and how </a:t>
            </a:r>
            <a:r>
              <a:rPr lang="en-AU" dirty="0"/>
              <a:t>it applies to the roles of the Commission</a:t>
            </a:r>
          </a:p>
          <a:p>
            <a:r>
              <a:rPr lang="en-AU" dirty="0"/>
              <a:t>Understands the disability sector in relation </a:t>
            </a:r>
            <a:r>
              <a:rPr lang="en-AU" dirty="0" smtClean="0"/>
              <a:t>to </a:t>
            </a:r>
            <a:r>
              <a:rPr lang="en-AU" dirty="0"/>
              <a:t>regulation and compliance </a:t>
            </a:r>
          </a:p>
          <a:p>
            <a:r>
              <a:rPr lang="en-AU" sz="1000" dirty="0"/>
              <a:t>Applies critical thinking to tasks</a:t>
            </a:r>
          </a:p>
          <a:p>
            <a:r>
              <a:rPr lang="en-AU" dirty="0"/>
              <a:t>Understands risk management and the application of relevant frameworks, and the Commission’s risk approach</a:t>
            </a:r>
          </a:p>
        </p:txBody>
      </p:sp>
      <p:sp>
        <p:nvSpPr>
          <p:cNvPr id="19" name="Rectangle 18">
            <a:extLst>
              <a:ext uri="{FF2B5EF4-FFF2-40B4-BE49-F238E27FC236}">
                <a16:creationId xmlns:a16="http://schemas.microsoft.com/office/drawing/2014/main" id="{47F113F7-255C-41C4-A2B4-3B1282E0FE92}"/>
              </a:ext>
            </a:extLst>
          </p:cNvPr>
          <p:cNvSpPr/>
          <p:nvPr/>
        </p:nvSpPr>
        <p:spPr>
          <a:xfrm>
            <a:off x="3343644" y="3236245"/>
            <a:ext cx="2760243" cy="537420"/>
          </a:xfrm>
          <a:prstGeom prst="rect">
            <a:avLst/>
          </a:prstGeom>
          <a:ln>
            <a:solidFill>
              <a:srgbClr val="5F2E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b="1" dirty="0"/>
          </a:p>
          <a:p>
            <a:pPr algn="ctr"/>
            <a:endParaRPr lang="en-AU" sz="1400" b="1" dirty="0"/>
          </a:p>
        </p:txBody>
      </p:sp>
      <p:sp>
        <p:nvSpPr>
          <p:cNvPr id="25" name="TextBox 24">
            <a:extLst>
              <a:ext uri="{FF2B5EF4-FFF2-40B4-BE49-F238E27FC236}">
                <a16:creationId xmlns:a16="http://schemas.microsoft.com/office/drawing/2014/main" id="{2B29A470-F74B-458C-B481-1E8022157631}"/>
              </a:ext>
            </a:extLst>
          </p:cNvPr>
          <p:cNvSpPr txBox="1"/>
          <p:nvPr/>
        </p:nvSpPr>
        <p:spPr>
          <a:xfrm>
            <a:off x="6241427" y="3718061"/>
            <a:ext cx="2593018" cy="1998387"/>
          </a:xfrm>
          <a:prstGeom prst="rect">
            <a:avLst/>
          </a:prstGeom>
          <a:noFill/>
          <a:ln>
            <a:solidFill>
              <a:schemeClr val="tx1"/>
            </a:solidFill>
            <a:prstDash val="sysDot"/>
          </a:ln>
        </p:spPr>
        <p:txBody>
          <a:bodyPr wrap="square" lIns="91440" tIns="45720" rIns="91440" bIns="45720" rtlCol="0" anchor="t">
            <a:noAutofit/>
          </a:bodyPr>
          <a:lstStyle>
            <a:defPPr>
              <a:defRPr lang="en-US"/>
            </a:defPPr>
            <a:lvl1pPr marL="180975" indent="-180975">
              <a:spcBef>
                <a:spcPts val="300"/>
              </a:spcBef>
              <a:buClr>
                <a:schemeClr val="tx1"/>
              </a:buClr>
              <a:buFont typeface="Arial" panose="020B0604020202020204" pitchFamily="34" charset="0"/>
              <a:buChar char="•"/>
              <a:tabLst>
                <a:tab pos="87313" algn="l"/>
              </a:tabLst>
              <a:defRPr sz="1000"/>
            </a:lvl1pPr>
          </a:lstStyle>
          <a:p>
            <a:pPr>
              <a:spcBef>
                <a:spcPts val="0"/>
              </a:spcBef>
            </a:pPr>
            <a:endParaRPr lang="en-AU" sz="500" dirty="0"/>
          </a:p>
          <a:p>
            <a:r>
              <a:rPr lang="en-US" dirty="0"/>
              <a:t>Risk-based, intelligence and technology led decision making</a:t>
            </a:r>
          </a:p>
          <a:p>
            <a:r>
              <a:rPr lang="en-US" dirty="0"/>
              <a:t>Provides data-driven insights and advice to key internal and external stakeholders</a:t>
            </a:r>
          </a:p>
          <a:p>
            <a:r>
              <a:rPr lang="en-US" dirty="0"/>
              <a:t>Seeks opportunities to innovate processes using digital solutions</a:t>
            </a:r>
          </a:p>
          <a:p>
            <a:r>
              <a:rPr lang="en-US" dirty="0"/>
              <a:t>Leverages digital channels to support collaborative work practices</a:t>
            </a:r>
          </a:p>
        </p:txBody>
      </p:sp>
      <p:sp>
        <p:nvSpPr>
          <p:cNvPr id="26" name="Rectangle 25">
            <a:extLst>
              <a:ext uri="{FF2B5EF4-FFF2-40B4-BE49-F238E27FC236}">
                <a16:creationId xmlns:a16="http://schemas.microsoft.com/office/drawing/2014/main" id="{26059310-789E-40E2-B085-21FABAE91A85}"/>
              </a:ext>
            </a:extLst>
          </p:cNvPr>
          <p:cNvSpPr/>
          <p:nvPr/>
        </p:nvSpPr>
        <p:spPr>
          <a:xfrm>
            <a:off x="6244917" y="3239882"/>
            <a:ext cx="2589527" cy="533784"/>
          </a:xfrm>
          <a:prstGeom prst="rect">
            <a:avLst/>
          </a:prstGeom>
          <a:ln>
            <a:solidFill>
              <a:srgbClr val="5F2E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b="1" dirty="0">
              <a:cs typeface="Calibri Light"/>
            </a:endParaRPr>
          </a:p>
          <a:p>
            <a:pPr algn="ctr"/>
            <a:endParaRPr lang="en-AU" sz="1400" b="1" dirty="0">
              <a:cs typeface="Calibri Light"/>
            </a:endParaRPr>
          </a:p>
        </p:txBody>
      </p:sp>
      <p:sp>
        <p:nvSpPr>
          <p:cNvPr id="27" name="TextBox 26">
            <a:extLst>
              <a:ext uri="{FF2B5EF4-FFF2-40B4-BE49-F238E27FC236}">
                <a16:creationId xmlns:a16="http://schemas.microsoft.com/office/drawing/2014/main" id="{4D181C6F-CB6E-4B1C-985A-9A599602E19E}"/>
              </a:ext>
            </a:extLst>
          </p:cNvPr>
          <p:cNvSpPr txBox="1"/>
          <p:nvPr/>
        </p:nvSpPr>
        <p:spPr>
          <a:xfrm>
            <a:off x="8971985" y="3686066"/>
            <a:ext cx="2593018" cy="2043371"/>
          </a:xfrm>
          <a:prstGeom prst="rect">
            <a:avLst/>
          </a:prstGeom>
          <a:noFill/>
          <a:ln>
            <a:solidFill>
              <a:schemeClr val="tx1"/>
            </a:solidFill>
            <a:prstDash val="sysDot"/>
          </a:ln>
        </p:spPr>
        <p:txBody>
          <a:bodyPr wrap="square" lIns="91440" tIns="45720" rIns="91440" bIns="45720" rtlCol="0" anchor="t">
            <a:noAutofit/>
          </a:bodyPr>
          <a:lstStyle>
            <a:defPPr>
              <a:defRPr lang="en-US"/>
            </a:defPPr>
            <a:lvl1pPr marL="180975" indent="-180975">
              <a:spcBef>
                <a:spcPts val="300"/>
              </a:spcBef>
              <a:buClr>
                <a:schemeClr val="tx1"/>
              </a:buClr>
              <a:buFont typeface="Arial" panose="020B0604020202020204" pitchFamily="34" charset="0"/>
              <a:buChar char="•"/>
              <a:tabLst>
                <a:tab pos="87313" algn="l"/>
              </a:tabLst>
              <a:defRPr sz="1000"/>
            </a:lvl1pPr>
          </a:lstStyle>
          <a:p>
            <a:endParaRPr lang="en-AU" sz="500" dirty="0"/>
          </a:p>
          <a:p>
            <a:r>
              <a:rPr lang="en-AU" dirty="0"/>
              <a:t>Leads and motivates others, managing people effectively to achieve outcomes</a:t>
            </a:r>
          </a:p>
          <a:p>
            <a:r>
              <a:rPr lang="en-AU" dirty="0"/>
              <a:t>Promotes a sense of purpose </a:t>
            </a:r>
          </a:p>
          <a:p>
            <a:r>
              <a:rPr lang="en-AU" dirty="0"/>
              <a:t>Prioritises effectively to manage capacity constraints</a:t>
            </a:r>
          </a:p>
          <a:p>
            <a:r>
              <a:rPr lang="en-AU" dirty="0"/>
              <a:t>Role models cultural principles and </a:t>
            </a:r>
            <a:r>
              <a:rPr lang="en-AU" dirty="0" smtClean="0"/>
              <a:t>reinforces </a:t>
            </a:r>
            <a:r>
              <a:rPr lang="en-AU" dirty="0"/>
              <a:t>values and purpose </a:t>
            </a:r>
          </a:p>
          <a:p>
            <a:r>
              <a:rPr lang="en-AU" sz="1000" dirty="0"/>
              <a:t>Leads and manages self showing drive</a:t>
            </a:r>
            <a:r>
              <a:rPr lang="en-AU" dirty="0"/>
              <a:t> and</a:t>
            </a:r>
            <a:r>
              <a:rPr lang="en-AU" sz="1000" dirty="0"/>
              <a:t> accountability</a:t>
            </a:r>
          </a:p>
          <a:p>
            <a:r>
              <a:rPr lang="en-AU" dirty="0"/>
              <a:t>Brings a growth mindset</a:t>
            </a:r>
            <a:endParaRPr lang="en-AU" sz="1000" dirty="0"/>
          </a:p>
          <a:p>
            <a:endParaRPr lang="en-AU" dirty="0"/>
          </a:p>
          <a:p>
            <a:endParaRPr lang="en-AU" dirty="0"/>
          </a:p>
          <a:p>
            <a:endParaRPr lang="en-AU" dirty="0"/>
          </a:p>
          <a:p>
            <a:endParaRPr lang="en-AU" dirty="0"/>
          </a:p>
          <a:p>
            <a:endParaRPr lang="en-AU" dirty="0"/>
          </a:p>
          <a:p>
            <a:endParaRPr lang="en-AU" dirty="0"/>
          </a:p>
          <a:p>
            <a:endParaRPr lang="en-AU" dirty="0"/>
          </a:p>
          <a:p>
            <a:endParaRPr lang="en-AU" dirty="0"/>
          </a:p>
        </p:txBody>
      </p:sp>
      <p:sp>
        <p:nvSpPr>
          <p:cNvPr id="28" name="Rectangle 27">
            <a:extLst>
              <a:ext uri="{FF2B5EF4-FFF2-40B4-BE49-F238E27FC236}">
                <a16:creationId xmlns:a16="http://schemas.microsoft.com/office/drawing/2014/main" id="{FEFD4882-9DB2-4AEE-B91A-11A66BC1C68B}"/>
              </a:ext>
            </a:extLst>
          </p:cNvPr>
          <p:cNvSpPr/>
          <p:nvPr/>
        </p:nvSpPr>
        <p:spPr>
          <a:xfrm>
            <a:off x="8975052" y="3239652"/>
            <a:ext cx="2589527" cy="533956"/>
          </a:xfrm>
          <a:prstGeom prst="rect">
            <a:avLst/>
          </a:prstGeom>
          <a:ln>
            <a:solidFill>
              <a:srgbClr val="5F2E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b="1" dirty="0"/>
          </a:p>
          <a:p>
            <a:pPr algn="ctr"/>
            <a:endParaRPr lang="en-AU" sz="1400" b="1" dirty="0"/>
          </a:p>
        </p:txBody>
      </p:sp>
      <p:sp>
        <p:nvSpPr>
          <p:cNvPr id="46" name="TextBox 45">
            <a:extLst>
              <a:ext uri="{FF2B5EF4-FFF2-40B4-BE49-F238E27FC236}">
                <a16:creationId xmlns:a16="http://schemas.microsoft.com/office/drawing/2014/main" id="{FA27266A-E4F9-46B8-9BBA-388D42812A60}"/>
              </a:ext>
            </a:extLst>
          </p:cNvPr>
          <p:cNvSpPr txBox="1"/>
          <p:nvPr/>
        </p:nvSpPr>
        <p:spPr>
          <a:xfrm>
            <a:off x="1130844" y="3375566"/>
            <a:ext cx="2040673" cy="307777"/>
          </a:xfrm>
          <a:prstGeom prst="rect">
            <a:avLst/>
          </a:prstGeom>
          <a:noFill/>
          <a:ln>
            <a:noFill/>
          </a:ln>
        </p:spPr>
        <p:txBody>
          <a:bodyPr wrap="square">
            <a:spAutoFit/>
          </a:bodyPr>
          <a:lstStyle/>
          <a:p>
            <a:r>
              <a:rPr lang="en-AU" sz="1400" b="1" dirty="0">
                <a:solidFill>
                  <a:schemeClr val="bg1">
                    <a:lumMod val="95000"/>
                  </a:schemeClr>
                </a:solidFill>
              </a:rPr>
              <a:t>Consumer Centricity</a:t>
            </a:r>
          </a:p>
        </p:txBody>
      </p:sp>
      <p:sp>
        <p:nvSpPr>
          <p:cNvPr id="47" name="TextBox 46">
            <a:extLst>
              <a:ext uri="{FF2B5EF4-FFF2-40B4-BE49-F238E27FC236}">
                <a16:creationId xmlns:a16="http://schemas.microsoft.com/office/drawing/2014/main" id="{00D8F8BD-6A88-439F-859C-A295C8F43EA6}"/>
              </a:ext>
            </a:extLst>
          </p:cNvPr>
          <p:cNvSpPr txBox="1"/>
          <p:nvPr/>
        </p:nvSpPr>
        <p:spPr>
          <a:xfrm>
            <a:off x="3962300" y="3370693"/>
            <a:ext cx="2105025" cy="307777"/>
          </a:xfrm>
          <a:prstGeom prst="rect">
            <a:avLst/>
          </a:prstGeom>
          <a:noFill/>
          <a:ln>
            <a:noFill/>
          </a:ln>
        </p:spPr>
        <p:txBody>
          <a:bodyPr wrap="square">
            <a:spAutoFit/>
          </a:bodyPr>
          <a:lstStyle/>
          <a:p>
            <a:r>
              <a:rPr lang="en-AU" sz="1400" b="1" dirty="0">
                <a:solidFill>
                  <a:schemeClr val="bg1">
                    <a:lumMod val="95000"/>
                  </a:schemeClr>
                </a:solidFill>
              </a:rPr>
              <a:t>Regulation and Risk</a:t>
            </a:r>
          </a:p>
        </p:txBody>
      </p:sp>
      <p:sp>
        <p:nvSpPr>
          <p:cNvPr id="48" name="Google Shape;72;p1">
            <a:extLst>
              <a:ext uri="{FF2B5EF4-FFF2-40B4-BE49-F238E27FC236}">
                <a16:creationId xmlns:a16="http://schemas.microsoft.com/office/drawing/2014/main" id="{4320B6E9-0583-470B-98AE-755F72207E9B}"/>
              </a:ext>
            </a:extLst>
          </p:cNvPr>
          <p:cNvSpPr/>
          <p:nvPr/>
        </p:nvSpPr>
        <p:spPr>
          <a:xfrm>
            <a:off x="6321383" y="3293032"/>
            <a:ext cx="447533" cy="42503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25" y="335"/>
                </a:moveTo>
                <a:cubicBezTo>
                  <a:pt x="519" y="312"/>
                  <a:pt x="499" y="294"/>
                  <a:pt x="473" y="294"/>
                </a:cubicBezTo>
                <a:cubicBezTo>
                  <a:pt x="458" y="294"/>
                  <a:pt x="445" y="301"/>
                  <a:pt x="435" y="311"/>
                </a:cubicBezTo>
                <a:cubicBezTo>
                  <a:pt x="404" y="297"/>
                  <a:pt x="404" y="297"/>
                  <a:pt x="404" y="297"/>
                </a:cubicBezTo>
                <a:cubicBezTo>
                  <a:pt x="405" y="294"/>
                  <a:pt x="405" y="291"/>
                  <a:pt x="405" y="288"/>
                </a:cubicBezTo>
                <a:cubicBezTo>
                  <a:pt x="405" y="285"/>
                  <a:pt x="405" y="282"/>
                  <a:pt x="404" y="279"/>
                </a:cubicBezTo>
                <a:cubicBezTo>
                  <a:pt x="433" y="266"/>
                  <a:pt x="433" y="266"/>
                  <a:pt x="433" y="266"/>
                </a:cubicBezTo>
                <a:cubicBezTo>
                  <a:pt x="443" y="277"/>
                  <a:pt x="457" y="284"/>
                  <a:pt x="473" y="284"/>
                </a:cubicBezTo>
                <a:cubicBezTo>
                  <a:pt x="498" y="284"/>
                  <a:pt x="519" y="267"/>
                  <a:pt x="525" y="243"/>
                </a:cubicBezTo>
                <a:cubicBezTo>
                  <a:pt x="553" y="243"/>
                  <a:pt x="553" y="243"/>
                  <a:pt x="553" y="243"/>
                </a:cubicBezTo>
                <a:cubicBezTo>
                  <a:pt x="553" y="335"/>
                  <a:pt x="553" y="335"/>
                  <a:pt x="553" y="335"/>
                </a:cubicBezTo>
                <a:lnTo>
                  <a:pt x="525" y="335"/>
                </a:lnTo>
                <a:close/>
                <a:moveTo>
                  <a:pt x="51" y="335"/>
                </a:moveTo>
                <a:cubicBezTo>
                  <a:pt x="23" y="335"/>
                  <a:pt x="23" y="335"/>
                  <a:pt x="23" y="335"/>
                </a:cubicBezTo>
                <a:cubicBezTo>
                  <a:pt x="23" y="243"/>
                  <a:pt x="23" y="243"/>
                  <a:pt x="23" y="243"/>
                </a:cubicBezTo>
                <a:cubicBezTo>
                  <a:pt x="51" y="243"/>
                  <a:pt x="51" y="243"/>
                  <a:pt x="51" y="243"/>
                </a:cubicBezTo>
                <a:cubicBezTo>
                  <a:pt x="57" y="267"/>
                  <a:pt x="77" y="284"/>
                  <a:pt x="103" y="284"/>
                </a:cubicBezTo>
                <a:cubicBezTo>
                  <a:pt x="119" y="284"/>
                  <a:pt x="133" y="277"/>
                  <a:pt x="143" y="266"/>
                </a:cubicBezTo>
                <a:cubicBezTo>
                  <a:pt x="172" y="279"/>
                  <a:pt x="172" y="279"/>
                  <a:pt x="172" y="279"/>
                </a:cubicBezTo>
                <a:cubicBezTo>
                  <a:pt x="171" y="282"/>
                  <a:pt x="171" y="285"/>
                  <a:pt x="171" y="288"/>
                </a:cubicBezTo>
                <a:cubicBezTo>
                  <a:pt x="171" y="291"/>
                  <a:pt x="171" y="294"/>
                  <a:pt x="172" y="297"/>
                </a:cubicBezTo>
                <a:cubicBezTo>
                  <a:pt x="141" y="311"/>
                  <a:pt x="141" y="311"/>
                  <a:pt x="141" y="311"/>
                </a:cubicBezTo>
                <a:cubicBezTo>
                  <a:pt x="131" y="301"/>
                  <a:pt x="118" y="294"/>
                  <a:pt x="103" y="294"/>
                </a:cubicBezTo>
                <a:cubicBezTo>
                  <a:pt x="78" y="294"/>
                  <a:pt x="57" y="312"/>
                  <a:pt x="51" y="335"/>
                </a:cubicBezTo>
                <a:close/>
                <a:moveTo>
                  <a:pt x="422" y="361"/>
                </a:moveTo>
                <a:cubicBezTo>
                  <a:pt x="366" y="395"/>
                  <a:pt x="366" y="395"/>
                  <a:pt x="366" y="395"/>
                </a:cubicBezTo>
                <a:cubicBezTo>
                  <a:pt x="366" y="339"/>
                  <a:pt x="366" y="339"/>
                  <a:pt x="366" y="339"/>
                </a:cubicBezTo>
                <a:cubicBezTo>
                  <a:pt x="378" y="336"/>
                  <a:pt x="388" y="329"/>
                  <a:pt x="395" y="319"/>
                </a:cubicBezTo>
                <a:cubicBezTo>
                  <a:pt x="423" y="331"/>
                  <a:pt x="423" y="331"/>
                  <a:pt x="423" y="331"/>
                </a:cubicBezTo>
                <a:cubicBezTo>
                  <a:pt x="421" y="336"/>
                  <a:pt x="420" y="342"/>
                  <a:pt x="420" y="347"/>
                </a:cubicBezTo>
                <a:cubicBezTo>
                  <a:pt x="420" y="352"/>
                  <a:pt x="421" y="356"/>
                  <a:pt x="422" y="361"/>
                </a:cubicBezTo>
                <a:close/>
                <a:moveTo>
                  <a:pt x="153" y="331"/>
                </a:moveTo>
                <a:cubicBezTo>
                  <a:pt x="181" y="319"/>
                  <a:pt x="181" y="319"/>
                  <a:pt x="181" y="319"/>
                </a:cubicBezTo>
                <a:cubicBezTo>
                  <a:pt x="188" y="328"/>
                  <a:pt x="198" y="336"/>
                  <a:pt x="210" y="339"/>
                </a:cubicBezTo>
                <a:cubicBezTo>
                  <a:pt x="210" y="395"/>
                  <a:pt x="210" y="395"/>
                  <a:pt x="210" y="395"/>
                </a:cubicBezTo>
                <a:cubicBezTo>
                  <a:pt x="154" y="361"/>
                  <a:pt x="154" y="361"/>
                  <a:pt x="154" y="361"/>
                </a:cubicBezTo>
                <a:cubicBezTo>
                  <a:pt x="155" y="356"/>
                  <a:pt x="156" y="352"/>
                  <a:pt x="156" y="347"/>
                </a:cubicBezTo>
                <a:cubicBezTo>
                  <a:pt x="156" y="342"/>
                  <a:pt x="155" y="336"/>
                  <a:pt x="153" y="331"/>
                </a:cubicBezTo>
                <a:close/>
                <a:moveTo>
                  <a:pt x="153" y="215"/>
                </a:moveTo>
                <a:cubicBezTo>
                  <a:pt x="210" y="181"/>
                  <a:pt x="210" y="181"/>
                  <a:pt x="210" y="181"/>
                </a:cubicBezTo>
                <a:cubicBezTo>
                  <a:pt x="210" y="237"/>
                  <a:pt x="210" y="237"/>
                  <a:pt x="210" y="237"/>
                </a:cubicBezTo>
                <a:cubicBezTo>
                  <a:pt x="198" y="240"/>
                  <a:pt x="188" y="247"/>
                  <a:pt x="181" y="257"/>
                </a:cubicBezTo>
                <a:cubicBezTo>
                  <a:pt x="154" y="244"/>
                  <a:pt x="154" y="244"/>
                  <a:pt x="154" y="244"/>
                </a:cubicBezTo>
                <a:cubicBezTo>
                  <a:pt x="155" y="240"/>
                  <a:pt x="156" y="236"/>
                  <a:pt x="156" y="231"/>
                </a:cubicBezTo>
                <a:cubicBezTo>
                  <a:pt x="156" y="226"/>
                  <a:pt x="155" y="221"/>
                  <a:pt x="153" y="215"/>
                </a:cubicBezTo>
                <a:close/>
                <a:moveTo>
                  <a:pt x="352" y="317"/>
                </a:moveTo>
                <a:cubicBezTo>
                  <a:pt x="336" y="317"/>
                  <a:pt x="323" y="304"/>
                  <a:pt x="323" y="288"/>
                </a:cubicBezTo>
                <a:cubicBezTo>
                  <a:pt x="323" y="272"/>
                  <a:pt x="336" y="259"/>
                  <a:pt x="352" y="259"/>
                </a:cubicBezTo>
                <a:cubicBezTo>
                  <a:pt x="368" y="259"/>
                  <a:pt x="381" y="272"/>
                  <a:pt x="381" y="288"/>
                </a:cubicBezTo>
                <a:cubicBezTo>
                  <a:pt x="381" y="304"/>
                  <a:pt x="368" y="317"/>
                  <a:pt x="352" y="317"/>
                </a:cubicBezTo>
                <a:close/>
                <a:moveTo>
                  <a:pt x="224" y="259"/>
                </a:moveTo>
                <a:cubicBezTo>
                  <a:pt x="240" y="259"/>
                  <a:pt x="253" y="272"/>
                  <a:pt x="253" y="288"/>
                </a:cubicBezTo>
                <a:cubicBezTo>
                  <a:pt x="253" y="304"/>
                  <a:pt x="240" y="317"/>
                  <a:pt x="224" y="317"/>
                </a:cubicBezTo>
                <a:cubicBezTo>
                  <a:pt x="208" y="317"/>
                  <a:pt x="195" y="304"/>
                  <a:pt x="195" y="288"/>
                </a:cubicBezTo>
                <a:cubicBezTo>
                  <a:pt x="195" y="272"/>
                  <a:pt x="208" y="259"/>
                  <a:pt x="224" y="259"/>
                </a:cubicBezTo>
                <a:close/>
                <a:moveTo>
                  <a:pt x="259" y="248"/>
                </a:moveTo>
                <a:cubicBezTo>
                  <a:pt x="288" y="204"/>
                  <a:pt x="288" y="204"/>
                  <a:pt x="288" y="204"/>
                </a:cubicBezTo>
                <a:cubicBezTo>
                  <a:pt x="317" y="248"/>
                  <a:pt x="317" y="248"/>
                  <a:pt x="317" y="248"/>
                </a:cubicBezTo>
                <a:cubicBezTo>
                  <a:pt x="306" y="258"/>
                  <a:pt x="299" y="272"/>
                  <a:pt x="299" y="288"/>
                </a:cubicBezTo>
                <a:cubicBezTo>
                  <a:pt x="299" y="303"/>
                  <a:pt x="306" y="317"/>
                  <a:pt x="317" y="327"/>
                </a:cubicBezTo>
                <a:cubicBezTo>
                  <a:pt x="288" y="371"/>
                  <a:pt x="288" y="371"/>
                  <a:pt x="288" y="371"/>
                </a:cubicBezTo>
                <a:cubicBezTo>
                  <a:pt x="259" y="327"/>
                  <a:pt x="259" y="327"/>
                  <a:pt x="259" y="327"/>
                </a:cubicBezTo>
                <a:cubicBezTo>
                  <a:pt x="270" y="317"/>
                  <a:pt x="277" y="303"/>
                  <a:pt x="277" y="288"/>
                </a:cubicBezTo>
                <a:cubicBezTo>
                  <a:pt x="277" y="272"/>
                  <a:pt x="270" y="258"/>
                  <a:pt x="259" y="248"/>
                </a:cubicBezTo>
                <a:close/>
                <a:moveTo>
                  <a:pt x="342" y="236"/>
                </a:moveTo>
                <a:cubicBezTo>
                  <a:pt x="341" y="236"/>
                  <a:pt x="339" y="236"/>
                  <a:pt x="338" y="237"/>
                </a:cubicBezTo>
                <a:cubicBezTo>
                  <a:pt x="302" y="182"/>
                  <a:pt x="302" y="182"/>
                  <a:pt x="302" y="182"/>
                </a:cubicBezTo>
                <a:cubicBezTo>
                  <a:pt x="321" y="153"/>
                  <a:pt x="321" y="153"/>
                  <a:pt x="321" y="153"/>
                </a:cubicBezTo>
                <a:cubicBezTo>
                  <a:pt x="342" y="166"/>
                  <a:pt x="342" y="166"/>
                  <a:pt x="342" y="166"/>
                </a:cubicBezTo>
                <a:lnTo>
                  <a:pt x="342" y="236"/>
                </a:lnTo>
                <a:close/>
                <a:moveTo>
                  <a:pt x="300" y="141"/>
                </a:moveTo>
                <a:cubicBezTo>
                  <a:pt x="288" y="160"/>
                  <a:pt x="288" y="160"/>
                  <a:pt x="288" y="160"/>
                </a:cubicBezTo>
                <a:cubicBezTo>
                  <a:pt x="275" y="141"/>
                  <a:pt x="275" y="141"/>
                  <a:pt x="275" y="141"/>
                </a:cubicBezTo>
                <a:cubicBezTo>
                  <a:pt x="288" y="133"/>
                  <a:pt x="288" y="133"/>
                  <a:pt x="288" y="133"/>
                </a:cubicBezTo>
                <a:lnTo>
                  <a:pt x="300" y="141"/>
                </a:lnTo>
                <a:close/>
                <a:moveTo>
                  <a:pt x="255" y="153"/>
                </a:moveTo>
                <a:cubicBezTo>
                  <a:pt x="274" y="182"/>
                  <a:pt x="274" y="182"/>
                  <a:pt x="274" y="182"/>
                </a:cubicBezTo>
                <a:cubicBezTo>
                  <a:pt x="238" y="237"/>
                  <a:pt x="238" y="237"/>
                  <a:pt x="238" y="237"/>
                </a:cubicBezTo>
                <a:cubicBezTo>
                  <a:pt x="237" y="236"/>
                  <a:pt x="235" y="236"/>
                  <a:pt x="234" y="236"/>
                </a:cubicBezTo>
                <a:cubicBezTo>
                  <a:pt x="234" y="166"/>
                  <a:pt x="234" y="166"/>
                  <a:pt x="234" y="166"/>
                </a:cubicBezTo>
                <a:lnTo>
                  <a:pt x="255" y="153"/>
                </a:lnTo>
                <a:close/>
                <a:moveTo>
                  <a:pt x="234" y="340"/>
                </a:moveTo>
                <a:cubicBezTo>
                  <a:pt x="235" y="340"/>
                  <a:pt x="237" y="339"/>
                  <a:pt x="238" y="339"/>
                </a:cubicBezTo>
                <a:cubicBezTo>
                  <a:pt x="274" y="394"/>
                  <a:pt x="274" y="394"/>
                  <a:pt x="274" y="394"/>
                </a:cubicBezTo>
                <a:cubicBezTo>
                  <a:pt x="255" y="422"/>
                  <a:pt x="255" y="422"/>
                  <a:pt x="255" y="422"/>
                </a:cubicBezTo>
                <a:cubicBezTo>
                  <a:pt x="234" y="409"/>
                  <a:pt x="234" y="409"/>
                  <a:pt x="234" y="409"/>
                </a:cubicBezTo>
                <a:lnTo>
                  <a:pt x="234" y="340"/>
                </a:lnTo>
                <a:close/>
                <a:moveTo>
                  <a:pt x="276" y="435"/>
                </a:moveTo>
                <a:cubicBezTo>
                  <a:pt x="288" y="416"/>
                  <a:pt x="288" y="416"/>
                  <a:pt x="288" y="416"/>
                </a:cubicBezTo>
                <a:cubicBezTo>
                  <a:pt x="300" y="435"/>
                  <a:pt x="300" y="435"/>
                  <a:pt x="300" y="435"/>
                </a:cubicBezTo>
                <a:cubicBezTo>
                  <a:pt x="288" y="442"/>
                  <a:pt x="288" y="442"/>
                  <a:pt x="288" y="442"/>
                </a:cubicBezTo>
                <a:lnTo>
                  <a:pt x="276" y="435"/>
                </a:lnTo>
                <a:close/>
                <a:moveTo>
                  <a:pt x="321" y="422"/>
                </a:moveTo>
                <a:cubicBezTo>
                  <a:pt x="302" y="394"/>
                  <a:pt x="302" y="394"/>
                  <a:pt x="302" y="394"/>
                </a:cubicBezTo>
                <a:cubicBezTo>
                  <a:pt x="338" y="339"/>
                  <a:pt x="338" y="339"/>
                  <a:pt x="338" y="339"/>
                </a:cubicBezTo>
                <a:cubicBezTo>
                  <a:pt x="339" y="339"/>
                  <a:pt x="341" y="340"/>
                  <a:pt x="343" y="340"/>
                </a:cubicBezTo>
                <a:cubicBezTo>
                  <a:pt x="343" y="409"/>
                  <a:pt x="343" y="409"/>
                  <a:pt x="343" y="409"/>
                </a:cubicBezTo>
                <a:lnTo>
                  <a:pt x="321" y="422"/>
                </a:lnTo>
                <a:close/>
                <a:moveTo>
                  <a:pt x="366" y="237"/>
                </a:moveTo>
                <a:cubicBezTo>
                  <a:pt x="366" y="181"/>
                  <a:pt x="366" y="181"/>
                  <a:pt x="366" y="181"/>
                </a:cubicBezTo>
                <a:cubicBezTo>
                  <a:pt x="423" y="215"/>
                  <a:pt x="423" y="215"/>
                  <a:pt x="423" y="215"/>
                </a:cubicBezTo>
                <a:cubicBezTo>
                  <a:pt x="421" y="220"/>
                  <a:pt x="420" y="226"/>
                  <a:pt x="420" y="231"/>
                </a:cubicBezTo>
                <a:cubicBezTo>
                  <a:pt x="420" y="236"/>
                  <a:pt x="421" y="240"/>
                  <a:pt x="422" y="244"/>
                </a:cubicBezTo>
                <a:cubicBezTo>
                  <a:pt x="395" y="257"/>
                  <a:pt x="395" y="257"/>
                  <a:pt x="395" y="257"/>
                </a:cubicBezTo>
                <a:cubicBezTo>
                  <a:pt x="388" y="247"/>
                  <a:pt x="378" y="240"/>
                  <a:pt x="366" y="237"/>
                </a:cubicBezTo>
                <a:close/>
                <a:moveTo>
                  <a:pt x="444" y="231"/>
                </a:moveTo>
                <a:cubicBezTo>
                  <a:pt x="444" y="216"/>
                  <a:pt x="457" y="203"/>
                  <a:pt x="473" y="203"/>
                </a:cubicBezTo>
                <a:cubicBezTo>
                  <a:pt x="489" y="203"/>
                  <a:pt x="502" y="216"/>
                  <a:pt x="502" y="231"/>
                </a:cubicBezTo>
                <a:cubicBezTo>
                  <a:pt x="502" y="247"/>
                  <a:pt x="489" y="260"/>
                  <a:pt x="473" y="260"/>
                </a:cubicBezTo>
                <a:cubicBezTo>
                  <a:pt x="457" y="260"/>
                  <a:pt x="444" y="247"/>
                  <a:pt x="444" y="231"/>
                </a:cubicBezTo>
                <a:close/>
                <a:moveTo>
                  <a:pt x="366" y="153"/>
                </a:moveTo>
                <a:cubicBezTo>
                  <a:pt x="366" y="141"/>
                  <a:pt x="366" y="141"/>
                  <a:pt x="366" y="141"/>
                </a:cubicBezTo>
                <a:cubicBezTo>
                  <a:pt x="372" y="139"/>
                  <a:pt x="377" y="137"/>
                  <a:pt x="381" y="134"/>
                </a:cubicBezTo>
                <a:cubicBezTo>
                  <a:pt x="425" y="189"/>
                  <a:pt x="425" y="189"/>
                  <a:pt x="425" y="189"/>
                </a:cubicBezTo>
                <a:lnTo>
                  <a:pt x="366" y="153"/>
                </a:lnTo>
                <a:close/>
                <a:moveTo>
                  <a:pt x="352" y="119"/>
                </a:moveTo>
                <a:cubicBezTo>
                  <a:pt x="336" y="119"/>
                  <a:pt x="323" y="106"/>
                  <a:pt x="323" y="90"/>
                </a:cubicBezTo>
                <a:cubicBezTo>
                  <a:pt x="323" y="74"/>
                  <a:pt x="336" y="61"/>
                  <a:pt x="352" y="61"/>
                </a:cubicBezTo>
                <a:cubicBezTo>
                  <a:pt x="368" y="61"/>
                  <a:pt x="381" y="74"/>
                  <a:pt x="381" y="90"/>
                </a:cubicBezTo>
                <a:cubicBezTo>
                  <a:pt x="381" y="106"/>
                  <a:pt x="368" y="119"/>
                  <a:pt x="352" y="119"/>
                </a:cubicBezTo>
                <a:close/>
                <a:moveTo>
                  <a:pt x="300" y="98"/>
                </a:moveTo>
                <a:cubicBezTo>
                  <a:pt x="288" y="105"/>
                  <a:pt x="288" y="105"/>
                  <a:pt x="288" y="105"/>
                </a:cubicBezTo>
                <a:cubicBezTo>
                  <a:pt x="276" y="98"/>
                  <a:pt x="276" y="98"/>
                  <a:pt x="276" y="98"/>
                </a:cubicBezTo>
                <a:cubicBezTo>
                  <a:pt x="277" y="95"/>
                  <a:pt x="277" y="92"/>
                  <a:pt x="277" y="90"/>
                </a:cubicBezTo>
                <a:cubicBezTo>
                  <a:pt x="277" y="89"/>
                  <a:pt x="277" y="88"/>
                  <a:pt x="277" y="88"/>
                </a:cubicBezTo>
                <a:cubicBezTo>
                  <a:pt x="299" y="88"/>
                  <a:pt x="299" y="88"/>
                  <a:pt x="299" y="88"/>
                </a:cubicBezTo>
                <a:cubicBezTo>
                  <a:pt x="299" y="88"/>
                  <a:pt x="299" y="89"/>
                  <a:pt x="299" y="90"/>
                </a:cubicBezTo>
                <a:cubicBezTo>
                  <a:pt x="299" y="92"/>
                  <a:pt x="299" y="95"/>
                  <a:pt x="300" y="98"/>
                </a:cubicBezTo>
                <a:close/>
                <a:moveTo>
                  <a:pt x="224" y="119"/>
                </a:moveTo>
                <a:cubicBezTo>
                  <a:pt x="208" y="119"/>
                  <a:pt x="195" y="106"/>
                  <a:pt x="195" y="90"/>
                </a:cubicBezTo>
                <a:cubicBezTo>
                  <a:pt x="195" y="74"/>
                  <a:pt x="208" y="61"/>
                  <a:pt x="224" y="61"/>
                </a:cubicBezTo>
                <a:cubicBezTo>
                  <a:pt x="240" y="61"/>
                  <a:pt x="253" y="74"/>
                  <a:pt x="253" y="90"/>
                </a:cubicBezTo>
                <a:cubicBezTo>
                  <a:pt x="253" y="106"/>
                  <a:pt x="240" y="119"/>
                  <a:pt x="224" y="119"/>
                </a:cubicBezTo>
                <a:close/>
                <a:moveTo>
                  <a:pt x="195" y="134"/>
                </a:moveTo>
                <a:cubicBezTo>
                  <a:pt x="199" y="137"/>
                  <a:pt x="204" y="139"/>
                  <a:pt x="210" y="141"/>
                </a:cubicBezTo>
                <a:cubicBezTo>
                  <a:pt x="210" y="153"/>
                  <a:pt x="210" y="153"/>
                  <a:pt x="210" y="153"/>
                </a:cubicBezTo>
                <a:cubicBezTo>
                  <a:pt x="151" y="189"/>
                  <a:pt x="151" y="189"/>
                  <a:pt x="151" y="189"/>
                </a:cubicBezTo>
                <a:lnTo>
                  <a:pt x="195" y="134"/>
                </a:lnTo>
                <a:close/>
                <a:moveTo>
                  <a:pt x="132" y="231"/>
                </a:moveTo>
                <a:cubicBezTo>
                  <a:pt x="132" y="247"/>
                  <a:pt x="119" y="260"/>
                  <a:pt x="103" y="260"/>
                </a:cubicBezTo>
                <a:cubicBezTo>
                  <a:pt x="87" y="260"/>
                  <a:pt x="74" y="247"/>
                  <a:pt x="74" y="231"/>
                </a:cubicBezTo>
                <a:cubicBezTo>
                  <a:pt x="74" y="216"/>
                  <a:pt x="87" y="203"/>
                  <a:pt x="103" y="203"/>
                </a:cubicBezTo>
                <a:cubicBezTo>
                  <a:pt x="119" y="203"/>
                  <a:pt x="132" y="216"/>
                  <a:pt x="132" y="231"/>
                </a:cubicBezTo>
                <a:close/>
                <a:moveTo>
                  <a:pt x="103" y="318"/>
                </a:moveTo>
                <a:cubicBezTo>
                  <a:pt x="119" y="318"/>
                  <a:pt x="132" y="331"/>
                  <a:pt x="132" y="347"/>
                </a:cubicBezTo>
                <a:cubicBezTo>
                  <a:pt x="132" y="363"/>
                  <a:pt x="119" y="376"/>
                  <a:pt x="103" y="376"/>
                </a:cubicBezTo>
                <a:cubicBezTo>
                  <a:pt x="87" y="376"/>
                  <a:pt x="74" y="363"/>
                  <a:pt x="74" y="347"/>
                </a:cubicBezTo>
                <a:cubicBezTo>
                  <a:pt x="74" y="331"/>
                  <a:pt x="87" y="318"/>
                  <a:pt x="103" y="318"/>
                </a:cubicBezTo>
                <a:close/>
                <a:moveTo>
                  <a:pt x="210" y="423"/>
                </a:moveTo>
                <a:cubicBezTo>
                  <a:pt x="210" y="435"/>
                  <a:pt x="210" y="435"/>
                  <a:pt x="210" y="435"/>
                </a:cubicBezTo>
                <a:cubicBezTo>
                  <a:pt x="204" y="436"/>
                  <a:pt x="199" y="439"/>
                  <a:pt x="195" y="442"/>
                </a:cubicBezTo>
                <a:cubicBezTo>
                  <a:pt x="151" y="387"/>
                  <a:pt x="151" y="387"/>
                  <a:pt x="151" y="387"/>
                </a:cubicBezTo>
                <a:lnTo>
                  <a:pt x="210" y="423"/>
                </a:lnTo>
                <a:close/>
                <a:moveTo>
                  <a:pt x="224" y="457"/>
                </a:moveTo>
                <a:cubicBezTo>
                  <a:pt x="240" y="457"/>
                  <a:pt x="253" y="470"/>
                  <a:pt x="253" y="486"/>
                </a:cubicBezTo>
                <a:cubicBezTo>
                  <a:pt x="253" y="488"/>
                  <a:pt x="253" y="491"/>
                  <a:pt x="252" y="493"/>
                </a:cubicBezTo>
                <a:cubicBezTo>
                  <a:pt x="251" y="495"/>
                  <a:pt x="250" y="496"/>
                  <a:pt x="250" y="498"/>
                </a:cubicBezTo>
                <a:cubicBezTo>
                  <a:pt x="246" y="508"/>
                  <a:pt x="236" y="515"/>
                  <a:pt x="224" y="515"/>
                </a:cubicBezTo>
                <a:cubicBezTo>
                  <a:pt x="208" y="515"/>
                  <a:pt x="195" y="502"/>
                  <a:pt x="195" y="486"/>
                </a:cubicBezTo>
                <a:cubicBezTo>
                  <a:pt x="195" y="470"/>
                  <a:pt x="208" y="457"/>
                  <a:pt x="224" y="457"/>
                </a:cubicBezTo>
                <a:close/>
                <a:moveTo>
                  <a:pt x="276" y="478"/>
                </a:moveTo>
                <a:cubicBezTo>
                  <a:pt x="288" y="471"/>
                  <a:pt x="288" y="471"/>
                  <a:pt x="288" y="471"/>
                </a:cubicBezTo>
                <a:cubicBezTo>
                  <a:pt x="300" y="478"/>
                  <a:pt x="300" y="478"/>
                  <a:pt x="300" y="478"/>
                </a:cubicBezTo>
                <a:cubicBezTo>
                  <a:pt x="299" y="480"/>
                  <a:pt x="299" y="483"/>
                  <a:pt x="299" y="486"/>
                </a:cubicBezTo>
                <a:cubicBezTo>
                  <a:pt x="299" y="487"/>
                  <a:pt x="299" y="487"/>
                  <a:pt x="299" y="488"/>
                </a:cubicBezTo>
                <a:cubicBezTo>
                  <a:pt x="277" y="488"/>
                  <a:pt x="277" y="488"/>
                  <a:pt x="277" y="488"/>
                </a:cubicBezTo>
                <a:cubicBezTo>
                  <a:pt x="277" y="487"/>
                  <a:pt x="277" y="487"/>
                  <a:pt x="277" y="486"/>
                </a:cubicBezTo>
                <a:cubicBezTo>
                  <a:pt x="277" y="483"/>
                  <a:pt x="277" y="480"/>
                  <a:pt x="276" y="478"/>
                </a:cubicBezTo>
                <a:close/>
                <a:moveTo>
                  <a:pt x="352" y="457"/>
                </a:moveTo>
                <a:cubicBezTo>
                  <a:pt x="368" y="457"/>
                  <a:pt x="381" y="470"/>
                  <a:pt x="381" y="486"/>
                </a:cubicBezTo>
                <a:cubicBezTo>
                  <a:pt x="381" y="502"/>
                  <a:pt x="368" y="515"/>
                  <a:pt x="352" y="515"/>
                </a:cubicBezTo>
                <a:cubicBezTo>
                  <a:pt x="336" y="515"/>
                  <a:pt x="323" y="502"/>
                  <a:pt x="323" y="486"/>
                </a:cubicBezTo>
                <a:cubicBezTo>
                  <a:pt x="323" y="470"/>
                  <a:pt x="336" y="457"/>
                  <a:pt x="352" y="457"/>
                </a:cubicBezTo>
                <a:close/>
                <a:moveTo>
                  <a:pt x="381" y="442"/>
                </a:moveTo>
                <a:cubicBezTo>
                  <a:pt x="377" y="439"/>
                  <a:pt x="371" y="436"/>
                  <a:pt x="366" y="435"/>
                </a:cubicBezTo>
                <a:cubicBezTo>
                  <a:pt x="366" y="423"/>
                  <a:pt x="366" y="423"/>
                  <a:pt x="366" y="423"/>
                </a:cubicBezTo>
                <a:cubicBezTo>
                  <a:pt x="425" y="387"/>
                  <a:pt x="425" y="387"/>
                  <a:pt x="425" y="387"/>
                </a:cubicBezTo>
                <a:lnTo>
                  <a:pt x="381" y="442"/>
                </a:lnTo>
                <a:close/>
                <a:moveTo>
                  <a:pt x="444" y="347"/>
                </a:moveTo>
                <a:cubicBezTo>
                  <a:pt x="444" y="331"/>
                  <a:pt x="457" y="318"/>
                  <a:pt x="473" y="318"/>
                </a:cubicBezTo>
                <a:cubicBezTo>
                  <a:pt x="489" y="318"/>
                  <a:pt x="502" y="331"/>
                  <a:pt x="502" y="347"/>
                </a:cubicBezTo>
                <a:cubicBezTo>
                  <a:pt x="502" y="363"/>
                  <a:pt x="489" y="376"/>
                  <a:pt x="473" y="376"/>
                </a:cubicBezTo>
                <a:cubicBezTo>
                  <a:pt x="457" y="376"/>
                  <a:pt x="444" y="363"/>
                  <a:pt x="444" y="347"/>
                </a:cubicBezTo>
                <a:close/>
                <a:moveTo>
                  <a:pt x="553" y="22"/>
                </a:moveTo>
                <a:cubicBezTo>
                  <a:pt x="553" y="219"/>
                  <a:pt x="553" y="219"/>
                  <a:pt x="553" y="219"/>
                </a:cubicBezTo>
                <a:cubicBezTo>
                  <a:pt x="525" y="219"/>
                  <a:pt x="525" y="219"/>
                  <a:pt x="525" y="219"/>
                </a:cubicBezTo>
                <a:cubicBezTo>
                  <a:pt x="519" y="196"/>
                  <a:pt x="498" y="179"/>
                  <a:pt x="473" y="179"/>
                </a:cubicBezTo>
                <a:cubicBezTo>
                  <a:pt x="466" y="179"/>
                  <a:pt x="458" y="180"/>
                  <a:pt x="452" y="183"/>
                </a:cubicBezTo>
                <a:cubicBezTo>
                  <a:pt x="398" y="116"/>
                  <a:pt x="398" y="116"/>
                  <a:pt x="398" y="116"/>
                </a:cubicBezTo>
                <a:cubicBezTo>
                  <a:pt x="402" y="108"/>
                  <a:pt x="405" y="99"/>
                  <a:pt x="405" y="90"/>
                </a:cubicBezTo>
                <a:cubicBezTo>
                  <a:pt x="405" y="60"/>
                  <a:pt x="381" y="37"/>
                  <a:pt x="352" y="37"/>
                </a:cubicBezTo>
                <a:cubicBezTo>
                  <a:pt x="332" y="37"/>
                  <a:pt x="315" y="48"/>
                  <a:pt x="306" y="64"/>
                </a:cubicBezTo>
                <a:cubicBezTo>
                  <a:pt x="270" y="64"/>
                  <a:pt x="270" y="64"/>
                  <a:pt x="270" y="64"/>
                </a:cubicBezTo>
                <a:cubicBezTo>
                  <a:pt x="261" y="48"/>
                  <a:pt x="244" y="37"/>
                  <a:pt x="224" y="37"/>
                </a:cubicBezTo>
                <a:cubicBezTo>
                  <a:pt x="195" y="37"/>
                  <a:pt x="171" y="60"/>
                  <a:pt x="171" y="90"/>
                </a:cubicBezTo>
                <a:cubicBezTo>
                  <a:pt x="171" y="99"/>
                  <a:pt x="174" y="108"/>
                  <a:pt x="178" y="116"/>
                </a:cubicBezTo>
                <a:cubicBezTo>
                  <a:pt x="124" y="183"/>
                  <a:pt x="124" y="183"/>
                  <a:pt x="124" y="183"/>
                </a:cubicBezTo>
                <a:cubicBezTo>
                  <a:pt x="118" y="180"/>
                  <a:pt x="110" y="179"/>
                  <a:pt x="103" y="179"/>
                </a:cubicBezTo>
                <a:cubicBezTo>
                  <a:pt x="77" y="179"/>
                  <a:pt x="57" y="196"/>
                  <a:pt x="51" y="219"/>
                </a:cubicBezTo>
                <a:cubicBezTo>
                  <a:pt x="23" y="219"/>
                  <a:pt x="23" y="219"/>
                  <a:pt x="23" y="219"/>
                </a:cubicBezTo>
                <a:cubicBezTo>
                  <a:pt x="23" y="22"/>
                  <a:pt x="23" y="22"/>
                  <a:pt x="23" y="22"/>
                </a:cubicBezTo>
                <a:lnTo>
                  <a:pt x="553" y="22"/>
                </a:lnTo>
                <a:close/>
                <a:moveTo>
                  <a:pt x="23" y="553"/>
                </a:moveTo>
                <a:cubicBezTo>
                  <a:pt x="23" y="359"/>
                  <a:pt x="23" y="359"/>
                  <a:pt x="23" y="359"/>
                </a:cubicBezTo>
                <a:cubicBezTo>
                  <a:pt x="51" y="359"/>
                  <a:pt x="51" y="359"/>
                  <a:pt x="51" y="359"/>
                </a:cubicBezTo>
                <a:cubicBezTo>
                  <a:pt x="57" y="383"/>
                  <a:pt x="78" y="400"/>
                  <a:pt x="103" y="400"/>
                </a:cubicBezTo>
                <a:cubicBezTo>
                  <a:pt x="111" y="400"/>
                  <a:pt x="119" y="398"/>
                  <a:pt x="126" y="395"/>
                </a:cubicBezTo>
                <a:cubicBezTo>
                  <a:pt x="178" y="460"/>
                  <a:pt x="178" y="460"/>
                  <a:pt x="178" y="460"/>
                </a:cubicBezTo>
                <a:cubicBezTo>
                  <a:pt x="174" y="467"/>
                  <a:pt x="171" y="476"/>
                  <a:pt x="171" y="486"/>
                </a:cubicBezTo>
                <a:cubicBezTo>
                  <a:pt x="171" y="515"/>
                  <a:pt x="195" y="539"/>
                  <a:pt x="224" y="539"/>
                </a:cubicBezTo>
                <a:cubicBezTo>
                  <a:pt x="244" y="539"/>
                  <a:pt x="261" y="528"/>
                  <a:pt x="270" y="512"/>
                </a:cubicBezTo>
                <a:cubicBezTo>
                  <a:pt x="306" y="512"/>
                  <a:pt x="306" y="512"/>
                  <a:pt x="306" y="512"/>
                </a:cubicBezTo>
                <a:cubicBezTo>
                  <a:pt x="315" y="528"/>
                  <a:pt x="332" y="539"/>
                  <a:pt x="352" y="539"/>
                </a:cubicBezTo>
                <a:cubicBezTo>
                  <a:pt x="381" y="539"/>
                  <a:pt x="405" y="515"/>
                  <a:pt x="405" y="486"/>
                </a:cubicBezTo>
                <a:cubicBezTo>
                  <a:pt x="405" y="476"/>
                  <a:pt x="402" y="467"/>
                  <a:pt x="398" y="460"/>
                </a:cubicBezTo>
                <a:cubicBezTo>
                  <a:pt x="450" y="395"/>
                  <a:pt x="450" y="395"/>
                  <a:pt x="450" y="395"/>
                </a:cubicBezTo>
                <a:cubicBezTo>
                  <a:pt x="457" y="398"/>
                  <a:pt x="465" y="400"/>
                  <a:pt x="473" y="400"/>
                </a:cubicBezTo>
                <a:cubicBezTo>
                  <a:pt x="499" y="400"/>
                  <a:pt x="519" y="383"/>
                  <a:pt x="525" y="359"/>
                </a:cubicBezTo>
                <a:cubicBezTo>
                  <a:pt x="553" y="359"/>
                  <a:pt x="553" y="359"/>
                  <a:pt x="553" y="359"/>
                </a:cubicBezTo>
                <a:cubicBezTo>
                  <a:pt x="553" y="553"/>
                  <a:pt x="553" y="553"/>
                  <a:pt x="553" y="553"/>
                </a:cubicBezTo>
                <a:lnTo>
                  <a:pt x="23" y="553"/>
                </a:lnTo>
                <a:close/>
              </a:path>
            </a:pathLst>
          </a:custGeom>
          <a:solidFill>
            <a:schemeClr val="bg1"/>
          </a:solidFill>
          <a:ln>
            <a:noFill/>
          </a:ln>
        </p:spPr>
        <p:txBody>
          <a:bodyPr spcFirstLastPara="1" wrap="square" lIns="114300" tIns="57150" rIns="114300" bIns="57150" anchor="t" anchorCtr="0">
            <a:noAutofit/>
          </a:bodyPr>
          <a:lstStyle/>
          <a:p>
            <a:pPr marL="0" marR="0" lvl="0" indent="0" algn="l" rtl="0">
              <a:lnSpc>
                <a:spcPct val="100000"/>
              </a:lnSpc>
              <a:spcBef>
                <a:spcPts val="0"/>
              </a:spcBef>
              <a:spcAft>
                <a:spcPts val="0"/>
              </a:spcAft>
              <a:buClr>
                <a:srgbClr val="000000"/>
              </a:buClr>
              <a:buSzPts val="875"/>
              <a:buFont typeface="Arial"/>
              <a:buNone/>
            </a:pPr>
            <a:endParaRPr sz="875" b="0" i="0" u="none" strike="noStrike" cap="none" dirty="0">
              <a:solidFill>
                <a:schemeClr val="accent1"/>
              </a:solidFill>
              <a:latin typeface="Arial"/>
              <a:ea typeface="Arial"/>
              <a:cs typeface="Arial"/>
              <a:sym typeface="Arial"/>
            </a:endParaRPr>
          </a:p>
        </p:txBody>
      </p:sp>
      <p:sp>
        <p:nvSpPr>
          <p:cNvPr id="49" name="TextBox 48">
            <a:extLst>
              <a:ext uri="{FF2B5EF4-FFF2-40B4-BE49-F238E27FC236}">
                <a16:creationId xmlns:a16="http://schemas.microsoft.com/office/drawing/2014/main" id="{360E2B5B-7D49-48E5-9D16-A2CD25D5B62C}"/>
              </a:ext>
            </a:extLst>
          </p:cNvPr>
          <p:cNvSpPr txBox="1"/>
          <p:nvPr/>
        </p:nvSpPr>
        <p:spPr>
          <a:xfrm>
            <a:off x="6906880" y="3356877"/>
            <a:ext cx="1861724" cy="307777"/>
          </a:xfrm>
          <a:prstGeom prst="rect">
            <a:avLst/>
          </a:prstGeom>
          <a:noFill/>
          <a:ln>
            <a:noFill/>
          </a:ln>
        </p:spPr>
        <p:txBody>
          <a:bodyPr wrap="square">
            <a:spAutoFit/>
          </a:bodyPr>
          <a:lstStyle/>
          <a:p>
            <a:r>
              <a:rPr lang="en-AU" sz="1400" b="1" dirty="0">
                <a:solidFill>
                  <a:schemeClr val="bg1"/>
                </a:solidFill>
                <a:cs typeface="Calibri Light"/>
              </a:rPr>
              <a:t>Data and Digital</a:t>
            </a:r>
          </a:p>
        </p:txBody>
      </p:sp>
      <p:sp>
        <p:nvSpPr>
          <p:cNvPr id="50" name="Google Shape;1907;p199">
            <a:extLst>
              <a:ext uri="{FF2B5EF4-FFF2-40B4-BE49-F238E27FC236}">
                <a16:creationId xmlns:a16="http://schemas.microsoft.com/office/drawing/2014/main" id="{20CB3E92-AEA2-47A2-94BD-66705573EE59}"/>
              </a:ext>
            </a:extLst>
          </p:cNvPr>
          <p:cNvSpPr/>
          <p:nvPr/>
        </p:nvSpPr>
        <p:spPr>
          <a:xfrm>
            <a:off x="9056438" y="3284253"/>
            <a:ext cx="474700" cy="439754"/>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dirty="0">
              <a:solidFill>
                <a:schemeClr val="accent1"/>
              </a:solidFill>
              <a:latin typeface="Arial"/>
              <a:ea typeface="Arial"/>
              <a:cs typeface="Arial"/>
              <a:sym typeface="Arial"/>
            </a:endParaRPr>
          </a:p>
        </p:txBody>
      </p:sp>
      <p:sp>
        <p:nvSpPr>
          <p:cNvPr id="51" name="TextBox 50">
            <a:extLst>
              <a:ext uri="{FF2B5EF4-FFF2-40B4-BE49-F238E27FC236}">
                <a16:creationId xmlns:a16="http://schemas.microsoft.com/office/drawing/2014/main" id="{C233B4A7-F265-4D49-B1C1-5ACE2E3313AA}"/>
              </a:ext>
            </a:extLst>
          </p:cNvPr>
          <p:cNvSpPr txBox="1"/>
          <p:nvPr/>
        </p:nvSpPr>
        <p:spPr>
          <a:xfrm>
            <a:off x="9785196" y="3353584"/>
            <a:ext cx="1818511" cy="284312"/>
          </a:xfrm>
          <a:prstGeom prst="rect">
            <a:avLst/>
          </a:prstGeom>
          <a:noFill/>
          <a:ln>
            <a:noFill/>
          </a:ln>
        </p:spPr>
        <p:txBody>
          <a:bodyPr wrap="square">
            <a:spAutoFit/>
          </a:bodyPr>
          <a:lstStyle/>
          <a:p>
            <a:r>
              <a:rPr lang="en-AU" sz="1400" b="1" dirty="0">
                <a:solidFill>
                  <a:schemeClr val="bg1">
                    <a:lumMod val="95000"/>
                  </a:schemeClr>
                </a:solidFill>
              </a:rPr>
              <a:t>Leadership</a:t>
            </a:r>
          </a:p>
        </p:txBody>
      </p:sp>
      <p:sp>
        <p:nvSpPr>
          <p:cNvPr id="52" name="Rectangle 51">
            <a:extLst>
              <a:ext uri="{FF2B5EF4-FFF2-40B4-BE49-F238E27FC236}">
                <a16:creationId xmlns:a16="http://schemas.microsoft.com/office/drawing/2014/main" id="{45C54ACB-9F46-4D22-B429-640E15E1FF24}"/>
              </a:ext>
            </a:extLst>
          </p:cNvPr>
          <p:cNvSpPr/>
          <p:nvPr/>
        </p:nvSpPr>
        <p:spPr>
          <a:xfrm>
            <a:off x="8786803" y="6001738"/>
            <a:ext cx="2576513" cy="3776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dirty="0"/>
              <a:t>Having fun and collaboration</a:t>
            </a:r>
          </a:p>
        </p:txBody>
      </p:sp>
      <p:sp>
        <p:nvSpPr>
          <p:cNvPr id="53" name="Freeform 5">
            <a:extLst>
              <a:ext uri="{FF2B5EF4-FFF2-40B4-BE49-F238E27FC236}">
                <a16:creationId xmlns:a16="http://schemas.microsoft.com/office/drawing/2014/main" id="{7F5D80A0-ABAE-4B4F-9860-0133EC87531B}"/>
              </a:ext>
            </a:extLst>
          </p:cNvPr>
          <p:cNvSpPr>
            <a:spLocks noChangeAspect="1" noEditPoints="1"/>
          </p:cNvSpPr>
          <p:nvPr/>
        </p:nvSpPr>
        <p:spPr bwMode="auto">
          <a:xfrm>
            <a:off x="562168" y="3303194"/>
            <a:ext cx="441647" cy="404085"/>
          </a:xfrm>
          <a:custGeom>
            <a:avLst/>
            <a:gdLst>
              <a:gd name="T0" fmla="*/ 0 w 576"/>
              <a:gd name="T1" fmla="*/ 0 h 576"/>
              <a:gd name="T2" fmla="*/ 576 w 576"/>
              <a:gd name="T3" fmla="*/ 576 h 576"/>
              <a:gd name="T4" fmla="*/ 576 w 576"/>
              <a:gd name="T5" fmla="*/ 0 h 576"/>
              <a:gd name="T6" fmla="*/ 114 w 576"/>
              <a:gd name="T7" fmla="*/ 441 h 576"/>
              <a:gd name="T8" fmla="*/ 172 w 576"/>
              <a:gd name="T9" fmla="*/ 384 h 576"/>
              <a:gd name="T10" fmla="*/ 315 w 576"/>
              <a:gd name="T11" fmla="*/ 379 h 576"/>
              <a:gd name="T12" fmla="*/ 315 w 576"/>
              <a:gd name="T13" fmla="*/ 409 h 576"/>
              <a:gd name="T14" fmla="*/ 194 w 576"/>
              <a:gd name="T15" fmla="*/ 434 h 576"/>
              <a:gd name="T16" fmla="*/ 357 w 576"/>
              <a:gd name="T17" fmla="*/ 419 h 576"/>
              <a:gd name="T18" fmla="*/ 488 w 576"/>
              <a:gd name="T19" fmla="*/ 308 h 576"/>
              <a:gd name="T20" fmla="*/ 489 w 576"/>
              <a:gd name="T21" fmla="*/ 330 h 576"/>
              <a:gd name="T22" fmla="*/ 336 w 576"/>
              <a:gd name="T23" fmla="*/ 476 h 576"/>
              <a:gd name="T24" fmla="*/ 132 w 576"/>
              <a:gd name="T25" fmla="*/ 552 h 576"/>
              <a:gd name="T26" fmla="*/ 25 w 576"/>
              <a:gd name="T27" fmla="*/ 531 h 576"/>
              <a:gd name="T28" fmla="*/ 218 w 576"/>
              <a:gd name="T29" fmla="*/ 501 h 576"/>
              <a:gd name="T30" fmla="*/ 364 w 576"/>
              <a:gd name="T31" fmla="*/ 489 h 576"/>
              <a:gd name="T32" fmla="*/ 517 w 576"/>
              <a:gd name="T33" fmla="*/ 318 h 576"/>
              <a:gd name="T34" fmla="*/ 449 w 576"/>
              <a:gd name="T35" fmla="*/ 292 h 576"/>
              <a:gd name="T36" fmla="*/ 315 w 576"/>
              <a:gd name="T37" fmla="*/ 355 h 576"/>
              <a:gd name="T38" fmla="*/ 154 w 576"/>
              <a:gd name="T39" fmla="*/ 366 h 576"/>
              <a:gd name="T40" fmla="*/ 100 w 576"/>
              <a:gd name="T41" fmla="*/ 421 h 576"/>
              <a:gd name="T42" fmla="*/ 25 w 576"/>
              <a:gd name="T43" fmla="*/ 25 h 576"/>
              <a:gd name="T44" fmla="*/ 552 w 576"/>
              <a:gd name="T45" fmla="*/ 552 h 576"/>
              <a:gd name="T46" fmla="*/ 333 w 576"/>
              <a:gd name="T47" fmla="*/ 112 h 576"/>
              <a:gd name="T48" fmla="*/ 370 w 576"/>
              <a:gd name="T49" fmla="*/ 193 h 576"/>
              <a:gd name="T50" fmla="*/ 206 w 576"/>
              <a:gd name="T51" fmla="*/ 193 h 576"/>
              <a:gd name="T52" fmla="*/ 243 w 576"/>
              <a:gd name="T53" fmla="*/ 112 h 576"/>
              <a:gd name="T54" fmla="*/ 333 w 576"/>
              <a:gd name="T55" fmla="*/ 112 h 576"/>
              <a:gd name="T56" fmla="*/ 288 w 576"/>
              <a:gd name="T57" fmla="*/ 102 h 576"/>
              <a:gd name="T58" fmla="*/ 169 w 576"/>
              <a:gd name="T59" fmla="*/ 161 h 576"/>
              <a:gd name="T60" fmla="*/ 188 w 576"/>
              <a:gd name="T61" fmla="*/ 210 h 576"/>
              <a:gd name="T62" fmla="*/ 271 w 576"/>
              <a:gd name="T63" fmla="*/ 297 h 576"/>
              <a:gd name="T64" fmla="*/ 306 w 576"/>
              <a:gd name="T65" fmla="*/ 297 h 576"/>
              <a:gd name="T66" fmla="*/ 388 w 576"/>
              <a:gd name="T67" fmla="*/ 210 h 576"/>
              <a:gd name="T68" fmla="*/ 407 w 576"/>
              <a:gd name="T69" fmla="*/ 16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6" h="576">
                <a:moveTo>
                  <a:pt x="576" y="0"/>
                </a:moveTo>
                <a:cubicBezTo>
                  <a:pt x="0" y="0"/>
                  <a:pt x="0" y="0"/>
                  <a:pt x="0" y="0"/>
                </a:cubicBezTo>
                <a:cubicBezTo>
                  <a:pt x="0" y="576"/>
                  <a:pt x="0" y="576"/>
                  <a:pt x="0" y="576"/>
                </a:cubicBezTo>
                <a:cubicBezTo>
                  <a:pt x="576" y="576"/>
                  <a:pt x="576" y="576"/>
                  <a:pt x="576" y="576"/>
                </a:cubicBezTo>
                <a:cubicBezTo>
                  <a:pt x="576" y="576"/>
                  <a:pt x="576" y="576"/>
                  <a:pt x="576" y="576"/>
                </a:cubicBezTo>
                <a:cubicBezTo>
                  <a:pt x="576" y="0"/>
                  <a:pt x="576" y="0"/>
                  <a:pt x="576" y="0"/>
                </a:cubicBezTo>
                <a:close/>
                <a:moveTo>
                  <a:pt x="25" y="531"/>
                </a:moveTo>
                <a:cubicBezTo>
                  <a:pt x="114" y="441"/>
                  <a:pt x="114" y="441"/>
                  <a:pt x="114" y="441"/>
                </a:cubicBezTo>
                <a:cubicBezTo>
                  <a:pt x="114" y="441"/>
                  <a:pt x="114" y="441"/>
                  <a:pt x="114" y="441"/>
                </a:cubicBezTo>
                <a:cubicBezTo>
                  <a:pt x="172" y="384"/>
                  <a:pt x="172" y="384"/>
                  <a:pt x="172" y="384"/>
                </a:cubicBezTo>
                <a:cubicBezTo>
                  <a:pt x="175" y="381"/>
                  <a:pt x="178" y="379"/>
                  <a:pt x="182" y="379"/>
                </a:cubicBezTo>
                <a:cubicBezTo>
                  <a:pt x="315" y="379"/>
                  <a:pt x="315" y="379"/>
                  <a:pt x="315" y="379"/>
                </a:cubicBezTo>
                <a:cubicBezTo>
                  <a:pt x="323" y="379"/>
                  <a:pt x="329" y="386"/>
                  <a:pt x="329" y="394"/>
                </a:cubicBezTo>
                <a:cubicBezTo>
                  <a:pt x="329" y="402"/>
                  <a:pt x="323" y="409"/>
                  <a:pt x="315" y="409"/>
                </a:cubicBezTo>
                <a:cubicBezTo>
                  <a:pt x="194" y="409"/>
                  <a:pt x="194" y="409"/>
                  <a:pt x="194" y="409"/>
                </a:cubicBezTo>
                <a:cubicBezTo>
                  <a:pt x="194" y="434"/>
                  <a:pt x="194" y="434"/>
                  <a:pt x="194" y="434"/>
                </a:cubicBezTo>
                <a:cubicBezTo>
                  <a:pt x="315" y="434"/>
                  <a:pt x="315" y="434"/>
                  <a:pt x="315" y="434"/>
                </a:cubicBezTo>
                <a:cubicBezTo>
                  <a:pt x="325" y="434"/>
                  <a:pt x="346" y="430"/>
                  <a:pt x="357" y="419"/>
                </a:cubicBezTo>
                <a:cubicBezTo>
                  <a:pt x="466" y="310"/>
                  <a:pt x="466" y="310"/>
                  <a:pt x="466" y="310"/>
                </a:cubicBezTo>
                <a:cubicBezTo>
                  <a:pt x="473" y="304"/>
                  <a:pt x="482" y="303"/>
                  <a:pt x="488" y="308"/>
                </a:cubicBezTo>
                <a:cubicBezTo>
                  <a:pt x="491" y="311"/>
                  <a:pt x="493" y="315"/>
                  <a:pt x="493" y="319"/>
                </a:cubicBezTo>
                <a:cubicBezTo>
                  <a:pt x="493" y="323"/>
                  <a:pt x="491" y="327"/>
                  <a:pt x="489" y="330"/>
                </a:cubicBezTo>
                <a:cubicBezTo>
                  <a:pt x="347" y="472"/>
                  <a:pt x="347" y="472"/>
                  <a:pt x="347" y="472"/>
                </a:cubicBezTo>
                <a:cubicBezTo>
                  <a:pt x="344" y="474"/>
                  <a:pt x="340" y="476"/>
                  <a:pt x="336" y="476"/>
                </a:cubicBezTo>
                <a:cubicBezTo>
                  <a:pt x="208" y="476"/>
                  <a:pt x="208" y="476"/>
                  <a:pt x="208" y="476"/>
                </a:cubicBezTo>
                <a:cubicBezTo>
                  <a:pt x="132" y="552"/>
                  <a:pt x="132" y="552"/>
                  <a:pt x="132" y="552"/>
                </a:cubicBezTo>
                <a:cubicBezTo>
                  <a:pt x="25" y="552"/>
                  <a:pt x="25" y="552"/>
                  <a:pt x="25" y="552"/>
                </a:cubicBezTo>
                <a:lnTo>
                  <a:pt x="25" y="531"/>
                </a:lnTo>
                <a:close/>
                <a:moveTo>
                  <a:pt x="167" y="552"/>
                </a:moveTo>
                <a:cubicBezTo>
                  <a:pt x="218" y="501"/>
                  <a:pt x="218" y="501"/>
                  <a:pt x="218" y="501"/>
                </a:cubicBezTo>
                <a:cubicBezTo>
                  <a:pt x="336" y="501"/>
                  <a:pt x="336" y="501"/>
                  <a:pt x="336" y="501"/>
                </a:cubicBezTo>
                <a:cubicBezTo>
                  <a:pt x="347" y="501"/>
                  <a:pt x="357" y="496"/>
                  <a:pt x="364" y="489"/>
                </a:cubicBezTo>
                <a:cubicBezTo>
                  <a:pt x="506" y="347"/>
                  <a:pt x="506" y="347"/>
                  <a:pt x="506" y="347"/>
                </a:cubicBezTo>
                <a:cubicBezTo>
                  <a:pt x="514" y="339"/>
                  <a:pt x="518" y="329"/>
                  <a:pt x="517" y="318"/>
                </a:cubicBezTo>
                <a:cubicBezTo>
                  <a:pt x="517" y="307"/>
                  <a:pt x="513" y="297"/>
                  <a:pt x="504" y="290"/>
                </a:cubicBezTo>
                <a:cubicBezTo>
                  <a:pt x="489" y="276"/>
                  <a:pt x="464" y="277"/>
                  <a:pt x="449" y="292"/>
                </a:cubicBezTo>
                <a:cubicBezTo>
                  <a:pt x="353" y="388"/>
                  <a:pt x="353" y="388"/>
                  <a:pt x="353" y="388"/>
                </a:cubicBezTo>
                <a:cubicBezTo>
                  <a:pt x="350" y="369"/>
                  <a:pt x="334" y="355"/>
                  <a:pt x="315" y="355"/>
                </a:cubicBezTo>
                <a:cubicBezTo>
                  <a:pt x="182" y="355"/>
                  <a:pt x="182" y="355"/>
                  <a:pt x="182" y="355"/>
                </a:cubicBezTo>
                <a:cubicBezTo>
                  <a:pt x="172" y="355"/>
                  <a:pt x="162" y="359"/>
                  <a:pt x="154" y="366"/>
                </a:cubicBezTo>
                <a:cubicBezTo>
                  <a:pt x="100" y="421"/>
                  <a:pt x="100" y="421"/>
                  <a:pt x="100" y="421"/>
                </a:cubicBezTo>
                <a:cubicBezTo>
                  <a:pt x="100" y="421"/>
                  <a:pt x="100" y="421"/>
                  <a:pt x="100" y="421"/>
                </a:cubicBezTo>
                <a:cubicBezTo>
                  <a:pt x="25" y="496"/>
                  <a:pt x="25" y="496"/>
                  <a:pt x="25" y="496"/>
                </a:cubicBezTo>
                <a:cubicBezTo>
                  <a:pt x="25" y="25"/>
                  <a:pt x="25" y="25"/>
                  <a:pt x="25" y="25"/>
                </a:cubicBezTo>
                <a:cubicBezTo>
                  <a:pt x="552" y="25"/>
                  <a:pt x="552" y="25"/>
                  <a:pt x="552" y="25"/>
                </a:cubicBezTo>
                <a:cubicBezTo>
                  <a:pt x="552" y="552"/>
                  <a:pt x="552" y="552"/>
                  <a:pt x="552" y="552"/>
                </a:cubicBezTo>
                <a:lnTo>
                  <a:pt x="167" y="552"/>
                </a:lnTo>
                <a:close/>
                <a:moveTo>
                  <a:pt x="333" y="112"/>
                </a:moveTo>
                <a:cubicBezTo>
                  <a:pt x="360" y="112"/>
                  <a:pt x="382" y="134"/>
                  <a:pt x="382" y="161"/>
                </a:cubicBezTo>
                <a:cubicBezTo>
                  <a:pt x="382" y="173"/>
                  <a:pt x="378" y="185"/>
                  <a:pt x="370" y="193"/>
                </a:cubicBezTo>
                <a:cubicBezTo>
                  <a:pt x="288" y="280"/>
                  <a:pt x="288" y="280"/>
                  <a:pt x="288" y="280"/>
                </a:cubicBezTo>
                <a:cubicBezTo>
                  <a:pt x="206" y="193"/>
                  <a:pt x="206" y="193"/>
                  <a:pt x="206" y="193"/>
                </a:cubicBezTo>
                <a:cubicBezTo>
                  <a:pt x="199" y="185"/>
                  <a:pt x="194" y="173"/>
                  <a:pt x="194" y="161"/>
                </a:cubicBezTo>
                <a:cubicBezTo>
                  <a:pt x="194" y="134"/>
                  <a:pt x="216" y="112"/>
                  <a:pt x="243" y="112"/>
                </a:cubicBezTo>
                <a:cubicBezTo>
                  <a:pt x="263" y="112"/>
                  <a:pt x="281" y="124"/>
                  <a:pt x="288" y="141"/>
                </a:cubicBezTo>
                <a:cubicBezTo>
                  <a:pt x="296" y="124"/>
                  <a:pt x="313" y="112"/>
                  <a:pt x="333" y="112"/>
                </a:cubicBezTo>
                <a:moveTo>
                  <a:pt x="333" y="87"/>
                </a:moveTo>
                <a:cubicBezTo>
                  <a:pt x="317" y="87"/>
                  <a:pt x="301" y="93"/>
                  <a:pt x="288" y="102"/>
                </a:cubicBezTo>
                <a:cubicBezTo>
                  <a:pt x="276" y="93"/>
                  <a:pt x="260" y="87"/>
                  <a:pt x="243" y="87"/>
                </a:cubicBezTo>
                <a:cubicBezTo>
                  <a:pt x="202" y="87"/>
                  <a:pt x="169" y="120"/>
                  <a:pt x="169" y="161"/>
                </a:cubicBezTo>
                <a:cubicBezTo>
                  <a:pt x="169" y="179"/>
                  <a:pt x="176" y="196"/>
                  <a:pt x="188" y="210"/>
                </a:cubicBezTo>
                <a:cubicBezTo>
                  <a:pt x="188" y="210"/>
                  <a:pt x="188" y="210"/>
                  <a:pt x="188" y="210"/>
                </a:cubicBezTo>
                <a:cubicBezTo>
                  <a:pt x="188" y="210"/>
                  <a:pt x="188" y="210"/>
                  <a:pt x="188" y="210"/>
                </a:cubicBezTo>
                <a:cubicBezTo>
                  <a:pt x="271" y="297"/>
                  <a:pt x="271" y="297"/>
                  <a:pt x="271" y="297"/>
                </a:cubicBezTo>
                <a:cubicBezTo>
                  <a:pt x="288" y="316"/>
                  <a:pt x="288" y="316"/>
                  <a:pt x="288" y="316"/>
                </a:cubicBezTo>
                <a:cubicBezTo>
                  <a:pt x="306" y="297"/>
                  <a:pt x="306" y="297"/>
                  <a:pt x="306" y="297"/>
                </a:cubicBezTo>
                <a:cubicBezTo>
                  <a:pt x="388" y="210"/>
                  <a:pt x="388" y="210"/>
                  <a:pt x="388" y="210"/>
                </a:cubicBezTo>
                <a:cubicBezTo>
                  <a:pt x="388" y="210"/>
                  <a:pt x="388" y="210"/>
                  <a:pt x="388" y="210"/>
                </a:cubicBezTo>
                <a:cubicBezTo>
                  <a:pt x="389" y="210"/>
                  <a:pt x="389" y="210"/>
                  <a:pt x="389" y="210"/>
                </a:cubicBezTo>
                <a:cubicBezTo>
                  <a:pt x="401" y="196"/>
                  <a:pt x="407" y="179"/>
                  <a:pt x="407" y="161"/>
                </a:cubicBezTo>
                <a:cubicBezTo>
                  <a:pt x="407" y="120"/>
                  <a:pt x="374" y="87"/>
                  <a:pt x="333" y="87"/>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2250"/>
          </a:p>
        </p:txBody>
      </p:sp>
      <p:sp>
        <p:nvSpPr>
          <p:cNvPr id="54" name="Freeform 82">
            <a:extLst>
              <a:ext uri="{FF2B5EF4-FFF2-40B4-BE49-F238E27FC236}">
                <a16:creationId xmlns:a16="http://schemas.microsoft.com/office/drawing/2014/main" id="{03CA7DFD-86E7-4B67-9097-7DC6E2D7A7D0}"/>
              </a:ext>
            </a:extLst>
          </p:cNvPr>
          <p:cNvSpPr>
            <a:spLocks noChangeAspect="1" noEditPoints="1"/>
          </p:cNvSpPr>
          <p:nvPr/>
        </p:nvSpPr>
        <p:spPr bwMode="auto">
          <a:xfrm>
            <a:off x="3423531" y="3293031"/>
            <a:ext cx="416163" cy="416101"/>
          </a:xfrm>
          <a:custGeom>
            <a:avLst/>
            <a:gdLst>
              <a:gd name="T0" fmla="*/ 3997 w 6682"/>
              <a:gd name="T1" fmla="*/ 4705 h 6681"/>
              <a:gd name="T2" fmla="*/ 3819 w 6682"/>
              <a:gd name="T3" fmla="*/ 4441 h 6681"/>
              <a:gd name="T4" fmla="*/ 3565 w 6682"/>
              <a:gd name="T5" fmla="*/ 4297 h 6681"/>
              <a:gd name="T6" fmla="*/ 3281 w 6682"/>
              <a:gd name="T7" fmla="*/ 4277 h 6681"/>
              <a:gd name="T8" fmla="*/ 3013 w 6682"/>
              <a:gd name="T9" fmla="*/ 4379 h 6681"/>
              <a:gd name="T10" fmla="*/ 2793 w 6682"/>
              <a:gd name="T11" fmla="*/ 4617 h 6681"/>
              <a:gd name="T12" fmla="*/ 4209 w 6682"/>
              <a:gd name="T13" fmla="*/ 3529 h 6681"/>
              <a:gd name="T14" fmla="*/ 4401 w 6682"/>
              <a:gd name="T15" fmla="*/ 3833 h 6681"/>
              <a:gd name="T16" fmla="*/ 4651 w 6682"/>
              <a:gd name="T17" fmla="*/ 3975 h 6681"/>
              <a:gd name="T18" fmla="*/ 4939 w 6682"/>
              <a:gd name="T19" fmla="*/ 3997 h 6681"/>
              <a:gd name="T20" fmla="*/ 5402 w 6682"/>
              <a:gd name="T21" fmla="*/ 3699 h 6681"/>
              <a:gd name="T22" fmla="*/ 5490 w 6682"/>
              <a:gd name="T23" fmla="*/ 3483 h 6681"/>
              <a:gd name="T24" fmla="*/ 3233 w 6682"/>
              <a:gd name="T25" fmla="*/ 5279 h 6681"/>
              <a:gd name="T26" fmla="*/ 3029 w 6682"/>
              <a:gd name="T27" fmla="*/ 5075 h 6681"/>
              <a:gd name="T28" fmla="*/ 3029 w 6682"/>
              <a:gd name="T29" fmla="*/ 4787 h 6681"/>
              <a:gd name="T30" fmla="*/ 3235 w 6682"/>
              <a:gd name="T31" fmla="*/ 4583 h 6681"/>
              <a:gd name="T32" fmla="*/ 3519 w 6682"/>
              <a:gd name="T33" fmla="*/ 4583 h 6681"/>
              <a:gd name="T34" fmla="*/ 3725 w 6682"/>
              <a:gd name="T35" fmla="*/ 4787 h 6681"/>
              <a:gd name="T36" fmla="*/ 3725 w 6682"/>
              <a:gd name="T37" fmla="*/ 5075 h 6681"/>
              <a:gd name="T38" fmla="*/ 3521 w 6682"/>
              <a:gd name="T39" fmla="*/ 5279 h 6681"/>
              <a:gd name="T40" fmla="*/ 5054 w 6682"/>
              <a:gd name="T41" fmla="*/ 3655 h 6681"/>
              <a:gd name="T42" fmla="*/ 4771 w 6682"/>
              <a:gd name="T43" fmla="*/ 3711 h 6681"/>
              <a:gd name="T44" fmla="*/ 4531 w 6682"/>
              <a:gd name="T45" fmla="*/ 3551 h 6681"/>
              <a:gd name="T46" fmla="*/ 4475 w 6682"/>
              <a:gd name="T47" fmla="*/ 3270 h 6681"/>
              <a:gd name="T48" fmla="*/ 4637 w 6682"/>
              <a:gd name="T49" fmla="*/ 3030 h 6681"/>
              <a:gd name="T50" fmla="*/ 4917 w 6682"/>
              <a:gd name="T51" fmla="*/ 2974 h 6681"/>
              <a:gd name="T52" fmla="*/ 5160 w 6682"/>
              <a:gd name="T53" fmla="*/ 3136 h 6681"/>
              <a:gd name="T54" fmla="*/ 5206 w 6682"/>
              <a:gd name="T55" fmla="*/ 3449 h 6681"/>
              <a:gd name="T56" fmla="*/ 5478 w 6682"/>
              <a:gd name="T57" fmla="*/ 3154 h 6681"/>
              <a:gd name="T58" fmla="*/ 5312 w 6682"/>
              <a:gd name="T59" fmla="*/ 2876 h 6681"/>
              <a:gd name="T60" fmla="*/ 5064 w 6682"/>
              <a:gd name="T61" fmla="*/ 2720 h 6681"/>
              <a:gd name="T62" fmla="*/ 4781 w 6682"/>
              <a:gd name="T63" fmla="*/ 2686 h 6681"/>
              <a:gd name="T64" fmla="*/ 4509 w 6682"/>
              <a:gd name="T65" fmla="*/ 2774 h 6681"/>
              <a:gd name="T66" fmla="*/ 4289 w 6682"/>
              <a:gd name="T67" fmla="*/ 2986 h 6681"/>
              <a:gd name="T68" fmla="*/ 1014 w 6682"/>
              <a:gd name="T69" fmla="*/ 1884 h 6681"/>
              <a:gd name="T70" fmla="*/ 1192 w 6682"/>
              <a:gd name="T71" fmla="*/ 2212 h 6681"/>
              <a:gd name="T72" fmla="*/ 1440 w 6682"/>
              <a:gd name="T73" fmla="*/ 2370 h 6681"/>
              <a:gd name="T74" fmla="*/ 1707 w 6682"/>
              <a:gd name="T75" fmla="*/ 2404 h 6681"/>
              <a:gd name="T76" fmla="*/ 2585 w 6682"/>
              <a:gd name="T77" fmla="*/ 2468 h 6681"/>
              <a:gd name="T78" fmla="*/ 2299 w 6682"/>
              <a:gd name="T79" fmla="*/ 1914 h 6681"/>
              <a:gd name="T80" fmla="*/ 1835 w 6682"/>
              <a:gd name="T81" fmla="*/ 2078 h 6681"/>
              <a:gd name="T82" fmla="*/ 1518 w 6682"/>
              <a:gd name="T83" fmla="*/ 2094 h 6681"/>
              <a:gd name="T84" fmla="*/ 1312 w 6682"/>
              <a:gd name="T85" fmla="*/ 1890 h 6681"/>
              <a:gd name="T86" fmla="*/ 1312 w 6682"/>
              <a:gd name="T87" fmla="*/ 1600 h 6681"/>
              <a:gd name="T88" fmla="*/ 1518 w 6682"/>
              <a:gd name="T89" fmla="*/ 1396 h 6681"/>
              <a:gd name="T90" fmla="*/ 1803 w 6682"/>
              <a:gd name="T91" fmla="*/ 1396 h 6681"/>
              <a:gd name="T92" fmla="*/ 2009 w 6682"/>
              <a:gd name="T93" fmla="*/ 1600 h 6681"/>
              <a:gd name="T94" fmla="*/ 2009 w 6682"/>
              <a:gd name="T95" fmla="*/ 1890 h 6681"/>
              <a:gd name="T96" fmla="*/ 2305 w 6682"/>
              <a:gd name="T97" fmla="*/ 1600 h 6681"/>
              <a:gd name="T98" fmla="*/ 2129 w 6682"/>
              <a:gd name="T99" fmla="*/ 1278 h 6681"/>
              <a:gd name="T100" fmla="*/ 1879 w 6682"/>
              <a:gd name="T101" fmla="*/ 1122 h 6681"/>
              <a:gd name="T102" fmla="*/ 1596 w 6682"/>
              <a:gd name="T103" fmla="*/ 1088 h 6681"/>
              <a:gd name="T104" fmla="*/ 1324 w 6682"/>
              <a:gd name="T105" fmla="*/ 1176 h 6681"/>
              <a:gd name="T106" fmla="*/ 1104 w 6682"/>
              <a:gd name="T107" fmla="*/ 1386 h 6681"/>
              <a:gd name="T108" fmla="*/ 284 w 6682"/>
              <a:gd name="T109" fmla="*/ 6395 h 6681"/>
              <a:gd name="T110" fmla="*/ 2847 w 6682"/>
              <a:gd name="T111" fmla="*/ 5329 h 6681"/>
              <a:gd name="T112" fmla="*/ 3065 w 6682"/>
              <a:gd name="T113" fmla="*/ 5515 h 6681"/>
              <a:gd name="T114" fmla="*/ 3343 w 6682"/>
              <a:gd name="T115" fmla="*/ 5591 h 6681"/>
              <a:gd name="T116" fmla="*/ 3691 w 6682"/>
              <a:gd name="T117" fmla="*/ 5513 h 6681"/>
              <a:gd name="T118" fmla="*/ 3985 w 6682"/>
              <a:gd name="T119" fmla="*/ 5187 h 6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82" h="6681">
                <a:moveTo>
                  <a:pt x="0" y="0"/>
                </a:moveTo>
                <a:lnTo>
                  <a:pt x="0" y="6681"/>
                </a:lnTo>
                <a:lnTo>
                  <a:pt x="6682" y="6681"/>
                </a:lnTo>
                <a:lnTo>
                  <a:pt x="6682" y="0"/>
                </a:lnTo>
                <a:lnTo>
                  <a:pt x="0" y="0"/>
                </a:lnTo>
                <a:close/>
                <a:moveTo>
                  <a:pt x="4023" y="4797"/>
                </a:moveTo>
                <a:lnTo>
                  <a:pt x="4023" y="4797"/>
                </a:lnTo>
                <a:lnTo>
                  <a:pt x="4013" y="4751"/>
                </a:lnTo>
                <a:lnTo>
                  <a:pt x="3997" y="4705"/>
                </a:lnTo>
                <a:lnTo>
                  <a:pt x="3979" y="4661"/>
                </a:lnTo>
                <a:lnTo>
                  <a:pt x="3959" y="4617"/>
                </a:lnTo>
                <a:lnTo>
                  <a:pt x="3935" y="4577"/>
                </a:lnTo>
                <a:lnTo>
                  <a:pt x="3907" y="4537"/>
                </a:lnTo>
                <a:lnTo>
                  <a:pt x="3877" y="4499"/>
                </a:lnTo>
                <a:lnTo>
                  <a:pt x="3843" y="4463"/>
                </a:lnTo>
                <a:lnTo>
                  <a:pt x="3843" y="4463"/>
                </a:lnTo>
                <a:lnTo>
                  <a:pt x="3843" y="4463"/>
                </a:lnTo>
                <a:lnTo>
                  <a:pt x="3819" y="4441"/>
                </a:lnTo>
                <a:lnTo>
                  <a:pt x="3793" y="4419"/>
                </a:lnTo>
                <a:lnTo>
                  <a:pt x="3767" y="4397"/>
                </a:lnTo>
                <a:lnTo>
                  <a:pt x="3741" y="4379"/>
                </a:lnTo>
                <a:lnTo>
                  <a:pt x="3713" y="4361"/>
                </a:lnTo>
                <a:lnTo>
                  <a:pt x="3683" y="4345"/>
                </a:lnTo>
                <a:lnTo>
                  <a:pt x="3655" y="4331"/>
                </a:lnTo>
                <a:lnTo>
                  <a:pt x="3625" y="4319"/>
                </a:lnTo>
                <a:lnTo>
                  <a:pt x="3595" y="4307"/>
                </a:lnTo>
                <a:lnTo>
                  <a:pt x="3565" y="4297"/>
                </a:lnTo>
                <a:lnTo>
                  <a:pt x="3533" y="4289"/>
                </a:lnTo>
                <a:lnTo>
                  <a:pt x="3503" y="4283"/>
                </a:lnTo>
                <a:lnTo>
                  <a:pt x="3471" y="4277"/>
                </a:lnTo>
                <a:lnTo>
                  <a:pt x="3439" y="4273"/>
                </a:lnTo>
                <a:lnTo>
                  <a:pt x="3409" y="4271"/>
                </a:lnTo>
                <a:lnTo>
                  <a:pt x="3377" y="4271"/>
                </a:lnTo>
                <a:lnTo>
                  <a:pt x="3345" y="4271"/>
                </a:lnTo>
                <a:lnTo>
                  <a:pt x="3313" y="4273"/>
                </a:lnTo>
                <a:lnTo>
                  <a:pt x="3281" y="4277"/>
                </a:lnTo>
                <a:lnTo>
                  <a:pt x="3249" y="4283"/>
                </a:lnTo>
                <a:lnTo>
                  <a:pt x="3219" y="4289"/>
                </a:lnTo>
                <a:lnTo>
                  <a:pt x="3187" y="4297"/>
                </a:lnTo>
                <a:lnTo>
                  <a:pt x="3157" y="4307"/>
                </a:lnTo>
                <a:lnTo>
                  <a:pt x="3127" y="4319"/>
                </a:lnTo>
                <a:lnTo>
                  <a:pt x="3097" y="4331"/>
                </a:lnTo>
                <a:lnTo>
                  <a:pt x="3069" y="4345"/>
                </a:lnTo>
                <a:lnTo>
                  <a:pt x="3041" y="4361"/>
                </a:lnTo>
                <a:lnTo>
                  <a:pt x="3013" y="4379"/>
                </a:lnTo>
                <a:lnTo>
                  <a:pt x="2985" y="4397"/>
                </a:lnTo>
                <a:lnTo>
                  <a:pt x="2959" y="4419"/>
                </a:lnTo>
                <a:lnTo>
                  <a:pt x="2933" y="4441"/>
                </a:lnTo>
                <a:lnTo>
                  <a:pt x="2909" y="4463"/>
                </a:lnTo>
                <a:lnTo>
                  <a:pt x="2909" y="4463"/>
                </a:lnTo>
                <a:lnTo>
                  <a:pt x="2875" y="4499"/>
                </a:lnTo>
                <a:lnTo>
                  <a:pt x="2845" y="4537"/>
                </a:lnTo>
                <a:lnTo>
                  <a:pt x="2817" y="4577"/>
                </a:lnTo>
                <a:lnTo>
                  <a:pt x="2793" y="4617"/>
                </a:lnTo>
                <a:lnTo>
                  <a:pt x="2773" y="4661"/>
                </a:lnTo>
                <a:lnTo>
                  <a:pt x="2755" y="4705"/>
                </a:lnTo>
                <a:lnTo>
                  <a:pt x="2741" y="4751"/>
                </a:lnTo>
                <a:lnTo>
                  <a:pt x="2729" y="4797"/>
                </a:lnTo>
                <a:lnTo>
                  <a:pt x="284" y="4797"/>
                </a:lnTo>
                <a:lnTo>
                  <a:pt x="284" y="3483"/>
                </a:lnTo>
                <a:lnTo>
                  <a:pt x="4199" y="3483"/>
                </a:lnTo>
                <a:lnTo>
                  <a:pt x="4199" y="3483"/>
                </a:lnTo>
                <a:lnTo>
                  <a:pt x="4209" y="3529"/>
                </a:lnTo>
                <a:lnTo>
                  <a:pt x="4225" y="3573"/>
                </a:lnTo>
                <a:lnTo>
                  <a:pt x="4243" y="3617"/>
                </a:lnTo>
                <a:lnTo>
                  <a:pt x="4263" y="3659"/>
                </a:lnTo>
                <a:lnTo>
                  <a:pt x="4287" y="3699"/>
                </a:lnTo>
                <a:lnTo>
                  <a:pt x="4313" y="3737"/>
                </a:lnTo>
                <a:lnTo>
                  <a:pt x="4343" y="3775"/>
                </a:lnTo>
                <a:lnTo>
                  <a:pt x="4377" y="3809"/>
                </a:lnTo>
                <a:lnTo>
                  <a:pt x="4377" y="3809"/>
                </a:lnTo>
                <a:lnTo>
                  <a:pt x="4401" y="3833"/>
                </a:lnTo>
                <a:lnTo>
                  <a:pt x="4425" y="3855"/>
                </a:lnTo>
                <a:lnTo>
                  <a:pt x="4451" y="3875"/>
                </a:lnTo>
                <a:lnTo>
                  <a:pt x="4477" y="3893"/>
                </a:lnTo>
                <a:lnTo>
                  <a:pt x="4505" y="3911"/>
                </a:lnTo>
                <a:lnTo>
                  <a:pt x="4533" y="3927"/>
                </a:lnTo>
                <a:lnTo>
                  <a:pt x="4561" y="3941"/>
                </a:lnTo>
                <a:lnTo>
                  <a:pt x="4591" y="3953"/>
                </a:lnTo>
                <a:lnTo>
                  <a:pt x="4621" y="3965"/>
                </a:lnTo>
                <a:lnTo>
                  <a:pt x="4651" y="3975"/>
                </a:lnTo>
                <a:lnTo>
                  <a:pt x="4683" y="3983"/>
                </a:lnTo>
                <a:lnTo>
                  <a:pt x="4715" y="3991"/>
                </a:lnTo>
                <a:lnTo>
                  <a:pt x="4747" y="3997"/>
                </a:lnTo>
                <a:lnTo>
                  <a:pt x="4779" y="4001"/>
                </a:lnTo>
                <a:lnTo>
                  <a:pt x="4811" y="4003"/>
                </a:lnTo>
                <a:lnTo>
                  <a:pt x="4845" y="4003"/>
                </a:lnTo>
                <a:lnTo>
                  <a:pt x="4845" y="4003"/>
                </a:lnTo>
                <a:lnTo>
                  <a:pt x="4891" y="4003"/>
                </a:lnTo>
                <a:lnTo>
                  <a:pt x="4939" y="3997"/>
                </a:lnTo>
                <a:lnTo>
                  <a:pt x="4985" y="3989"/>
                </a:lnTo>
                <a:lnTo>
                  <a:pt x="5032" y="3977"/>
                </a:lnTo>
                <a:lnTo>
                  <a:pt x="5076" y="3963"/>
                </a:lnTo>
                <a:lnTo>
                  <a:pt x="5118" y="3945"/>
                </a:lnTo>
                <a:lnTo>
                  <a:pt x="5160" y="3923"/>
                </a:lnTo>
                <a:lnTo>
                  <a:pt x="5200" y="3899"/>
                </a:lnTo>
                <a:lnTo>
                  <a:pt x="5568" y="4267"/>
                </a:lnTo>
                <a:lnTo>
                  <a:pt x="5770" y="4065"/>
                </a:lnTo>
                <a:lnTo>
                  <a:pt x="5402" y="3699"/>
                </a:lnTo>
                <a:lnTo>
                  <a:pt x="5402" y="3699"/>
                </a:lnTo>
                <a:lnTo>
                  <a:pt x="5418" y="3673"/>
                </a:lnTo>
                <a:lnTo>
                  <a:pt x="5432" y="3647"/>
                </a:lnTo>
                <a:lnTo>
                  <a:pt x="5444" y="3621"/>
                </a:lnTo>
                <a:lnTo>
                  <a:pt x="5456" y="3593"/>
                </a:lnTo>
                <a:lnTo>
                  <a:pt x="5466" y="3567"/>
                </a:lnTo>
                <a:lnTo>
                  <a:pt x="5476" y="3539"/>
                </a:lnTo>
                <a:lnTo>
                  <a:pt x="5484" y="3511"/>
                </a:lnTo>
                <a:lnTo>
                  <a:pt x="5490" y="3483"/>
                </a:lnTo>
                <a:lnTo>
                  <a:pt x="6396" y="3483"/>
                </a:lnTo>
                <a:lnTo>
                  <a:pt x="6396" y="4797"/>
                </a:lnTo>
                <a:lnTo>
                  <a:pt x="4023" y="4797"/>
                </a:lnTo>
                <a:close/>
                <a:moveTo>
                  <a:pt x="3377" y="5307"/>
                </a:moveTo>
                <a:lnTo>
                  <a:pt x="3377" y="5307"/>
                </a:lnTo>
                <a:lnTo>
                  <a:pt x="3339" y="5305"/>
                </a:lnTo>
                <a:lnTo>
                  <a:pt x="3303" y="5301"/>
                </a:lnTo>
                <a:lnTo>
                  <a:pt x="3267" y="5291"/>
                </a:lnTo>
                <a:lnTo>
                  <a:pt x="3233" y="5279"/>
                </a:lnTo>
                <a:lnTo>
                  <a:pt x="3199" y="5263"/>
                </a:lnTo>
                <a:lnTo>
                  <a:pt x="3167" y="5245"/>
                </a:lnTo>
                <a:lnTo>
                  <a:pt x="3137" y="5223"/>
                </a:lnTo>
                <a:lnTo>
                  <a:pt x="3111" y="5197"/>
                </a:lnTo>
                <a:lnTo>
                  <a:pt x="3111" y="5197"/>
                </a:lnTo>
                <a:lnTo>
                  <a:pt x="3085" y="5169"/>
                </a:lnTo>
                <a:lnTo>
                  <a:pt x="3063" y="5139"/>
                </a:lnTo>
                <a:lnTo>
                  <a:pt x="3043" y="5109"/>
                </a:lnTo>
                <a:lnTo>
                  <a:pt x="3029" y="5075"/>
                </a:lnTo>
                <a:lnTo>
                  <a:pt x="3015" y="5041"/>
                </a:lnTo>
                <a:lnTo>
                  <a:pt x="3007" y="5005"/>
                </a:lnTo>
                <a:lnTo>
                  <a:pt x="3001" y="4969"/>
                </a:lnTo>
                <a:lnTo>
                  <a:pt x="2999" y="4931"/>
                </a:lnTo>
                <a:lnTo>
                  <a:pt x="2999" y="4931"/>
                </a:lnTo>
                <a:lnTo>
                  <a:pt x="3001" y="4893"/>
                </a:lnTo>
                <a:lnTo>
                  <a:pt x="3007" y="4857"/>
                </a:lnTo>
                <a:lnTo>
                  <a:pt x="3015" y="4821"/>
                </a:lnTo>
                <a:lnTo>
                  <a:pt x="3029" y="4787"/>
                </a:lnTo>
                <a:lnTo>
                  <a:pt x="3043" y="4753"/>
                </a:lnTo>
                <a:lnTo>
                  <a:pt x="3063" y="4723"/>
                </a:lnTo>
                <a:lnTo>
                  <a:pt x="3085" y="4693"/>
                </a:lnTo>
                <a:lnTo>
                  <a:pt x="3111" y="4665"/>
                </a:lnTo>
                <a:lnTo>
                  <a:pt x="3111" y="4665"/>
                </a:lnTo>
                <a:lnTo>
                  <a:pt x="3139" y="4639"/>
                </a:lnTo>
                <a:lnTo>
                  <a:pt x="3169" y="4617"/>
                </a:lnTo>
                <a:lnTo>
                  <a:pt x="3201" y="4597"/>
                </a:lnTo>
                <a:lnTo>
                  <a:pt x="3235" y="4583"/>
                </a:lnTo>
                <a:lnTo>
                  <a:pt x="3269" y="4571"/>
                </a:lnTo>
                <a:lnTo>
                  <a:pt x="3305" y="4561"/>
                </a:lnTo>
                <a:lnTo>
                  <a:pt x="3341" y="4557"/>
                </a:lnTo>
                <a:lnTo>
                  <a:pt x="3377" y="4555"/>
                </a:lnTo>
                <a:lnTo>
                  <a:pt x="3377" y="4555"/>
                </a:lnTo>
                <a:lnTo>
                  <a:pt x="3413" y="4557"/>
                </a:lnTo>
                <a:lnTo>
                  <a:pt x="3449" y="4561"/>
                </a:lnTo>
                <a:lnTo>
                  <a:pt x="3483" y="4571"/>
                </a:lnTo>
                <a:lnTo>
                  <a:pt x="3519" y="4583"/>
                </a:lnTo>
                <a:lnTo>
                  <a:pt x="3551" y="4597"/>
                </a:lnTo>
                <a:lnTo>
                  <a:pt x="3583" y="4617"/>
                </a:lnTo>
                <a:lnTo>
                  <a:pt x="3613" y="4639"/>
                </a:lnTo>
                <a:lnTo>
                  <a:pt x="3643" y="4665"/>
                </a:lnTo>
                <a:lnTo>
                  <a:pt x="3643" y="4665"/>
                </a:lnTo>
                <a:lnTo>
                  <a:pt x="3667" y="4693"/>
                </a:lnTo>
                <a:lnTo>
                  <a:pt x="3689" y="4723"/>
                </a:lnTo>
                <a:lnTo>
                  <a:pt x="3709" y="4753"/>
                </a:lnTo>
                <a:lnTo>
                  <a:pt x="3725" y="4787"/>
                </a:lnTo>
                <a:lnTo>
                  <a:pt x="3737" y="4821"/>
                </a:lnTo>
                <a:lnTo>
                  <a:pt x="3745" y="4857"/>
                </a:lnTo>
                <a:lnTo>
                  <a:pt x="3751" y="4893"/>
                </a:lnTo>
                <a:lnTo>
                  <a:pt x="3753" y="4931"/>
                </a:lnTo>
                <a:lnTo>
                  <a:pt x="3753" y="4931"/>
                </a:lnTo>
                <a:lnTo>
                  <a:pt x="3751" y="4969"/>
                </a:lnTo>
                <a:lnTo>
                  <a:pt x="3745" y="5005"/>
                </a:lnTo>
                <a:lnTo>
                  <a:pt x="3737" y="5041"/>
                </a:lnTo>
                <a:lnTo>
                  <a:pt x="3725" y="5075"/>
                </a:lnTo>
                <a:lnTo>
                  <a:pt x="3709" y="5109"/>
                </a:lnTo>
                <a:lnTo>
                  <a:pt x="3689" y="5139"/>
                </a:lnTo>
                <a:lnTo>
                  <a:pt x="3667" y="5169"/>
                </a:lnTo>
                <a:lnTo>
                  <a:pt x="3643" y="5197"/>
                </a:lnTo>
                <a:lnTo>
                  <a:pt x="3643" y="5197"/>
                </a:lnTo>
                <a:lnTo>
                  <a:pt x="3615" y="5223"/>
                </a:lnTo>
                <a:lnTo>
                  <a:pt x="3585" y="5245"/>
                </a:lnTo>
                <a:lnTo>
                  <a:pt x="3553" y="5263"/>
                </a:lnTo>
                <a:lnTo>
                  <a:pt x="3521" y="5279"/>
                </a:lnTo>
                <a:lnTo>
                  <a:pt x="3485" y="5291"/>
                </a:lnTo>
                <a:lnTo>
                  <a:pt x="3451" y="5301"/>
                </a:lnTo>
                <a:lnTo>
                  <a:pt x="3413" y="5305"/>
                </a:lnTo>
                <a:lnTo>
                  <a:pt x="3377" y="5307"/>
                </a:lnTo>
                <a:lnTo>
                  <a:pt x="3377" y="5307"/>
                </a:lnTo>
                <a:close/>
                <a:moveTo>
                  <a:pt x="5112" y="3609"/>
                </a:moveTo>
                <a:lnTo>
                  <a:pt x="5112" y="3609"/>
                </a:lnTo>
                <a:lnTo>
                  <a:pt x="5084" y="3633"/>
                </a:lnTo>
                <a:lnTo>
                  <a:pt x="5054" y="3655"/>
                </a:lnTo>
                <a:lnTo>
                  <a:pt x="5022" y="3675"/>
                </a:lnTo>
                <a:lnTo>
                  <a:pt x="4989" y="3691"/>
                </a:lnTo>
                <a:lnTo>
                  <a:pt x="4953" y="3703"/>
                </a:lnTo>
                <a:lnTo>
                  <a:pt x="4919" y="3711"/>
                </a:lnTo>
                <a:lnTo>
                  <a:pt x="4881" y="3717"/>
                </a:lnTo>
                <a:lnTo>
                  <a:pt x="4845" y="3719"/>
                </a:lnTo>
                <a:lnTo>
                  <a:pt x="4845" y="3719"/>
                </a:lnTo>
                <a:lnTo>
                  <a:pt x="4807" y="3717"/>
                </a:lnTo>
                <a:lnTo>
                  <a:pt x="4771" y="3711"/>
                </a:lnTo>
                <a:lnTo>
                  <a:pt x="4735" y="3703"/>
                </a:lnTo>
                <a:lnTo>
                  <a:pt x="4701" y="3691"/>
                </a:lnTo>
                <a:lnTo>
                  <a:pt x="4667" y="3675"/>
                </a:lnTo>
                <a:lnTo>
                  <a:pt x="4635" y="3655"/>
                </a:lnTo>
                <a:lnTo>
                  <a:pt x="4605" y="3633"/>
                </a:lnTo>
                <a:lnTo>
                  <a:pt x="4579" y="3609"/>
                </a:lnTo>
                <a:lnTo>
                  <a:pt x="4579" y="3609"/>
                </a:lnTo>
                <a:lnTo>
                  <a:pt x="4553" y="3581"/>
                </a:lnTo>
                <a:lnTo>
                  <a:pt x="4531" y="3551"/>
                </a:lnTo>
                <a:lnTo>
                  <a:pt x="4511" y="3519"/>
                </a:lnTo>
                <a:lnTo>
                  <a:pt x="4497" y="3487"/>
                </a:lnTo>
                <a:lnTo>
                  <a:pt x="4483" y="3453"/>
                </a:lnTo>
                <a:lnTo>
                  <a:pt x="4475" y="3417"/>
                </a:lnTo>
                <a:lnTo>
                  <a:pt x="4469" y="3379"/>
                </a:lnTo>
                <a:lnTo>
                  <a:pt x="4467" y="3343"/>
                </a:lnTo>
                <a:lnTo>
                  <a:pt x="4467" y="3343"/>
                </a:lnTo>
                <a:lnTo>
                  <a:pt x="4469" y="3306"/>
                </a:lnTo>
                <a:lnTo>
                  <a:pt x="4475" y="3270"/>
                </a:lnTo>
                <a:lnTo>
                  <a:pt x="4483" y="3234"/>
                </a:lnTo>
                <a:lnTo>
                  <a:pt x="4497" y="3200"/>
                </a:lnTo>
                <a:lnTo>
                  <a:pt x="4511" y="3166"/>
                </a:lnTo>
                <a:lnTo>
                  <a:pt x="4531" y="3134"/>
                </a:lnTo>
                <a:lnTo>
                  <a:pt x="4553" y="3104"/>
                </a:lnTo>
                <a:lnTo>
                  <a:pt x="4579" y="3078"/>
                </a:lnTo>
                <a:lnTo>
                  <a:pt x="4579" y="3078"/>
                </a:lnTo>
                <a:lnTo>
                  <a:pt x="4607" y="3052"/>
                </a:lnTo>
                <a:lnTo>
                  <a:pt x="4637" y="3030"/>
                </a:lnTo>
                <a:lnTo>
                  <a:pt x="4669" y="3010"/>
                </a:lnTo>
                <a:lnTo>
                  <a:pt x="4703" y="2994"/>
                </a:lnTo>
                <a:lnTo>
                  <a:pt x="4737" y="2982"/>
                </a:lnTo>
                <a:lnTo>
                  <a:pt x="4773" y="2974"/>
                </a:lnTo>
                <a:lnTo>
                  <a:pt x="4809" y="2968"/>
                </a:lnTo>
                <a:lnTo>
                  <a:pt x="4845" y="2968"/>
                </a:lnTo>
                <a:lnTo>
                  <a:pt x="4845" y="2968"/>
                </a:lnTo>
                <a:lnTo>
                  <a:pt x="4881" y="2968"/>
                </a:lnTo>
                <a:lnTo>
                  <a:pt x="4917" y="2974"/>
                </a:lnTo>
                <a:lnTo>
                  <a:pt x="4951" y="2982"/>
                </a:lnTo>
                <a:lnTo>
                  <a:pt x="4985" y="2994"/>
                </a:lnTo>
                <a:lnTo>
                  <a:pt x="5020" y="3010"/>
                </a:lnTo>
                <a:lnTo>
                  <a:pt x="5052" y="3028"/>
                </a:lnTo>
                <a:lnTo>
                  <a:pt x="5082" y="3052"/>
                </a:lnTo>
                <a:lnTo>
                  <a:pt x="5112" y="3078"/>
                </a:lnTo>
                <a:lnTo>
                  <a:pt x="5112" y="3078"/>
                </a:lnTo>
                <a:lnTo>
                  <a:pt x="5138" y="3106"/>
                </a:lnTo>
                <a:lnTo>
                  <a:pt x="5160" y="3136"/>
                </a:lnTo>
                <a:lnTo>
                  <a:pt x="5178" y="3168"/>
                </a:lnTo>
                <a:lnTo>
                  <a:pt x="5194" y="3202"/>
                </a:lnTo>
                <a:lnTo>
                  <a:pt x="5206" y="3236"/>
                </a:lnTo>
                <a:lnTo>
                  <a:pt x="5214" y="3272"/>
                </a:lnTo>
                <a:lnTo>
                  <a:pt x="5220" y="3308"/>
                </a:lnTo>
                <a:lnTo>
                  <a:pt x="5222" y="3343"/>
                </a:lnTo>
                <a:lnTo>
                  <a:pt x="5220" y="3379"/>
                </a:lnTo>
                <a:lnTo>
                  <a:pt x="5214" y="3415"/>
                </a:lnTo>
                <a:lnTo>
                  <a:pt x="5206" y="3449"/>
                </a:lnTo>
                <a:lnTo>
                  <a:pt x="5194" y="3485"/>
                </a:lnTo>
                <a:lnTo>
                  <a:pt x="5178" y="3517"/>
                </a:lnTo>
                <a:lnTo>
                  <a:pt x="5160" y="3549"/>
                </a:lnTo>
                <a:lnTo>
                  <a:pt x="5138" y="3581"/>
                </a:lnTo>
                <a:lnTo>
                  <a:pt x="5112" y="3609"/>
                </a:lnTo>
                <a:lnTo>
                  <a:pt x="5112" y="3609"/>
                </a:lnTo>
                <a:close/>
                <a:moveTo>
                  <a:pt x="5490" y="3198"/>
                </a:moveTo>
                <a:lnTo>
                  <a:pt x="5490" y="3198"/>
                </a:lnTo>
                <a:lnTo>
                  <a:pt x="5478" y="3154"/>
                </a:lnTo>
                <a:lnTo>
                  <a:pt x="5464" y="3112"/>
                </a:lnTo>
                <a:lnTo>
                  <a:pt x="5446" y="3068"/>
                </a:lnTo>
                <a:lnTo>
                  <a:pt x="5426" y="3028"/>
                </a:lnTo>
                <a:lnTo>
                  <a:pt x="5402" y="2988"/>
                </a:lnTo>
                <a:lnTo>
                  <a:pt x="5376" y="2948"/>
                </a:lnTo>
                <a:lnTo>
                  <a:pt x="5346" y="2912"/>
                </a:lnTo>
                <a:lnTo>
                  <a:pt x="5312" y="2876"/>
                </a:lnTo>
                <a:lnTo>
                  <a:pt x="5312" y="2876"/>
                </a:lnTo>
                <a:lnTo>
                  <a:pt x="5312" y="2876"/>
                </a:lnTo>
                <a:lnTo>
                  <a:pt x="5288" y="2852"/>
                </a:lnTo>
                <a:lnTo>
                  <a:pt x="5262" y="2830"/>
                </a:lnTo>
                <a:lnTo>
                  <a:pt x="5236" y="2810"/>
                </a:lnTo>
                <a:lnTo>
                  <a:pt x="5210" y="2792"/>
                </a:lnTo>
                <a:lnTo>
                  <a:pt x="5182" y="2774"/>
                </a:lnTo>
                <a:lnTo>
                  <a:pt x="5152" y="2758"/>
                </a:lnTo>
                <a:lnTo>
                  <a:pt x="5124" y="2744"/>
                </a:lnTo>
                <a:lnTo>
                  <a:pt x="5094" y="2730"/>
                </a:lnTo>
                <a:lnTo>
                  <a:pt x="5064" y="2720"/>
                </a:lnTo>
                <a:lnTo>
                  <a:pt x="5034" y="2710"/>
                </a:lnTo>
                <a:lnTo>
                  <a:pt x="5001" y="2702"/>
                </a:lnTo>
                <a:lnTo>
                  <a:pt x="4971" y="2694"/>
                </a:lnTo>
                <a:lnTo>
                  <a:pt x="4939" y="2690"/>
                </a:lnTo>
                <a:lnTo>
                  <a:pt x="4907" y="2686"/>
                </a:lnTo>
                <a:lnTo>
                  <a:pt x="4875" y="2684"/>
                </a:lnTo>
                <a:lnTo>
                  <a:pt x="4845" y="2682"/>
                </a:lnTo>
                <a:lnTo>
                  <a:pt x="4813" y="2684"/>
                </a:lnTo>
                <a:lnTo>
                  <a:pt x="4781" y="2686"/>
                </a:lnTo>
                <a:lnTo>
                  <a:pt x="4749" y="2690"/>
                </a:lnTo>
                <a:lnTo>
                  <a:pt x="4717" y="2694"/>
                </a:lnTo>
                <a:lnTo>
                  <a:pt x="4687" y="2702"/>
                </a:lnTo>
                <a:lnTo>
                  <a:pt x="4655" y="2710"/>
                </a:lnTo>
                <a:lnTo>
                  <a:pt x="4625" y="2720"/>
                </a:lnTo>
                <a:lnTo>
                  <a:pt x="4595" y="2730"/>
                </a:lnTo>
                <a:lnTo>
                  <a:pt x="4565" y="2744"/>
                </a:lnTo>
                <a:lnTo>
                  <a:pt x="4537" y="2758"/>
                </a:lnTo>
                <a:lnTo>
                  <a:pt x="4509" y="2774"/>
                </a:lnTo>
                <a:lnTo>
                  <a:pt x="4481" y="2792"/>
                </a:lnTo>
                <a:lnTo>
                  <a:pt x="4453" y="2810"/>
                </a:lnTo>
                <a:lnTo>
                  <a:pt x="4427" y="2830"/>
                </a:lnTo>
                <a:lnTo>
                  <a:pt x="4401" y="2852"/>
                </a:lnTo>
                <a:lnTo>
                  <a:pt x="4377" y="2876"/>
                </a:lnTo>
                <a:lnTo>
                  <a:pt x="4377" y="2876"/>
                </a:lnTo>
                <a:lnTo>
                  <a:pt x="4345" y="2910"/>
                </a:lnTo>
                <a:lnTo>
                  <a:pt x="4315" y="2948"/>
                </a:lnTo>
                <a:lnTo>
                  <a:pt x="4289" y="2986"/>
                </a:lnTo>
                <a:lnTo>
                  <a:pt x="4265" y="3026"/>
                </a:lnTo>
                <a:lnTo>
                  <a:pt x="4243" y="3066"/>
                </a:lnTo>
                <a:lnTo>
                  <a:pt x="4225" y="3110"/>
                </a:lnTo>
                <a:lnTo>
                  <a:pt x="4211" y="3154"/>
                </a:lnTo>
                <a:lnTo>
                  <a:pt x="4199" y="3198"/>
                </a:lnTo>
                <a:lnTo>
                  <a:pt x="284" y="3198"/>
                </a:lnTo>
                <a:lnTo>
                  <a:pt x="284" y="1884"/>
                </a:lnTo>
                <a:lnTo>
                  <a:pt x="1014" y="1884"/>
                </a:lnTo>
                <a:lnTo>
                  <a:pt x="1014" y="1884"/>
                </a:lnTo>
                <a:lnTo>
                  <a:pt x="1024" y="1930"/>
                </a:lnTo>
                <a:lnTo>
                  <a:pt x="1040" y="1976"/>
                </a:lnTo>
                <a:lnTo>
                  <a:pt x="1058" y="2018"/>
                </a:lnTo>
                <a:lnTo>
                  <a:pt x="1078" y="2060"/>
                </a:lnTo>
                <a:lnTo>
                  <a:pt x="1102" y="2102"/>
                </a:lnTo>
                <a:lnTo>
                  <a:pt x="1130" y="2140"/>
                </a:lnTo>
                <a:lnTo>
                  <a:pt x="1160" y="2178"/>
                </a:lnTo>
                <a:lnTo>
                  <a:pt x="1192" y="2212"/>
                </a:lnTo>
                <a:lnTo>
                  <a:pt x="1192" y="2212"/>
                </a:lnTo>
                <a:lnTo>
                  <a:pt x="1216" y="2236"/>
                </a:lnTo>
                <a:lnTo>
                  <a:pt x="1242" y="2258"/>
                </a:lnTo>
                <a:lnTo>
                  <a:pt x="1268" y="2278"/>
                </a:lnTo>
                <a:lnTo>
                  <a:pt x="1296" y="2298"/>
                </a:lnTo>
                <a:lnTo>
                  <a:pt x="1324" y="2314"/>
                </a:lnTo>
                <a:lnTo>
                  <a:pt x="1352" y="2330"/>
                </a:lnTo>
                <a:lnTo>
                  <a:pt x="1380" y="2344"/>
                </a:lnTo>
                <a:lnTo>
                  <a:pt x="1410" y="2358"/>
                </a:lnTo>
                <a:lnTo>
                  <a:pt x="1440" y="2370"/>
                </a:lnTo>
                <a:lnTo>
                  <a:pt x="1472" y="2378"/>
                </a:lnTo>
                <a:lnTo>
                  <a:pt x="1502" y="2388"/>
                </a:lnTo>
                <a:lnTo>
                  <a:pt x="1534" y="2394"/>
                </a:lnTo>
                <a:lnTo>
                  <a:pt x="1564" y="2400"/>
                </a:lnTo>
                <a:lnTo>
                  <a:pt x="1596" y="2404"/>
                </a:lnTo>
                <a:lnTo>
                  <a:pt x="1628" y="2406"/>
                </a:lnTo>
                <a:lnTo>
                  <a:pt x="1660" y="2406"/>
                </a:lnTo>
                <a:lnTo>
                  <a:pt x="1660" y="2406"/>
                </a:lnTo>
                <a:lnTo>
                  <a:pt x="1707" y="2404"/>
                </a:lnTo>
                <a:lnTo>
                  <a:pt x="1753" y="2400"/>
                </a:lnTo>
                <a:lnTo>
                  <a:pt x="1799" y="2392"/>
                </a:lnTo>
                <a:lnTo>
                  <a:pt x="1845" y="2380"/>
                </a:lnTo>
                <a:lnTo>
                  <a:pt x="1889" y="2366"/>
                </a:lnTo>
                <a:lnTo>
                  <a:pt x="1933" y="2348"/>
                </a:lnTo>
                <a:lnTo>
                  <a:pt x="1975" y="2326"/>
                </a:lnTo>
                <a:lnTo>
                  <a:pt x="2017" y="2302"/>
                </a:lnTo>
                <a:lnTo>
                  <a:pt x="2383" y="2670"/>
                </a:lnTo>
                <a:lnTo>
                  <a:pt x="2585" y="2468"/>
                </a:lnTo>
                <a:lnTo>
                  <a:pt x="2217" y="2100"/>
                </a:lnTo>
                <a:lnTo>
                  <a:pt x="2217" y="2100"/>
                </a:lnTo>
                <a:lnTo>
                  <a:pt x="2233" y="2076"/>
                </a:lnTo>
                <a:lnTo>
                  <a:pt x="2247" y="2050"/>
                </a:lnTo>
                <a:lnTo>
                  <a:pt x="2261" y="2024"/>
                </a:lnTo>
                <a:lnTo>
                  <a:pt x="2273" y="1996"/>
                </a:lnTo>
                <a:lnTo>
                  <a:pt x="2283" y="1970"/>
                </a:lnTo>
                <a:lnTo>
                  <a:pt x="2291" y="1942"/>
                </a:lnTo>
                <a:lnTo>
                  <a:pt x="2299" y="1914"/>
                </a:lnTo>
                <a:lnTo>
                  <a:pt x="2307" y="1884"/>
                </a:lnTo>
                <a:lnTo>
                  <a:pt x="6396" y="1884"/>
                </a:lnTo>
                <a:lnTo>
                  <a:pt x="6396" y="3198"/>
                </a:lnTo>
                <a:lnTo>
                  <a:pt x="5490" y="3198"/>
                </a:lnTo>
                <a:close/>
                <a:moveTo>
                  <a:pt x="1927" y="2012"/>
                </a:moveTo>
                <a:lnTo>
                  <a:pt x="1927" y="2012"/>
                </a:lnTo>
                <a:lnTo>
                  <a:pt x="1899" y="2038"/>
                </a:lnTo>
                <a:lnTo>
                  <a:pt x="1867" y="2060"/>
                </a:lnTo>
                <a:lnTo>
                  <a:pt x="1835" y="2078"/>
                </a:lnTo>
                <a:lnTo>
                  <a:pt x="1803" y="2094"/>
                </a:lnTo>
                <a:lnTo>
                  <a:pt x="1767" y="2106"/>
                </a:lnTo>
                <a:lnTo>
                  <a:pt x="1733" y="2114"/>
                </a:lnTo>
                <a:lnTo>
                  <a:pt x="1697" y="2120"/>
                </a:lnTo>
                <a:lnTo>
                  <a:pt x="1660" y="2122"/>
                </a:lnTo>
                <a:lnTo>
                  <a:pt x="1624" y="2120"/>
                </a:lnTo>
                <a:lnTo>
                  <a:pt x="1588" y="2114"/>
                </a:lnTo>
                <a:lnTo>
                  <a:pt x="1552" y="2106"/>
                </a:lnTo>
                <a:lnTo>
                  <a:pt x="1518" y="2094"/>
                </a:lnTo>
                <a:lnTo>
                  <a:pt x="1484" y="2078"/>
                </a:lnTo>
                <a:lnTo>
                  <a:pt x="1452" y="2060"/>
                </a:lnTo>
                <a:lnTo>
                  <a:pt x="1422" y="2038"/>
                </a:lnTo>
                <a:lnTo>
                  <a:pt x="1394" y="2012"/>
                </a:lnTo>
                <a:lnTo>
                  <a:pt x="1394" y="2012"/>
                </a:lnTo>
                <a:lnTo>
                  <a:pt x="1368" y="1984"/>
                </a:lnTo>
                <a:lnTo>
                  <a:pt x="1346" y="1954"/>
                </a:lnTo>
                <a:lnTo>
                  <a:pt x="1328" y="1922"/>
                </a:lnTo>
                <a:lnTo>
                  <a:pt x="1312" y="1890"/>
                </a:lnTo>
                <a:lnTo>
                  <a:pt x="1300" y="1854"/>
                </a:lnTo>
                <a:lnTo>
                  <a:pt x="1290" y="1820"/>
                </a:lnTo>
                <a:lnTo>
                  <a:pt x="1284" y="1782"/>
                </a:lnTo>
                <a:lnTo>
                  <a:pt x="1284" y="1746"/>
                </a:lnTo>
                <a:lnTo>
                  <a:pt x="1284" y="1746"/>
                </a:lnTo>
                <a:lnTo>
                  <a:pt x="1284" y="1708"/>
                </a:lnTo>
                <a:lnTo>
                  <a:pt x="1290" y="1672"/>
                </a:lnTo>
                <a:lnTo>
                  <a:pt x="1300" y="1636"/>
                </a:lnTo>
                <a:lnTo>
                  <a:pt x="1312" y="1600"/>
                </a:lnTo>
                <a:lnTo>
                  <a:pt x="1328" y="1568"/>
                </a:lnTo>
                <a:lnTo>
                  <a:pt x="1346" y="1536"/>
                </a:lnTo>
                <a:lnTo>
                  <a:pt x="1368" y="1506"/>
                </a:lnTo>
                <a:lnTo>
                  <a:pt x="1394" y="1478"/>
                </a:lnTo>
                <a:lnTo>
                  <a:pt x="1394" y="1478"/>
                </a:lnTo>
                <a:lnTo>
                  <a:pt x="1422" y="1454"/>
                </a:lnTo>
                <a:lnTo>
                  <a:pt x="1452" y="1430"/>
                </a:lnTo>
                <a:lnTo>
                  <a:pt x="1484" y="1412"/>
                </a:lnTo>
                <a:lnTo>
                  <a:pt x="1518" y="1396"/>
                </a:lnTo>
                <a:lnTo>
                  <a:pt x="1552" y="1384"/>
                </a:lnTo>
                <a:lnTo>
                  <a:pt x="1588" y="1376"/>
                </a:lnTo>
                <a:lnTo>
                  <a:pt x="1624" y="1370"/>
                </a:lnTo>
                <a:lnTo>
                  <a:pt x="1660" y="1368"/>
                </a:lnTo>
                <a:lnTo>
                  <a:pt x="1660" y="1368"/>
                </a:lnTo>
                <a:lnTo>
                  <a:pt x="1697" y="1370"/>
                </a:lnTo>
                <a:lnTo>
                  <a:pt x="1733" y="1376"/>
                </a:lnTo>
                <a:lnTo>
                  <a:pt x="1767" y="1384"/>
                </a:lnTo>
                <a:lnTo>
                  <a:pt x="1803" y="1396"/>
                </a:lnTo>
                <a:lnTo>
                  <a:pt x="1835" y="1412"/>
                </a:lnTo>
                <a:lnTo>
                  <a:pt x="1867" y="1430"/>
                </a:lnTo>
                <a:lnTo>
                  <a:pt x="1899" y="1454"/>
                </a:lnTo>
                <a:lnTo>
                  <a:pt x="1927" y="1478"/>
                </a:lnTo>
                <a:lnTo>
                  <a:pt x="1927" y="1478"/>
                </a:lnTo>
                <a:lnTo>
                  <a:pt x="1951" y="1506"/>
                </a:lnTo>
                <a:lnTo>
                  <a:pt x="1975" y="1536"/>
                </a:lnTo>
                <a:lnTo>
                  <a:pt x="1993" y="1568"/>
                </a:lnTo>
                <a:lnTo>
                  <a:pt x="2009" y="1600"/>
                </a:lnTo>
                <a:lnTo>
                  <a:pt x="2021" y="1636"/>
                </a:lnTo>
                <a:lnTo>
                  <a:pt x="2029" y="1672"/>
                </a:lnTo>
                <a:lnTo>
                  <a:pt x="2035" y="1708"/>
                </a:lnTo>
                <a:lnTo>
                  <a:pt x="2037" y="1746"/>
                </a:lnTo>
                <a:lnTo>
                  <a:pt x="2037" y="1746"/>
                </a:lnTo>
                <a:lnTo>
                  <a:pt x="2035" y="1782"/>
                </a:lnTo>
                <a:lnTo>
                  <a:pt x="2029" y="1820"/>
                </a:lnTo>
                <a:lnTo>
                  <a:pt x="2021" y="1854"/>
                </a:lnTo>
                <a:lnTo>
                  <a:pt x="2009" y="1890"/>
                </a:lnTo>
                <a:lnTo>
                  <a:pt x="1993" y="1922"/>
                </a:lnTo>
                <a:lnTo>
                  <a:pt x="1975" y="1954"/>
                </a:lnTo>
                <a:lnTo>
                  <a:pt x="1951" y="1984"/>
                </a:lnTo>
                <a:lnTo>
                  <a:pt x="1927" y="2012"/>
                </a:lnTo>
                <a:lnTo>
                  <a:pt x="1927" y="2012"/>
                </a:lnTo>
                <a:close/>
                <a:moveTo>
                  <a:pt x="6396" y="286"/>
                </a:moveTo>
                <a:lnTo>
                  <a:pt x="6396" y="1600"/>
                </a:lnTo>
                <a:lnTo>
                  <a:pt x="2305" y="1600"/>
                </a:lnTo>
                <a:lnTo>
                  <a:pt x="2305" y="1600"/>
                </a:lnTo>
                <a:lnTo>
                  <a:pt x="2293" y="1554"/>
                </a:lnTo>
                <a:lnTo>
                  <a:pt x="2279" y="1512"/>
                </a:lnTo>
                <a:lnTo>
                  <a:pt x="2261" y="1468"/>
                </a:lnTo>
                <a:lnTo>
                  <a:pt x="2241" y="1426"/>
                </a:lnTo>
                <a:lnTo>
                  <a:pt x="2217" y="1386"/>
                </a:lnTo>
                <a:lnTo>
                  <a:pt x="2191" y="1348"/>
                </a:lnTo>
                <a:lnTo>
                  <a:pt x="2161" y="1312"/>
                </a:lnTo>
                <a:lnTo>
                  <a:pt x="2129" y="1278"/>
                </a:lnTo>
                <a:lnTo>
                  <a:pt x="2129" y="1278"/>
                </a:lnTo>
                <a:lnTo>
                  <a:pt x="2103" y="1254"/>
                </a:lnTo>
                <a:lnTo>
                  <a:pt x="2079" y="1232"/>
                </a:lnTo>
                <a:lnTo>
                  <a:pt x="2051" y="1212"/>
                </a:lnTo>
                <a:lnTo>
                  <a:pt x="2025" y="1192"/>
                </a:lnTo>
                <a:lnTo>
                  <a:pt x="1997" y="1176"/>
                </a:lnTo>
                <a:lnTo>
                  <a:pt x="1969" y="1160"/>
                </a:lnTo>
                <a:lnTo>
                  <a:pt x="1939" y="1146"/>
                </a:lnTo>
                <a:lnTo>
                  <a:pt x="1909" y="1132"/>
                </a:lnTo>
                <a:lnTo>
                  <a:pt x="1879" y="1122"/>
                </a:lnTo>
                <a:lnTo>
                  <a:pt x="1849" y="1112"/>
                </a:lnTo>
                <a:lnTo>
                  <a:pt x="1819" y="1102"/>
                </a:lnTo>
                <a:lnTo>
                  <a:pt x="1787" y="1096"/>
                </a:lnTo>
                <a:lnTo>
                  <a:pt x="1755" y="1090"/>
                </a:lnTo>
                <a:lnTo>
                  <a:pt x="1725" y="1088"/>
                </a:lnTo>
                <a:lnTo>
                  <a:pt x="1693" y="1084"/>
                </a:lnTo>
                <a:lnTo>
                  <a:pt x="1660" y="1084"/>
                </a:lnTo>
                <a:lnTo>
                  <a:pt x="1628" y="1084"/>
                </a:lnTo>
                <a:lnTo>
                  <a:pt x="1596" y="1088"/>
                </a:lnTo>
                <a:lnTo>
                  <a:pt x="1564" y="1090"/>
                </a:lnTo>
                <a:lnTo>
                  <a:pt x="1534" y="1096"/>
                </a:lnTo>
                <a:lnTo>
                  <a:pt x="1502" y="1102"/>
                </a:lnTo>
                <a:lnTo>
                  <a:pt x="1472" y="1112"/>
                </a:lnTo>
                <a:lnTo>
                  <a:pt x="1440" y="1122"/>
                </a:lnTo>
                <a:lnTo>
                  <a:pt x="1410" y="1132"/>
                </a:lnTo>
                <a:lnTo>
                  <a:pt x="1380" y="1146"/>
                </a:lnTo>
                <a:lnTo>
                  <a:pt x="1352" y="1160"/>
                </a:lnTo>
                <a:lnTo>
                  <a:pt x="1324" y="1176"/>
                </a:lnTo>
                <a:lnTo>
                  <a:pt x="1296" y="1192"/>
                </a:lnTo>
                <a:lnTo>
                  <a:pt x="1268" y="1212"/>
                </a:lnTo>
                <a:lnTo>
                  <a:pt x="1242" y="1232"/>
                </a:lnTo>
                <a:lnTo>
                  <a:pt x="1216" y="1254"/>
                </a:lnTo>
                <a:lnTo>
                  <a:pt x="1192" y="1278"/>
                </a:lnTo>
                <a:lnTo>
                  <a:pt x="1192" y="1278"/>
                </a:lnTo>
                <a:lnTo>
                  <a:pt x="1160" y="1312"/>
                </a:lnTo>
                <a:lnTo>
                  <a:pt x="1130" y="1348"/>
                </a:lnTo>
                <a:lnTo>
                  <a:pt x="1104" y="1386"/>
                </a:lnTo>
                <a:lnTo>
                  <a:pt x="1080" y="1426"/>
                </a:lnTo>
                <a:lnTo>
                  <a:pt x="1058" y="1468"/>
                </a:lnTo>
                <a:lnTo>
                  <a:pt x="1042" y="1512"/>
                </a:lnTo>
                <a:lnTo>
                  <a:pt x="1026" y="1554"/>
                </a:lnTo>
                <a:lnTo>
                  <a:pt x="1014" y="1600"/>
                </a:lnTo>
                <a:lnTo>
                  <a:pt x="284" y="1600"/>
                </a:lnTo>
                <a:lnTo>
                  <a:pt x="284" y="286"/>
                </a:lnTo>
                <a:lnTo>
                  <a:pt x="6396" y="286"/>
                </a:lnTo>
                <a:close/>
                <a:moveTo>
                  <a:pt x="284" y="6395"/>
                </a:moveTo>
                <a:lnTo>
                  <a:pt x="284" y="5081"/>
                </a:lnTo>
                <a:lnTo>
                  <a:pt x="2733" y="5081"/>
                </a:lnTo>
                <a:lnTo>
                  <a:pt x="2733" y="5081"/>
                </a:lnTo>
                <a:lnTo>
                  <a:pt x="2745" y="5125"/>
                </a:lnTo>
                <a:lnTo>
                  <a:pt x="2759" y="5169"/>
                </a:lnTo>
                <a:lnTo>
                  <a:pt x="2777" y="5211"/>
                </a:lnTo>
                <a:lnTo>
                  <a:pt x="2797" y="5251"/>
                </a:lnTo>
                <a:lnTo>
                  <a:pt x="2821" y="5291"/>
                </a:lnTo>
                <a:lnTo>
                  <a:pt x="2847" y="5329"/>
                </a:lnTo>
                <a:lnTo>
                  <a:pt x="2877" y="5365"/>
                </a:lnTo>
                <a:lnTo>
                  <a:pt x="2909" y="5399"/>
                </a:lnTo>
                <a:lnTo>
                  <a:pt x="2909" y="5399"/>
                </a:lnTo>
                <a:lnTo>
                  <a:pt x="2933" y="5421"/>
                </a:lnTo>
                <a:lnTo>
                  <a:pt x="2957" y="5443"/>
                </a:lnTo>
                <a:lnTo>
                  <a:pt x="2983" y="5463"/>
                </a:lnTo>
                <a:lnTo>
                  <a:pt x="3009" y="5481"/>
                </a:lnTo>
                <a:lnTo>
                  <a:pt x="3037" y="5499"/>
                </a:lnTo>
                <a:lnTo>
                  <a:pt x="3065" y="5515"/>
                </a:lnTo>
                <a:lnTo>
                  <a:pt x="3093" y="5529"/>
                </a:lnTo>
                <a:lnTo>
                  <a:pt x="3123" y="5543"/>
                </a:lnTo>
                <a:lnTo>
                  <a:pt x="3153" y="5555"/>
                </a:lnTo>
                <a:lnTo>
                  <a:pt x="3183" y="5565"/>
                </a:lnTo>
                <a:lnTo>
                  <a:pt x="3215" y="5573"/>
                </a:lnTo>
                <a:lnTo>
                  <a:pt x="3247" y="5579"/>
                </a:lnTo>
                <a:lnTo>
                  <a:pt x="3279" y="5585"/>
                </a:lnTo>
                <a:lnTo>
                  <a:pt x="3311" y="5589"/>
                </a:lnTo>
                <a:lnTo>
                  <a:pt x="3343" y="5591"/>
                </a:lnTo>
                <a:lnTo>
                  <a:pt x="3377" y="5593"/>
                </a:lnTo>
                <a:lnTo>
                  <a:pt x="3377" y="5593"/>
                </a:lnTo>
                <a:lnTo>
                  <a:pt x="3425" y="5591"/>
                </a:lnTo>
                <a:lnTo>
                  <a:pt x="3471" y="5585"/>
                </a:lnTo>
                <a:lnTo>
                  <a:pt x="3517" y="5577"/>
                </a:lnTo>
                <a:lnTo>
                  <a:pt x="3563" y="5565"/>
                </a:lnTo>
                <a:lnTo>
                  <a:pt x="3607" y="5551"/>
                </a:lnTo>
                <a:lnTo>
                  <a:pt x="3651" y="5533"/>
                </a:lnTo>
                <a:lnTo>
                  <a:pt x="3691" y="5513"/>
                </a:lnTo>
                <a:lnTo>
                  <a:pt x="3733" y="5489"/>
                </a:lnTo>
                <a:lnTo>
                  <a:pt x="4099" y="5855"/>
                </a:lnTo>
                <a:lnTo>
                  <a:pt x="4301" y="5655"/>
                </a:lnTo>
                <a:lnTo>
                  <a:pt x="3933" y="5287"/>
                </a:lnTo>
                <a:lnTo>
                  <a:pt x="3933" y="5287"/>
                </a:lnTo>
                <a:lnTo>
                  <a:pt x="3949" y="5263"/>
                </a:lnTo>
                <a:lnTo>
                  <a:pt x="3961" y="5239"/>
                </a:lnTo>
                <a:lnTo>
                  <a:pt x="3975" y="5213"/>
                </a:lnTo>
                <a:lnTo>
                  <a:pt x="3985" y="5187"/>
                </a:lnTo>
                <a:lnTo>
                  <a:pt x="4005" y="5135"/>
                </a:lnTo>
                <a:lnTo>
                  <a:pt x="4019" y="5081"/>
                </a:lnTo>
                <a:lnTo>
                  <a:pt x="6396" y="5081"/>
                </a:lnTo>
                <a:lnTo>
                  <a:pt x="6396" y="6395"/>
                </a:lnTo>
                <a:lnTo>
                  <a:pt x="284" y="6395"/>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dirty="0"/>
          </a:p>
        </p:txBody>
      </p:sp>
    </p:spTree>
    <p:extLst>
      <p:ext uri="{BB962C8B-B14F-4D97-AF65-F5344CB8AC3E}">
        <p14:creationId xmlns:p14="http://schemas.microsoft.com/office/powerpoint/2010/main" val="40991040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432784"/>
            <a:ext cx="8370198" cy="1376364"/>
          </a:xfrm>
        </p:spPr>
        <p:txBody>
          <a:bodyPr anchor="t" anchorCtr="0">
            <a:noAutofit/>
          </a:bodyPr>
          <a:lstStyle/>
          <a:p>
            <a:pPr>
              <a:lnSpc>
                <a:spcPct val="100000"/>
              </a:lnSpc>
            </a:pPr>
            <a:r>
              <a:rPr lang="en-US" sz="2700" dirty="0">
                <a:solidFill>
                  <a:schemeClr val="accent6"/>
                </a:solidFill>
              </a:rPr>
              <a:t>Opportunity spotlight:</a:t>
            </a:r>
            <a:br>
              <a:rPr lang="en-US" sz="2700" dirty="0">
                <a:solidFill>
                  <a:schemeClr val="accent6"/>
                </a:solidFill>
              </a:rPr>
            </a:br>
            <a:r>
              <a:rPr lang="en-US" sz="2700" dirty="0">
                <a:solidFill>
                  <a:schemeClr val="accent6"/>
                </a:solidFill>
              </a:rPr>
              <a:t>Continue building diverse talent pipelines (DIW3) </a:t>
            </a:r>
            <a:endParaRPr lang="en-AU" sz="2700" dirty="0">
              <a:solidFill>
                <a:schemeClr val="accent6"/>
              </a:solidFill>
            </a:endParaRPr>
          </a:p>
        </p:txBody>
      </p:sp>
      <p:sp>
        <p:nvSpPr>
          <p:cNvPr id="12" name="TextBox 11">
            <a:extLst>
              <a:ext uri="{FF2B5EF4-FFF2-40B4-BE49-F238E27FC236}">
                <a16:creationId xmlns:a16="http://schemas.microsoft.com/office/drawing/2014/main" id="{5CF12CA1-D7FD-4A7E-96CD-E0178DA0F9A4}"/>
              </a:ext>
            </a:extLst>
          </p:cNvPr>
          <p:cNvSpPr txBox="1"/>
          <p:nvPr/>
        </p:nvSpPr>
        <p:spPr>
          <a:xfrm>
            <a:off x="421314" y="1593102"/>
            <a:ext cx="2340674" cy="1835898"/>
          </a:xfrm>
          <a:prstGeom prst="rect">
            <a:avLst/>
          </a:prstGeom>
          <a:noFill/>
        </p:spPr>
        <p:txBody>
          <a:bodyPr wrap="square">
            <a:noAutofit/>
          </a:bodyPr>
          <a:lstStyle/>
          <a:p>
            <a:pPr>
              <a:spcBef>
                <a:spcPts val="300"/>
              </a:spcBef>
              <a:buClr>
                <a:schemeClr val="tx1"/>
              </a:buClr>
              <a:tabLst>
                <a:tab pos="449263" algn="l"/>
              </a:tabLst>
              <a:defRPr/>
            </a:pPr>
            <a:r>
              <a:rPr lang="en-AU" sz="1100" dirty="0">
                <a:latin typeface="Calibri" panose="020F0502020204030204"/>
              </a:rPr>
              <a:t>Included here are some practical examples of initiatives and activities that could be undertaken to </a:t>
            </a:r>
            <a:r>
              <a:rPr lang="en-AU" sz="1100" b="1" dirty="0">
                <a:solidFill>
                  <a:schemeClr val="accent4"/>
                </a:solidFill>
                <a:latin typeface="Calibri" panose="020F0502020204030204"/>
              </a:rPr>
              <a:t>continue building diverse talent pipelines </a:t>
            </a:r>
            <a:r>
              <a:rPr lang="en-AU" sz="1100" dirty="0">
                <a:latin typeface="Calibri" panose="020F0502020204030204"/>
              </a:rPr>
              <a:t>by leveraging existing, external programs, partnerships and resources to customise and enhance the recruitment, selection and </a:t>
            </a:r>
            <a:r>
              <a:rPr lang="en-AU" sz="1100" dirty="0" smtClean="0">
                <a:latin typeface="Calibri" panose="020F0502020204030204"/>
              </a:rPr>
              <a:t>on boarding </a:t>
            </a:r>
            <a:r>
              <a:rPr lang="en-AU" sz="1100" dirty="0">
                <a:latin typeface="Calibri" panose="020F0502020204030204"/>
              </a:rPr>
              <a:t>processes for our identified diversity groups.</a:t>
            </a:r>
            <a:r>
              <a:rPr lang="en-US" sz="1100" dirty="0">
                <a:solidFill>
                  <a:prstClr val="black"/>
                </a:solidFill>
                <a:sym typeface="Arial"/>
              </a:rPr>
              <a:t> </a:t>
            </a:r>
            <a:endParaRPr lang="en-AU" sz="1100" dirty="0">
              <a:latin typeface="Calibri" panose="020F0502020204030204"/>
            </a:endParaRPr>
          </a:p>
          <a:p>
            <a:pPr>
              <a:spcBef>
                <a:spcPts val="300"/>
              </a:spcBef>
              <a:buClr>
                <a:schemeClr val="tx1"/>
              </a:buClr>
              <a:tabLst>
                <a:tab pos="449263" algn="l"/>
              </a:tabLst>
              <a:defRPr/>
            </a:pPr>
            <a:endParaRPr lang="en-AU" sz="1100" dirty="0">
              <a:latin typeface="Calibri" panose="020F0502020204030204"/>
            </a:endParaRPr>
          </a:p>
        </p:txBody>
      </p:sp>
      <p:sp>
        <p:nvSpPr>
          <p:cNvPr id="13" name="Google Shape;1878;p199">
            <a:extLst>
              <a:ext uri="{FF2B5EF4-FFF2-40B4-BE49-F238E27FC236}">
                <a16:creationId xmlns:a16="http://schemas.microsoft.com/office/drawing/2014/main" id="{6849F6EB-DC86-40D5-BD17-942C1FA01B9D}"/>
              </a:ext>
            </a:extLst>
          </p:cNvPr>
          <p:cNvSpPr/>
          <p:nvPr/>
        </p:nvSpPr>
        <p:spPr>
          <a:xfrm>
            <a:off x="8966700" y="1599924"/>
            <a:ext cx="2500589" cy="4683872"/>
          </a:xfrm>
          <a:prstGeom prst="rect">
            <a:avLst/>
          </a:prstGeom>
          <a:solidFill>
            <a:schemeClr val="accent4"/>
          </a:solidFill>
          <a:ln>
            <a:noFill/>
          </a:ln>
        </p:spPr>
        <p:txBody>
          <a:bodyPr spcFirstLastPara="1" wrap="square" lIns="91425" tIns="91425" rIns="91425" bIns="91425" anchor="t" anchorCtr="0">
            <a:noAutofit/>
          </a:bodyPr>
          <a:lstStyle/>
          <a:p>
            <a:pPr>
              <a:buClr>
                <a:srgbClr val="000000"/>
              </a:buClr>
              <a:buFont typeface="Arial"/>
            </a:pPr>
            <a:endParaRPr sz="1000" dirty="0">
              <a:solidFill>
                <a:schemeClr val="lt1"/>
              </a:solidFill>
              <a:cs typeface="Arial"/>
              <a:sym typeface="Arial"/>
            </a:endParaRPr>
          </a:p>
        </p:txBody>
      </p:sp>
      <p:sp>
        <p:nvSpPr>
          <p:cNvPr id="14" name="Google Shape;1879;p199">
            <a:extLst>
              <a:ext uri="{FF2B5EF4-FFF2-40B4-BE49-F238E27FC236}">
                <a16:creationId xmlns:a16="http://schemas.microsoft.com/office/drawing/2014/main" id="{BA3F8A5E-A6D6-4C13-BC15-B57DA50CC5EA}"/>
              </a:ext>
            </a:extLst>
          </p:cNvPr>
          <p:cNvSpPr/>
          <p:nvPr/>
        </p:nvSpPr>
        <p:spPr>
          <a:xfrm>
            <a:off x="6365698" y="1593102"/>
            <a:ext cx="2500589" cy="4683872"/>
          </a:xfrm>
          <a:prstGeom prst="rect">
            <a:avLst/>
          </a:prstGeom>
          <a:solidFill>
            <a:schemeClr val="accent2"/>
          </a:solidFill>
          <a:ln>
            <a:noFill/>
          </a:ln>
        </p:spPr>
        <p:txBody>
          <a:bodyPr spcFirstLastPara="1" wrap="square" lIns="91425" tIns="91425" rIns="91425" bIns="91425" anchor="t" anchorCtr="0">
            <a:noAutofit/>
          </a:bodyPr>
          <a:lstStyle/>
          <a:p>
            <a:pPr>
              <a:buClr>
                <a:srgbClr val="000000"/>
              </a:buClr>
              <a:buSzPts val="1600"/>
              <a:buFont typeface="Arial"/>
            </a:pPr>
            <a:endParaRPr sz="1000" dirty="0">
              <a:solidFill>
                <a:schemeClr val="lt1"/>
              </a:solidFill>
              <a:cs typeface="Arial"/>
              <a:sym typeface="Arial"/>
            </a:endParaRPr>
          </a:p>
        </p:txBody>
      </p:sp>
      <p:sp>
        <p:nvSpPr>
          <p:cNvPr id="15" name="Google Shape;1880;p199">
            <a:extLst>
              <a:ext uri="{FF2B5EF4-FFF2-40B4-BE49-F238E27FC236}">
                <a16:creationId xmlns:a16="http://schemas.microsoft.com/office/drawing/2014/main" id="{13541FDB-715F-4045-B452-7D84B8DF44AF}"/>
              </a:ext>
            </a:extLst>
          </p:cNvPr>
          <p:cNvSpPr/>
          <p:nvPr/>
        </p:nvSpPr>
        <p:spPr>
          <a:xfrm>
            <a:off x="2957098" y="1593102"/>
            <a:ext cx="3295061" cy="4683872"/>
          </a:xfrm>
          <a:prstGeom prst="rect">
            <a:avLst/>
          </a:prstGeom>
          <a:solidFill>
            <a:schemeClr val="dk2"/>
          </a:solidFill>
          <a:ln>
            <a:noFill/>
          </a:ln>
        </p:spPr>
        <p:txBody>
          <a:bodyPr spcFirstLastPara="1" wrap="square" lIns="91425" tIns="91425" rIns="91425" bIns="91425" anchor="t" anchorCtr="0">
            <a:noAutofit/>
          </a:bodyPr>
          <a:lstStyle/>
          <a:p>
            <a:pPr>
              <a:buClr>
                <a:srgbClr val="000000"/>
              </a:buClr>
              <a:buFont typeface="Arial"/>
            </a:pPr>
            <a:endParaRPr sz="1000" dirty="0">
              <a:solidFill>
                <a:schemeClr val="lt1"/>
              </a:solidFill>
              <a:cs typeface="Arial"/>
              <a:sym typeface="Arial"/>
            </a:endParaRPr>
          </a:p>
        </p:txBody>
      </p:sp>
      <p:sp>
        <p:nvSpPr>
          <p:cNvPr id="16" name="Google Shape;1885;p199">
            <a:extLst>
              <a:ext uri="{FF2B5EF4-FFF2-40B4-BE49-F238E27FC236}">
                <a16:creationId xmlns:a16="http://schemas.microsoft.com/office/drawing/2014/main" id="{8C341FB1-08CD-4E05-9019-4664343BF845}"/>
              </a:ext>
            </a:extLst>
          </p:cNvPr>
          <p:cNvSpPr txBox="1"/>
          <p:nvPr/>
        </p:nvSpPr>
        <p:spPr>
          <a:xfrm>
            <a:off x="9840201" y="1685103"/>
            <a:ext cx="1228800" cy="339273"/>
          </a:xfrm>
          <a:prstGeom prst="rect">
            <a:avLst/>
          </a:pr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800"/>
              <a:buFont typeface="Arial"/>
              <a:buNone/>
            </a:pPr>
            <a:r>
              <a:rPr lang="en-AU" sz="2000" b="1" i="0" u="none" strike="noStrike" cap="none" dirty="0" smtClean="0">
                <a:solidFill>
                  <a:schemeClr val="bg1"/>
                </a:solidFill>
                <a:latin typeface="Calibri"/>
                <a:ea typeface="Arial"/>
                <a:cs typeface="Arial"/>
                <a:sym typeface="Arial"/>
              </a:rPr>
              <a:t>On-board</a:t>
            </a:r>
            <a:endParaRPr lang="en-AU" sz="1400" b="1" i="0" u="none" strike="noStrike" cap="none" dirty="0">
              <a:solidFill>
                <a:schemeClr val="bg1"/>
              </a:solidFill>
              <a:latin typeface="Calibri"/>
              <a:ea typeface="Arial"/>
              <a:cs typeface="Arial"/>
              <a:sym typeface="Arial"/>
            </a:endParaRPr>
          </a:p>
        </p:txBody>
      </p:sp>
      <p:sp>
        <p:nvSpPr>
          <p:cNvPr id="17" name="Google Shape;1886;p199">
            <a:extLst>
              <a:ext uri="{FF2B5EF4-FFF2-40B4-BE49-F238E27FC236}">
                <a16:creationId xmlns:a16="http://schemas.microsoft.com/office/drawing/2014/main" id="{7F1F140A-FABB-426C-9B3D-A6D55DCFF0E1}"/>
              </a:ext>
            </a:extLst>
          </p:cNvPr>
          <p:cNvSpPr txBox="1"/>
          <p:nvPr/>
        </p:nvSpPr>
        <p:spPr>
          <a:xfrm>
            <a:off x="7201289" y="1705674"/>
            <a:ext cx="1028292" cy="357716"/>
          </a:xfrm>
          <a:prstGeom prst="rect">
            <a:avLst/>
          </a:pr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800"/>
              <a:buFont typeface="Arial"/>
              <a:buNone/>
            </a:pPr>
            <a:r>
              <a:rPr lang="en-AU" sz="2000" b="1" i="0" u="none" strike="noStrike" cap="none" dirty="0">
                <a:solidFill>
                  <a:schemeClr val="lt1"/>
                </a:solidFill>
                <a:latin typeface="Calibri"/>
                <a:ea typeface="Arial"/>
                <a:cs typeface="Arial"/>
                <a:sym typeface="Arial"/>
              </a:rPr>
              <a:t>Recruit</a:t>
            </a:r>
          </a:p>
        </p:txBody>
      </p:sp>
      <p:sp>
        <p:nvSpPr>
          <p:cNvPr id="19" name="Google Shape;1888;p199">
            <a:extLst>
              <a:ext uri="{FF2B5EF4-FFF2-40B4-BE49-F238E27FC236}">
                <a16:creationId xmlns:a16="http://schemas.microsoft.com/office/drawing/2014/main" id="{F4D2086F-03F0-4D4B-9065-74C4CCAB68CE}"/>
              </a:ext>
            </a:extLst>
          </p:cNvPr>
          <p:cNvSpPr txBox="1"/>
          <p:nvPr/>
        </p:nvSpPr>
        <p:spPr>
          <a:xfrm>
            <a:off x="3836525" y="1711529"/>
            <a:ext cx="1071367" cy="357716"/>
          </a:xfrm>
          <a:prstGeom prst="rect">
            <a:avLst/>
          </a:pr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800"/>
              <a:buFont typeface="Arial"/>
              <a:buNone/>
            </a:pPr>
            <a:r>
              <a:rPr lang="en-AU" sz="2000" b="1" i="0" u="none" strike="noStrike" cap="none" dirty="0">
                <a:solidFill>
                  <a:schemeClr val="lt1"/>
                </a:solidFill>
                <a:latin typeface="Calibri"/>
                <a:ea typeface="Arial"/>
                <a:cs typeface="Arial"/>
                <a:sym typeface="Arial"/>
              </a:rPr>
              <a:t>Attract</a:t>
            </a:r>
          </a:p>
        </p:txBody>
      </p:sp>
      <p:sp>
        <p:nvSpPr>
          <p:cNvPr id="23" name="Google Shape;1898;p199">
            <a:extLst>
              <a:ext uri="{FF2B5EF4-FFF2-40B4-BE49-F238E27FC236}">
                <a16:creationId xmlns:a16="http://schemas.microsoft.com/office/drawing/2014/main" id="{AFA3D09A-66E0-44C7-A54D-688AC8FD9840}"/>
              </a:ext>
            </a:extLst>
          </p:cNvPr>
          <p:cNvSpPr txBox="1"/>
          <p:nvPr/>
        </p:nvSpPr>
        <p:spPr>
          <a:xfrm>
            <a:off x="2992211" y="2466017"/>
            <a:ext cx="3162562" cy="4016444"/>
          </a:xfrm>
          <a:prstGeom prst="rect">
            <a:avLst/>
          </a:prstGeom>
          <a:noFill/>
          <a:ln>
            <a:noFill/>
          </a:ln>
        </p:spPr>
        <p:txBody>
          <a:bodyPr spcFirstLastPara="1" wrap="square" lIns="91425" tIns="45700" rIns="91425" bIns="45700" anchor="t" anchorCtr="0">
            <a:spAutoFit/>
          </a:bodyPr>
          <a:lstStyle/>
          <a:p>
            <a:pPr marL="171450" indent="-171450">
              <a:spcBef>
                <a:spcPts val="300"/>
              </a:spcBef>
              <a:spcAft>
                <a:spcPts val="300"/>
              </a:spcAft>
              <a:buFont typeface="Arial" panose="020B0604020202020204" pitchFamily="34" charset="0"/>
              <a:buChar char="•"/>
            </a:pPr>
            <a:r>
              <a:rPr lang="en-US" sz="1000" dirty="0">
                <a:solidFill>
                  <a:schemeClr val="bg1"/>
                </a:solidFill>
                <a:cs typeface="Calibri Light"/>
                <a:sym typeface="Public Sans"/>
              </a:rPr>
              <a:t>Lean into the experience of others through the experience of the APSC Inclusion Group networks</a:t>
            </a:r>
          </a:p>
          <a:p>
            <a:pPr marL="171450" indent="-171450">
              <a:spcBef>
                <a:spcPts val="300"/>
              </a:spcBef>
              <a:spcAft>
                <a:spcPts val="300"/>
              </a:spcAft>
              <a:buFont typeface="Arial" panose="020B0604020202020204" pitchFamily="34" charset="0"/>
              <a:buChar char="•"/>
            </a:pPr>
            <a:r>
              <a:rPr lang="en-US" sz="1000" dirty="0">
                <a:solidFill>
                  <a:schemeClr val="bg1"/>
                </a:solidFill>
                <a:cs typeface="Calibri Light"/>
                <a:sym typeface="Public Sans"/>
              </a:rPr>
              <a:t>Target critical roles and launch recruitment campaigns using refreshed EVP content</a:t>
            </a:r>
            <a:endParaRPr lang="en-US" sz="1000" dirty="0">
              <a:solidFill>
                <a:schemeClr val="bg1"/>
              </a:solidFill>
              <a:cs typeface="Calibri Light"/>
              <a:sym typeface="Public Sans Light"/>
            </a:endParaRPr>
          </a:p>
          <a:p>
            <a:pPr marL="171450" marR="0" lvl="0" indent="-171450" rtl="0">
              <a:spcBef>
                <a:spcPts val="300"/>
              </a:spcBef>
              <a:spcAft>
                <a:spcPts val="300"/>
              </a:spcAft>
              <a:buFont typeface="Arial" panose="020B0604020202020204" pitchFamily="34" charset="0"/>
              <a:buChar char="•"/>
            </a:pPr>
            <a:r>
              <a:rPr lang="en-AU" sz="1000" dirty="0">
                <a:solidFill>
                  <a:schemeClr val="bg1"/>
                </a:solidFill>
                <a:cs typeface="Calibri Light"/>
              </a:rPr>
              <a:t>Advertise vacancies via APSC RecruitAbility Scheme </a:t>
            </a:r>
          </a:p>
          <a:p>
            <a:pPr marL="171450" indent="-171450">
              <a:spcBef>
                <a:spcPts val="300"/>
              </a:spcBef>
              <a:spcAft>
                <a:spcPts val="300"/>
              </a:spcAft>
              <a:buFont typeface="Arial" panose="020B0604020202020204" pitchFamily="34" charset="0"/>
              <a:buChar char="•"/>
            </a:pPr>
            <a:r>
              <a:rPr lang="en-US" sz="1000" dirty="0">
                <a:solidFill>
                  <a:schemeClr val="bg1"/>
                </a:solidFill>
                <a:cs typeface="Calibri Light"/>
                <a:sym typeface="Public Sans Light"/>
              </a:rPr>
              <a:t>Pilot and develop partnerships with specialised recruitment agencies to build pipelines of talent such as </a:t>
            </a:r>
            <a:r>
              <a:rPr lang="en-AU" sz="1000" dirty="0">
                <a:solidFill>
                  <a:schemeClr val="bg1"/>
                </a:solidFill>
                <a:cs typeface="Calibri Light"/>
                <a:sym typeface="Arial"/>
              </a:rPr>
              <a:t>Disability Employment </a:t>
            </a:r>
            <a:r>
              <a:rPr lang="en-AU" sz="1000" dirty="0">
                <a:solidFill>
                  <a:schemeClr val="bg1"/>
                </a:solidFill>
                <a:ea typeface="Arial"/>
                <a:cs typeface="Calibri Light"/>
                <a:sym typeface="Arial"/>
              </a:rPr>
              <a:t>Services </a:t>
            </a: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Obtain Disability Confident Recruiter accreditation through the Australian Network on Disability</a:t>
            </a:r>
          </a:p>
          <a:p>
            <a:pPr marL="171450" marR="0" lvl="0" indent="-171450" rtl="0">
              <a:spcBef>
                <a:spcPts val="300"/>
              </a:spcBef>
              <a:spcAft>
                <a:spcPts val="300"/>
              </a:spcAft>
              <a:buFont typeface="Arial" panose="020B0604020202020204" pitchFamily="34" charset="0"/>
              <a:buChar char="•"/>
            </a:pPr>
            <a:r>
              <a:rPr lang="en-AU" sz="1000" dirty="0">
                <a:solidFill>
                  <a:schemeClr val="bg1"/>
                </a:solidFill>
                <a:cs typeface="Calibri Light"/>
              </a:rPr>
              <a:t>Feature inclusive </a:t>
            </a:r>
            <a:r>
              <a:rPr lang="en-GB" sz="1000" dirty="0">
                <a:solidFill>
                  <a:schemeClr val="bg1"/>
                </a:solidFill>
                <a:cs typeface="Calibri Light"/>
              </a:rPr>
              <a:t>stories about diversity through internal communications and on the external website</a:t>
            </a:r>
          </a:p>
          <a:p>
            <a:pPr marL="171450" marR="0" lvl="0" indent="-171450" rtl="0">
              <a:spcBef>
                <a:spcPts val="300"/>
              </a:spcBef>
              <a:spcAft>
                <a:spcPts val="300"/>
              </a:spcAft>
              <a:buFont typeface="Arial" panose="020B0604020202020204" pitchFamily="34" charset="0"/>
              <a:buChar char="•"/>
            </a:pPr>
            <a:r>
              <a:rPr lang="en-US" sz="1000" dirty="0">
                <a:solidFill>
                  <a:schemeClr val="bg1"/>
                </a:solidFill>
                <a:cs typeface="Calibri Light"/>
              </a:rPr>
              <a:t>Through a Diversity Council of Australia membership, participate in the </a:t>
            </a:r>
            <a:r>
              <a:rPr lang="en-US" sz="1000" i="1" dirty="0">
                <a:solidFill>
                  <a:schemeClr val="bg1"/>
                </a:solidFill>
                <a:cs typeface="Calibri Light"/>
              </a:rPr>
              <a:t>Inclusion@Work </a:t>
            </a:r>
            <a:r>
              <a:rPr lang="en-US" sz="1000" dirty="0">
                <a:solidFill>
                  <a:schemeClr val="bg1"/>
                </a:solidFill>
                <a:cs typeface="Calibri Light"/>
              </a:rPr>
              <a:t>Index</a:t>
            </a:r>
          </a:p>
          <a:p>
            <a:pPr marL="171450" marR="0" lvl="0" indent="-171450" rtl="0">
              <a:spcBef>
                <a:spcPts val="300"/>
              </a:spcBef>
              <a:spcAft>
                <a:spcPts val="300"/>
              </a:spcAft>
              <a:buFont typeface="Arial" panose="020B0604020202020204" pitchFamily="34" charset="0"/>
              <a:buChar char="•"/>
            </a:pPr>
            <a:r>
              <a:rPr lang="en-US" sz="1000" dirty="0">
                <a:solidFill>
                  <a:schemeClr val="bg1"/>
                </a:solidFill>
                <a:cs typeface="Calibri Light"/>
                <a:sym typeface="Arial"/>
              </a:rPr>
              <a:t>Review of the Flexible Work Policy for opportunities and barriers to attract and retain a diverse, modern workforce such as </a:t>
            </a:r>
            <a:r>
              <a:rPr lang="en-US" sz="1000" dirty="0">
                <a:solidFill>
                  <a:schemeClr val="bg1"/>
                </a:solidFill>
                <a:cs typeface="Calibri Light"/>
              </a:rPr>
              <a:t>introducing remote work optionality in specified circumstances</a:t>
            </a:r>
          </a:p>
          <a:p>
            <a:pPr marL="171450" marR="0" lvl="0" indent="-171450" rtl="0">
              <a:spcBef>
                <a:spcPts val="300"/>
              </a:spcBef>
              <a:spcAft>
                <a:spcPts val="300"/>
              </a:spcAft>
              <a:buFont typeface="Arial" panose="020B0604020202020204" pitchFamily="34" charset="0"/>
              <a:buChar char="•"/>
            </a:pPr>
            <a:r>
              <a:rPr lang="en-US" sz="1000" dirty="0">
                <a:solidFill>
                  <a:schemeClr val="bg1"/>
                </a:solidFill>
                <a:cs typeface="Calibri Light"/>
              </a:rPr>
              <a:t>Consider advertising roles with part or full time optionality</a:t>
            </a:r>
            <a:endParaRPr sz="1000" dirty="0">
              <a:solidFill>
                <a:schemeClr val="bg1"/>
              </a:solidFill>
              <a:cs typeface="Calibri Light"/>
              <a:sym typeface="Arial"/>
            </a:endParaRPr>
          </a:p>
        </p:txBody>
      </p:sp>
      <p:sp>
        <p:nvSpPr>
          <p:cNvPr id="33" name="Google Shape;1898;p199">
            <a:extLst>
              <a:ext uri="{FF2B5EF4-FFF2-40B4-BE49-F238E27FC236}">
                <a16:creationId xmlns:a16="http://schemas.microsoft.com/office/drawing/2014/main" id="{9F0B8FE8-ABDB-4D1B-8D15-E32F494955B3}"/>
              </a:ext>
            </a:extLst>
          </p:cNvPr>
          <p:cNvSpPr txBox="1"/>
          <p:nvPr/>
        </p:nvSpPr>
        <p:spPr>
          <a:xfrm>
            <a:off x="6348126" y="2466017"/>
            <a:ext cx="2450297" cy="4247276"/>
          </a:xfrm>
          <a:prstGeom prst="rect">
            <a:avLst/>
          </a:prstGeom>
          <a:noFill/>
          <a:ln>
            <a:noFill/>
          </a:ln>
        </p:spPr>
        <p:txBody>
          <a:bodyPr spcFirstLastPara="1" wrap="square" lIns="91425" tIns="45700" rIns="91425" bIns="45700" anchor="t" anchorCtr="0">
            <a:spAutoFit/>
          </a:bodyPr>
          <a:lstStyle/>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Introduce flexible and tailored recruitment panel experiences centred on extracting the best from candidates</a:t>
            </a:r>
          </a:p>
          <a:p>
            <a:pPr marL="171450" indent="-171450">
              <a:spcBef>
                <a:spcPts val="300"/>
              </a:spcBef>
              <a:spcAft>
                <a:spcPts val="300"/>
              </a:spcAft>
              <a:buFont typeface="Arial" panose="020B0604020202020204" pitchFamily="34" charset="0"/>
              <a:buChar char="•"/>
            </a:pPr>
            <a:r>
              <a:rPr lang="en-US" sz="1000" dirty="0">
                <a:solidFill>
                  <a:schemeClr val="bg1"/>
                </a:solidFill>
                <a:cs typeface="Calibri Light"/>
                <a:sym typeface="Arial"/>
              </a:rPr>
              <a:t>Include the </a:t>
            </a:r>
            <a:r>
              <a:rPr lang="en-US" sz="1000" dirty="0">
                <a:solidFill>
                  <a:schemeClr val="bg1"/>
                </a:solidFill>
                <a:cs typeface="Calibri Light"/>
              </a:rPr>
              <a:t>SBS Inclusion Program - Core Inclusion Course or equivalent as a mandatory requirement for participating on a recruitment selection committee</a:t>
            </a: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Create a central liaison point for prospective candidates and new employees with disability to contact</a:t>
            </a:r>
          </a:p>
          <a:p>
            <a:pPr marL="171450" indent="-171450">
              <a:spcBef>
                <a:spcPts val="300"/>
              </a:spcBef>
              <a:spcAft>
                <a:spcPts val="300"/>
              </a:spcAft>
              <a:buFont typeface="Arial" panose="020B0604020202020204" pitchFamily="34" charset="0"/>
              <a:buChar char="•"/>
            </a:pPr>
            <a:r>
              <a:rPr lang="en-GB" sz="1000" dirty="0">
                <a:solidFill>
                  <a:schemeClr val="bg1"/>
                </a:solidFill>
                <a:cs typeface="Calibri Light"/>
              </a:rPr>
              <a:t>Participate in the Australian Network on Disability Stepping Into internship program, improving the transition of young people with disability from education to employment </a:t>
            </a:r>
          </a:p>
          <a:p>
            <a:pPr marL="171450" indent="-171450">
              <a:spcBef>
                <a:spcPts val="300"/>
              </a:spcBef>
              <a:spcAft>
                <a:spcPts val="300"/>
              </a:spcAft>
              <a:buFont typeface="Arial" panose="020B0604020202020204" pitchFamily="34" charset="0"/>
              <a:buChar char="•"/>
            </a:pPr>
            <a:r>
              <a:rPr lang="en-GB" sz="1000" dirty="0">
                <a:solidFill>
                  <a:schemeClr val="bg1"/>
                </a:solidFill>
                <a:cs typeface="Calibri Light"/>
              </a:rPr>
              <a:t>Explore involvement in the Services Australia Aurora Neurodiversity Program in partnership with Specialisterne</a:t>
            </a:r>
          </a:p>
          <a:p>
            <a:pPr marL="171450" indent="-171450">
              <a:spcBef>
                <a:spcPts val="300"/>
              </a:spcBef>
              <a:spcAft>
                <a:spcPts val="300"/>
              </a:spcAft>
              <a:buFont typeface="Arial" panose="020B0604020202020204" pitchFamily="34" charset="0"/>
              <a:buChar char="•"/>
            </a:pPr>
            <a:endParaRPr lang="en-GB" sz="1000" dirty="0">
              <a:solidFill>
                <a:schemeClr val="bg1"/>
              </a:solidFill>
              <a:cs typeface="Calibri Light"/>
            </a:endParaRPr>
          </a:p>
          <a:p>
            <a:pPr marL="171450" indent="-171450">
              <a:spcBef>
                <a:spcPts val="300"/>
              </a:spcBef>
              <a:spcAft>
                <a:spcPts val="300"/>
              </a:spcAft>
              <a:buFont typeface="Arial" panose="020B0604020202020204" pitchFamily="34" charset="0"/>
              <a:buChar char="•"/>
            </a:pPr>
            <a:endParaRPr lang="en-GB" sz="1000" dirty="0">
              <a:solidFill>
                <a:schemeClr val="bg1"/>
              </a:solidFill>
              <a:cs typeface="Calibri Light"/>
            </a:endParaRPr>
          </a:p>
          <a:p>
            <a:pPr marL="171450" indent="-171450">
              <a:spcBef>
                <a:spcPts val="300"/>
              </a:spcBef>
              <a:spcAft>
                <a:spcPts val="300"/>
              </a:spcAft>
              <a:buFont typeface="Arial" panose="020B0604020202020204" pitchFamily="34" charset="0"/>
              <a:buChar char="•"/>
            </a:pPr>
            <a:endParaRPr lang="en-US" sz="1000" dirty="0">
              <a:solidFill>
                <a:schemeClr val="bg1"/>
              </a:solidFill>
              <a:cs typeface="Calibri Light"/>
              <a:sym typeface="Arial"/>
            </a:endParaRPr>
          </a:p>
        </p:txBody>
      </p:sp>
      <p:sp>
        <p:nvSpPr>
          <p:cNvPr id="34" name="Google Shape;1898;p199">
            <a:extLst>
              <a:ext uri="{FF2B5EF4-FFF2-40B4-BE49-F238E27FC236}">
                <a16:creationId xmlns:a16="http://schemas.microsoft.com/office/drawing/2014/main" id="{E7439CDD-7523-4BEC-BBA8-59B99B5EA879}"/>
              </a:ext>
            </a:extLst>
          </p:cNvPr>
          <p:cNvSpPr txBox="1"/>
          <p:nvPr/>
        </p:nvSpPr>
        <p:spPr>
          <a:xfrm>
            <a:off x="8980242" y="2469369"/>
            <a:ext cx="2420784" cy="3708667"/>
          </a:xfrm>
          <a:prstGeom prst="rect">
            <a:avLst/>
          </a:prstGeom>
          <a:noFill/>
          <a:ln>
            <a:noFill/>
          </a:ln>
        </p:spPr>
        <p:txBody>
          <a:bodyPr spcFirstLastPara="1" wrap="square" lIns="91425" tIns="45700" rIns="91425" bIns="45700" anchor="t" anchorCtr="0">
            <a:spAutoFit/>
          </a:bodyPr>
          <a:lstStyle/>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Introduce established disability awareness training as part of induction for new employees and leaders</a:t>
            </a: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Continue the central liaison experience as candidates transition as new employees through pre and </a:t>
            </a:r>
            <a:r>
              <a:rPr lang="en-AU" sz="1000" dirty="0" smtClean="0">
                <a:solidFill>
                  <a:schemeClr val="bg1"/>
                </a:solidFill>
                <a:cs typeface="Calibri Light"/>
              </a:rPr>
              <a:t>on boarding</a:t>
            </a:r>
            <a:endParaRPr lang="en-AU" sz="1000" dirty="0">
              <a:solidFill>
                <a:schemeClr val="bg1"/>
              </a:solidFill>
              <a:cs typeface="Calibri Light"/>
            </a:endParaRP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Introduce a workplace buddy --</a:t>
            </a:r>
            <a:r>
              <a:rPr lang="en-US" sz="1000" dirty="0">
                <a:solidFill>
                  <a:schemeClr val="bg1"/>
                </a:solidFill>
                <a:cs typeface="Calibri Light"/>
              </a:rPr>
              <a:t>buddies provide general support and guidance to new employees. The role of a buddy is more informal than a Manager/Supervisor. A buddy should be accessible and available to offer general guidance and support to new employees</a:t>
            </a:r>
            <a:endParaRPr lang="en-AU" sz="1000" dirty="0">
              <a:solidFill>
                <a:schemeClr val="bg1"/>
              </a:solidFill>
              <a:cs typeface="Calibri Light"/>
            </a:endParaRP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Hold internal ‘Interest Seminars’ as informal, peer to peer learning opportunities to learn about the organisation and increase connection and understanding from the onset</a:t>
            </a:r>
          </a:p>
          <a:p>
            <a:pPr marL="171450" marR="0" lvl="0" indent="-171450" rtl="0">
              <a:spcBef>
                <a:spcPts val="300"/>
              </a:spcBef>
              <a:spcAft>
                <a:spcPts val="300"/>
              </a:spcAft>
              <a:buFont typeface="Arial" panose="020B0604020202020204" pitchFamily="34" charset="0"/>
              <a:buChar char="•"/>
            </a:pPr>
            <a:endParaRPr sz="1000" dirty="0">
              <a:solidFill>
                <a:schemeClr val="bg1"/>
              </a:solidFill>
              <a:cs typeface="Calibri Light"/>
              <a:sym typeface="Arial"/>
            </a:endParaRPr>
          </a:p>
        </p:txBody>
      </p:sp>
      <p:grpSp>
        <p:nvGrpSpPr>
          <p:cNvPr id="35" name="Google Shape;752;g12f6fb1d8b0_2_59">
            <a:extLst>
              <a:ext uri="{FF2B5EF4-FFF2-40B4-BE49-F238E27FC236}">
                <a16:creationId xmlns:a16="http://schemas.microsoft.com/office/drawing/2014/main" id="{940CCC70-2FD8-4790-9041-7A36DAB79FFB}"/>
              </a:ext>
            </a:extLst>
          </p:cNvPr>
          <p:cNvGrpSpPr/>
          <p:nvPr/>
        </p:nvGrpSpPr>
        <p:grpSpPr>
          <a:xfrm>
            <a:off x="3182221" y="1779953"/>
            <a:ext cx="468373" cy="514943"/>
            <a:chOff x="6772527" y="3885374"/>
            <a:chExt cx="404018" cy="443953"/>
          </a:xfrm>
          <a:solidFill>
            <a:schemeClr val="bg1"/>
          </a:solidFill>
        </p:grpSpPr>
        <p:sp>
          <p:nvSpPr>
            <p:cNvPr id="36" name="Google Shape;753;g12f6fb1d8b0_2_59">
              <a:extLst>
                <a:ext uri="{FF2B5EF4-FFF2-40B4-BE49-F238E27FC236}">
                  <a16:creationId xmlns:a16="http://schemas.microsoft.com/office/drawing/2014/main" id="{324E1BDA-B879-48E8-BF42-FEB6207A1BFA}"/>
                </a:ext>
              </a:extLst>
            </p:cNvPr>
            <p:cNvSpPr/>
            <p:nvPr/>
          </p:nvSpPr>
          <p:spPr>
            <a:xfrm>
              <a:off x="6877033" y="3938058"/>
              <a:ext cx="166831" cy="177281"/>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37" name="Google Shape;754;g12f6fb1d8b0_2_59">
              <a:extLst>
                <a:ext uri="{FF2B5EF4-FFF2-40B4-BE49-F238E27FC236}">
                  <a16:creationId xmlns:a16="http://schemas.microsoft.com/office/drawing/2014/main" id="{E1EBB712-752A-456D-B020-BB93D85D6412}"/>
                </a:ext>
              </a:extLst>
            </p:cNvPr>
            <p:cNvSpPr/>
            <p:nvPr/>
          </p:nvSpPr>
          <p:spPr>
            <a:xfrm>
              <a:off x="6772527" y="3885374"/>
              <a:ext cx="404018" cy="443953"/>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sp>
        <p:nvSpPr>
          <p:cNvPr id="38" name="Rectangle 37">
            <a:extLst>
              <a:ext uri="{FF2B5EF4-FFF2-40B4-BE49-F238E27FC236}">
                <a16:creationId xmlns:a16="http://schemas.microsoft.com/office/drawing/2014/main" id="{6C83048E-9E3A-4B62-BC85-6600564A2BCA}"/>
              </a:ext>
            </a:extLst>
          </p:cNvPr>
          <p:cNvSpPr/>
          <p:nvPr/>
        </p:nvSpPr>
        <p:spPr>
          <a:xfrm>
            <a:off x="3133024" y="1732829"/>
            <a:ext cx="626419" cy="62641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9" name="Google Shape;1907;p199">
            <a:extLst>
              <a:ext uri="{FF2B5EF4-FFF2-40B4-BE49-F238E27FC236}">
                <a16:creationId xmlns:a16="http://schemas.microsoft.com/office/drawing/2014/main" id="{D00DFE4E-88DC-4C02-914B-9173F78FCC91}"/>
              </a:ext>
            </a:extLst>
          </p:cNvPr>
          <p:cNvSpPr/>
          <p:nvPr/>
        </p:nvSpPr>
        <p:spPr>
          <a:xfrm>
            <a:off x="6466111" y="1713755"/>
            <a:ext cx="643666" cy="645494"/>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dirty="0">
              <a:solidFill>
                <a:schemeClr val="accent1"/>
              </a:solidFill>
              <a:latin typeface="Arial"/>
              <a:ea typeface="Arial"/>
              <a:cs typeface="Arial"/>
              <a:sym typeface="Arial"/>
            </a:endParaRPr>
          </a:p>
        </p:txBody>
      </p:sp>
      <p:grpSp>
        <p:nvGrpSpPr>
          <p:cNvPr id="40" name="Google Shape;1550;p191">
            <a:extLst>
              <a:ext uri="{FF2B5EF4-FFF2-40B4-BE49-F238E27FC236}">
                <a16:creationId xmlns:a16="http://schemas.microsoft.com/office/drawing/2014/main" id="{A38033D0-0BD5-41AE-84C5-D3DD8FCA559E}"/>
              </a:ext>
            </a:extLst>
          </p:cNvPr>
          <p:cNvGrpSpPr/>
          <p:nvPr/>
        </p:nvGrpSpPr>
        <p:grpSpPr>
          <a:xfrm>
            <a:off x="9064102" y="1687445"/>
            <a:ext cx="690491" cy="671803"/>
            <a:chOff x="3805601" y="2356519"/>
            <a:chExt cx="720108" cy="719999"/>
          </a:xfrm>
        </p:grpSpPr>
        <p:sp>
          <p:nvSpPr>
            <p:cNvPr id="41" name="Google Shape;1551;p191">
              <a:extLst>
                <a:ext uri="{FF2B5EF4-FFF2-40B4-BE49-F238E27FC236}">
                  <a16:creationId xmlns:a16="http://schemas.microsoft.com/office/drawing/2014/main" id="{C23E64E7-1A83-4EF1-8522-B365C2EFE9E5}"/>
                </a:ext>
              </a:extLst>
            </p:cNvPr>
            <p:cNvSpPr/>
            <p:nvPr/>
          </p:nvSpPr>
          <p:spPr>
            <a:xfrm>
              <a:off x="3805601" y="2356519"/>
              <a:ext cx="720108" cy="719999"/>
            </a:xfrm>
            <a:custGeom>
              <a:avLst/>
              <a:gdLst/>
              <a:ahLst/>
              <a:cxnLst/>
              <a:rect l="l" t="t" r="r" b="b"/>
              <a:pathLst>
                <a:path w="6682" h="6681" extrusionOk="0">
                  <a:moveTo>
                    <a:pt x="0" y="0"/>
                  </a:moveTo>
                  <a:lnTo>
                    <a:pt x="0" y="6681"/>
                  </a:lnTo>
                  <a:lnTo>
                    <a:pt x="6682" y="6681"/>
                  </a:lnTo>
                  <a:lnTo>
                    <a:pt x="6682" y="0"/>
                  </a:lnTo>
                  <a:lnTo>
                    <a:pt x="0" y="0"/>
                  </a:lnTo>
                  <a:close/>
                  <a:moveTo>
                    <a:pt x="1774" y="286"/>
                  </a:moveTo>
                  <a:lnTo>
                    <a:pt x="1774" y="2846"/>
                  </a:lnTo>
                  <a:lnTo>
                    <a:pt x="286" y="2846"/>
                  </a:lnTo>
                  <a:lnTo>
                    <a:pt x="286" y="286"/>
                  </a:lnTo>
                  <a:lnTo>
                    <a:pt x="1774" y="286"/>
                  </a:lnTo>
                  <a:close/>
                  <a:moveTo>
                    <a:pt x="286" y="4989"/>
                  </a:moveTo>
                  <a:lnTo>
                    <a:pt x="486" y="4989"/>
                  </a:lnTo>
                  <a:lnTo>
                    <a:pt x="486" y="4703"/>
                  </a:lnTo>
                  <a:lnTo>
                    <a:pt x="286" y="4703"/>
                  </a:lnTo>
                  <a:lnTo>
                    <a:pt x="286" y="3132"/>
                  </a:lnTo>
                  <a:lnTo>
                    <a:pt x="2060" y="3132"/>
                  </a:lnTo>
                  <a:lnTo>
                    <a:pt x="2060" y="286"/>
                  </a:lnTo>
                  <a:lnTo>
                    <a:pt x="6396" y="286"/>
                  </a:lnTo>
                  <a:lnTo>
                    <a:pt x="6396" y="3539"/>
                  </a:lnTo>
                  <a:lnTo>
                    <a:pt x="4724" y="3539"/>
                  </a:lnTo>
                  <a:lnTo>
                    <a:pt x="4724" y="6397"/>
                  </a:lnTo>
                  <a:lnTo>
                    <a:pt x="286" y="6397"/>
                  </a:lnTo>
                  <a:lnTo>
                    <a:pt x="286" y="4989"/>
                  </a:lnTo>
                  <a:close/>
                  <a:moveTo>
                    <a:pt x="5008" y="6397"/>
                  </a:moveTo>
                  <a:lnTo>
                    <a:pt x="5008" y="3825"/>
                  </a:lnTo>
                  <a:lnTo>
                    <a:pt x="6396" y="3825"/>
                  </a:lnTo>
                  <a:lnTo>
                    <a:pt x="6396" y="6397"/>
                  </a:lnTo>
                  <a:lnTo>
                    <a:pt x="5008" y="6397"/>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2" name="Google Shape;1552;p191">
              <a:extLst>
                <a:ext uri="{FF2B5EF4-FFF2-40B4-BE49-F238E27FC236}">
                  <a16:creationId xmlns:a16="http://schemas.microsoft.com/office/drawing/2014/main" id="{15B6C980-0724-4AE9-9292-AB3022656535}"/>
                </a:ext>
              </a:extLst>
            </p:cNvPr>
            <p:cNvSpPr/>
            <p:nvPr/>
          </p:nvSpPr>
          <p:spPr>
            <a:xfrm>
              <a:off x="3950226" y="2863353"/>
              <a:ext cx="30606"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3" name="Google Shape;1553;p191">
              <a:extLst>
                <a:ext uri="{FF2B5EF4-FFF2-40B4-BE49-F238E27FC236}">
                  <a16:creationId xmlns:a16="http://schemas.microsoft.com/office/drawing/2014/main" id="{0DC1D9CD-CF8F-4AC8-BDC7-98907F39DAC2}"/>
                </a:ext>
              </a:extLst>
            </p:cNvPr>
            <p:cNvSpPr/>
            <p:nvPr/>
          </p:nvSpPr>
          <p:spPr>
            <a:xfrm>
              <a:off x="4011654" y="2863353"/>
              <a:ext cx="30606"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4" name="Google Shape;1554;p191">
              <a:extLst>
                <a:ext uri="{FF2B5EF4-FFF2-40B4-BE49-F238E27FC236}">
                  <a16:creationId xmlns:a16="http://schemas.microsoft.com/office/drawing/2014/main" id="{B09874C7-FA46-4563-AEE0-AEE27C9C6024}"/>
                </a:ext>
              </a:extLst>
            </p:cNvPr>
            <p:cNvSpPr/>
            <p:nvPr/>
          </p:nvSpPr>
          <p:spPr>
            <a:xfrm>
              <a:off x="4072866" y="2863353"/>
              <a:ext cx="30822"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5" name="Google Shape;1555;p191">
              <a:extLst>
                <a:ext uri="{FF2B5EF4-FFF2-40B4-BE49-F238E27FC236}">
                  <a16:creationId xmlns:a16="http://schemas.microsoft.com/office/drawing/2014/main" id="{FB36367F-EABB-4E6F-9C84-0181B45C0249}"/>
                </a:ext>
              </a:extLst>
            </p:cNvPr>
            <p:cNvSpPr/>
            <p:nvPr/>
          </p:nvSpPr>
          <p:spPr>
            <a:xfrm>
              <a:off x="3888798" y="2863353"/>
              <a:ext cx="30606"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6" name="Google Shape;1556;p191">
              <a:extLst>
                <a:ext uri="{FF2B5EF4-FFF2-40B4-BE49-F238E27FC236}">
                  <a16:creationId xmlns:a16="http://schemas.microsoft.com/office/drawing/2014/main" id="{84D29C1E-49CE-463C-9F92-EDC3CEC0023B}"/>
                </a:ext>
              </a:extLst>
            </p:cNvPr>
            <p:cNvSpPr/>
            <p:nvPr/>
          </p:nvSpPr>
          <p:spPr>
            <a:xfrm>
              <a:off x="4301335" y="2539078"/>
              <a:ext cx="30606"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7" name="Google Shape;1557;p191">
              <a:extLst>
                <a:ext uri="{FF2B5EF4-FFF2-40B4-BE49-F238E27FC236}">
                  <a16:creationId xmlns:a16="http://schemas.microsoft.com/office/drawing/2014/main" id="{60C40E99-52FB-405C-9DEF-39014D974F77}"/>
                </a:ext>
              </a:extLst>
            </p:cNvPr>
            <p:cNvSpPr/>
            <p:nvPr/>
          </p:nvSpPr>
          <p:spPr>
            <a:xfrm>
              <a:off x="4153693" y="2637147"/>
              <a:ext cx="30822"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8" name="Google Shape;1558;p191">
              <a:extLst>
                <a:ext uri="{FF2B5EF4-FFF2-40B4-BE49-F238E27FC236}">
                  <a16:creationId xmlns:a16="http://schemas.microsoft.com/office/drawing/2014/main" id="{D736A687-86F4-4E9D-B1BC-A3CE207D4AA5}"/>
                </a:ext>
              </a:extLst>
            </p:cNvPr>
            <p:cNvSpPr/>
            <p:nvPr/>
          </p:nvSpPr>
          <p:spPr>
            <a:xfrm>
              <a:off x="4153693" y="2575719"/>
              <a:ext cx="30822"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9" name="Google Shape;1559;p191">
              <a:extLst>
                <a:ext uri="{FF2B5EF4-FFF2-40B4-BE49-F238E27FC236}">
                  <a16:creationId xmlns:a16="http://schemas.microsoft.com/office/drawing/2014/main" id="{476FD5DB-CE1D-4396-9EA3-29F20D208669}"/>
                </a:ext>
              </a:extLst>
            </p:cNvPr>
            <p:cNvSpPr/>
            <p:nvPr/>
          </p:nvSpPr>
          <p:spPr>
            <a:xfrm>
              <a:off x="4178479" y="2539078"/>
              <a:ext cx="30606"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0" name="Google Shape;1560;p191">
              <a:extLst>
                <a:ext uri="{FF2B5EF4-FFF2-40B4-BE49-F238E27FC236}">
                  <a16:creationId xmlns:a16="http://schemas.microsoft.com/office/drawing/2014/main" id="{9B20333D-E734-4277-B5BB-0C881EB12B1D}"/>
                </a:ext>
              </a:extLst>
            </p:cNvPr>
            <p:cNvSpPr/>
            <p:nvPr/>
          </p:nvSpPr>
          <p:spPr>
            <a:xfrm>
              <a:off x="4134294" y="2863353"/>
              <a:ext cx="30822"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1" name="Google Shape;1561;p191">
              <a:extLst>
                <a:ext uri="{FF2B5EF4-FFF2-40B4-BE49-F238E27FC236}">
                  <a16:creationId xmlns:a16="http://schemas.microsoft.com/office/drawing/2014/main" id="{BB3F26DB-B085-457C-897E-8F76933EFD43}"/>
                </a:ext>
              </a:extLst>
            </p:cNvPr>
            <p:cNvSpPr/>
            <p:nvPr/>
          </p:nvSpPr>
          <p:spPr>
            <a:xfrm>
              <a:off x="4239907" y="2539078"/>
              <a:ext cx="30606"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2" name="Google Shape;1562;p191">
              <a:extLst>
                <a:ext uri="{FF2B5EF4-FFF2-40B4-BE49-F238E27FC236}">
                  <a16:creationId xmlns:a16="http://schemas.microsoft.com/office/drawing/2014/main" id="{2E447D02-D39B-4B0F-9BB7-BC0FFD1C68BA}"/>
                </a:ext>
              </a:extLst>
            </p:cNvPr>
            <p:cNvSpPr/>
            <p:nvPr/>
          </p:nvSpPr>
          <p:spPr>
            <a:xfrm>
              <a:off x="4153693" y="2760111"/>
              <a:ext cx="30822"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3" name="Google Shape;1563;p191">
              <a:extLst>
                <a:ext uri="{FF2B5EF4-FFF2-40B4-BE49-F238E27FC236}">
                  <a16:creationId xmlns:a16="http://schemas.microsoft.com/office/drawing/2014/main" id="{72576900-5973-45D3-B261-5ECE9927BBA5}"/>
                </a:ext>
              </a:extLst>
            </p:cNvPr>
            <p:cNvSpPr/>
            <p:nvPr/>
          </p:nvSpPr>
          <p:spPr>
            <a:xfrm>
              <a:off x="4153693" y="2698575"/>
              <a:ext cx="30822" cy="30714"/>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4" name="Google Shape;1564;p191">
              <a:extLst>
                <a:ext uri="{FF2B5EF4-FFF2-40B4-BE49-F238E27FC236}">
                  <a16:creationId xmlns:a16="http://schemas.microsoft.com/office/drawing/2014/main" id="{FAC762E7-EEF2-4CCC-955C-920CEA64901F}"/>
                </a:ext>
              </a:extLst>
            </p:cNvPr>
            <p:cNvSpPr/>
            <p:nvPr/>
          </p:nvSpPr>
          <p:spPr>
            <a:xfrm>
              <a:off x="4153693" y="2821323"/>
              <a:ext cx="30822"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5" name="Google Shape;1565;p191">
              <a:extLst>
                <a:ext uri="{FF2B5EF4-FFF2-40B4-BE49-F238E27FC236}">
                  <a16:creationId xmlns:a16="http://schemas.microsoft.com/office/drawing/2014/main" id="{A7D58DF2-4ECE-45B4-99A0-47444F516B08}"/>
                </a:ext>
              </a:extLst>
            </p:cNvPr>
            <p:cNvSpPr/>
            <p:nvPr/>
          </p:nvSpPr>
          <p:spPr>
            <a:xfrm>
              <a:off x="4341425" y="2482177"/>
              <a:ext cx="98069" cy="151306"/>
            </a:xfrm>
            <a:custGeom>
              <a:avLst/>
              <a:gdLst/>
              <a:ahLst/>
              <a:cxnLst/>
              <a:rect l="l" t="t" r="r" b="b"/>
              <a:pathLst>
                <a:path w="910" h="1404" extrusionOk="0">
                  <a:moveTo>
                    <a:pt x="202" y="1404"/>
                  </a:moveTo>
                  <a:lnTo>
                    <a:pt x="910" y="696"/>
                  </a:lnTo>
                  <a:lnTo>
                    <a:pt x="214" y="0"/>
                  </a:lnTo>
                  <a:lnTo>
                    <a:pt x="14" y="202"/>
                  </a:lnTo>
                  <a:lnTo>
                    <a:pt x="340" y="528"/>
                  </a:lnTo>
                  <a:lnTo>
                    <a:pt x="198" y="528"/>
                  </a:lnTo>
                  <a:lnTo>
                    <a:pt x="198" y="812"/>
                  </a:lnTo>
                  <a:lnTo>
                    <a:pt x="390" y="812"/>
                  </a:lnTo>
                  <a:lnTo>
                    <a:pt x="0" y="1202"/>
                  </a:lnTo>
                  <a:lnTo>
                    <a:pt x="202" y="1404"/>
                  </a:lnTo>
                  <a:close/>
                  <a:moveTo>
                    <a:pt x="482" y="670"/>
                  </a:moveTo>
                  <a:lnTo>
                    <a:pt x="508" y="696"/>
                  </a:lnTo>
                  <a:lnTo>
                    <a:pt x="482" y="720"/>
                  </a:lnTo>
                  <a:lnTo>
                    <a:pt x="482" y="670"/>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grpSp>
      <p:sp>
        <p:nvSpPr>
          <p:cNvPr id="56" name="Slide Number Placeholder 3">
            <a:extLst>
              <a:ext uri="{FF2B5EF4-FFF2-40B4-BE49-F238E27FC236}">
                <a16:creationId xmlns:a16="http://schemas.microsoft.com/office/drawing/2014/main" id="{0C3601D9-7522-4C81-9BC6-F31255213FAB}"/>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42</a:t>
            </a:fld>
            <a:endParaRPr lang="en-US" dirty="0"/>
          </a:p>
        </p:txBody>
      </p:sp>
      <p:sp>
        <p:nvSpPr>
          <p:cNvPr id="57" name="Footer Placeholder 1">
            <a:extLst>
              <a:ext uri="{FF2B5EF4-FFF2-40B4-BE49-F238E27FC236}">
                <a16:creationId xmlns:a16="http://schemas.microsoft.com/office/drawing/2014/main" id="{24171496-5014-4F19-821F-7D8D31934B58}"/>
              </a:ext>
            </a:extLst>
          </p:cNvPr>
          <p:cNvSpPr>
            <a:spLocks noGrp="1"/>
          </p:cNvSpPr>
          <p:nvPr>
            <p:ph type="ftr" sz="quarter" idx="11"/>
          </p:nvPr>
        </p:nvSpPr>
        <p:spPr>
          <a:xfrm>
            <a:off x="1172187" y="6356350"/>
            <a:ext cx="6783813" cy="180000"/>
          </a:xfrm>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9578552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3455D95-CCCD-4000-8A6F-6398A2A537DD}"/>
              </a:ext>
            </a:extLst>
          </p:cNvPr>
          <p:cNvSpPr>
            <a:spLocks noGrp="1"/>
          </p:cNvSpPr>
          <p:nvPr>
            <p:ph type="ftr" sz="quarter" idx="11"/>
          </p:nvPr>
        </p:nvSpPr>
        <p:spPr>
          <a:xfrm>
            <a:off x="2251550" y="6214145"/>
            <a:ext cx="6783813" cy="180000"/>
          </a:xfrm>
        </p:spPr>
        <p:txBody>
          <a:bodyPr/>
          <a:lstStyle/>
          <a:p>
            <a:pPr>
              <a:defRPr/>
            </a:pPr>
            <a:r>
              <a:rPr lang="en-AU" smtClean="0"/>
              <a:t>NDIS Commission Workforce Plan 2023-2028</a:t>
            </a:r>
            <a:endParaRPr lang="en-US" dirty="0"/>
          </a:p>
        </p:txBody>
      </p:sp>
      <p:sp>
        <p:nvSpPr>
          <p:cNvPr id="25" name="Slide Number Placeholder 7">
            <a:extLst>
              <a:ext uri="{FF2B5EF4-FFF2-40B4-BE49-F238E27FC236}">
                <a16:creationId xmlns:a16="http://schemas.microsoft.com/office/drawing/2014/main" id="{345C9818-D277-43D5-8C3B-D4E1FF23278B}"/>
              </a:ext>
            </a:extLst>
          </p:cNvPr>
          <p:cNvSpPr txBox="1">
            <a:spLocks/>
          </p:cNvSpPr>
          <p:nvPr/>
        </p:nvSpPr>
        <p:spPr>
          <a:xfrm>
            <a:off x="11035888" y="6356350"/>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0F55C17-AF72-40D4-ADBD-B5505DEBF9BA}" type="slidenum">
              <a:rPr kumimoji="0" lang="en-AU"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itle 4">
            <a:extLst>
              <a:ext uri="{FF2B5EF4-FFF2-40B4-BE49-F238E27FC236}">
                <a16:creationId xmlns:a16="http://schemas.microsoft.com/office/drawing/2014/main" id="{F780F49E-C76D-419E-9D43-8661331B3495}"/>
              </a:ext>
            </a:extLst>
          </p:cNvPr>
          <p:cNvSpPr txBox="1">
            <a:spLocks/>
          </p:cNvSpPr>
          <p:nvPr/>
        </p:nvSpPr>
        <p:spPr>
          <a:xfrm>
            <a:off x="503691" y="498100"/>
            <a:ext cx="8268644" cy="673562"/>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5F2E74"/>
                </a:solidFill>
                <a:effectLst/>
                <a:uLnTx/>
                <a:uFillTx/>
                <a:latin typeface="Calibri" panose="020F0502020204030204"/>
                <a:ea typeface="+mj-ea"/>
                <a:cs typeface="+mj-cs"/>
              </a:rPr>
              <a:t>Appendix C: Labour Market Analysis </a:t>
            </a:r>
            <a:endParaRPr kumimoji="0" lang="en-AU" sz="2800" b="1" i="0" u="none" strike="noStrike" kern="1200" cap="none" spc="0" normalizeH="0" baseline="0" noProof="0" dirty="0">
              <a:ln>
                <a:noFill/>
              </a:ln>
              <a:solidFill>
                <a:srgbClr val="5F2E74"/>
              </a:solidFill>
              <a:effectLst/>
              <a:uLnTx/>
              <a:uFillTx/>
              <a:latin typeface="Calibri" panose="020F0502020204030204"/>
              <a:ea typeface="+mj-ea"/>
              <a:cs typeface="+mj-cs"/>
            </a:endParaRPr>
          </a:p>
        </p:txBody>
      </p:sp>
      <p:sp>
        <p:nvSpPr>
          <p:cNvPr id="22" name="Rectangle 1">
            <a:extLst>
              <a:ext uri="{FF2B5EF4-FFF2-40B4-BE49-F238E27FC236}">
                <a16:creationId xmlns:a16="http://schemas.microsoft.com/office/drawing/2014/main" id="{DC8D40F8-522F-42B7-837D-C1EF59D0733E}"/>
              </a:ext>
            </a:extLst>
          </p:cNvPr>
          <p:cNvSpPr>
            <a:spLocks noChangeArrowheads="1"/>
          </p:cNvSpPr>
          <p:nvPr/>
        </p:nvSpPr>
        <p:spPr bwMode="auto">
          <a:xfrm>
            <a:off x="2773363" y="39290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4" name="Rectangle 2">
            <a:extLst>
              <a:ext uri="{FF2B5EF4-FFF2-40B4-BE49-F238E27FC236}">
                <a16:creationId xmlns:a16="http://schemas.microsoft.com/office/drawing/2014/main" id="{5D1781BB-1F22-4198-9099-2C8C6802B68A}"/>
              </a:ext>
            </a:extLst>
          </p:cNvPr>
          <p:cNvSpPr>
            <a:spLocks noChangeArrowheads="1"/>
          </p:cNvSpPr>
          <p:nvPr/>
        </p:nvSpPr>
        <p:spPr bwMode="auto">
          <a:xfrm>
            <a:off x="2773363" y="39290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6" name="Google Shape;2191;p207">
            <a:extLst>
              <a:ext uri="{FF2B5EF4-FFF2-40B4-BE49-F238E27FC236}">
                <a16:creationId xmlns:a16="http://schemas.microsoft.com/office/drawing/2014/main" id="{EE5FD9A8-F165-4A5A-83DD-8B981822D2FC}"/>
              </a:ext>
            </a:extLst>
          </p:cNvPr>
          <p:cNvSpPr/>
          <p:nvPr/>
        </p:nvSpPr>
        <p:spPr>
          <a:xfrm>
            <a:off x="432354" y="6593715"/>
            <a:ext cx="10621665" cy="251578"/>
          </a:xfrm>
          <a:prstGeom prst="rect">
            <a:avLst/>
          </a:pr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AU" sz="700" b="1" i="0" u="none" strike="noStrike" kern="0" cap="none" spc="0" normalizeH="0" baseline="0" noProof="0" dirty="0">
                <a:ln>
                  <a:noFill/>
                </a:ln>
                <a:solidFill>
                  <a:prstClr val="black"/>
                </a:solidFill>
                <a:effectLst/>
                <a:uLnTx/>
                <a:uFillTx/>
                <a:latin typeface="Calibri" panose="020F0502020204030204"/>
                <a:ea typeface="+mn-ea"/>
                <a:cs typeface="Arial"/>
                <a:sym typeface="Arial"/>
              </a:rPr>
              <a:t>Source</a:t>
            </a:r>
            <a:r>
              <a:rPr kumimoji="0" lang="en-AU" sz="700" i="0" u="none" strike="noStrike" kern="0" cap="none" spc="0" normalizeH="0" baseline="0" noProof="0" dirty="0">
                <a:ln>
                  <a:noFill/>
                </a:ln>
                <a:solidFill>
                  <a:prstClr val="black"/>
                </a:solidFill>
                <a:effectLst/>
                <a:uLnTx/>
                <a:uFillTx/>
                <a:latin typeface="Calibri" panose="020F0502020204030204"/>
                <a:ea typeface="+mn-ea"/>
                <a:cs typeface="Arial"/>
                <a:sym typeface="Arial"/>
              </a:rPr>
              <a:t>: National Skills Commission, Labour market insights - 2022</a:t>
            </a:r>
            <a:endParaRPr kumimoji="0" lang="en-US" sz="700" i="0" u="none" strike="noStrike" kern="0" cap="none" spc="0" normalizeH="0" baseline="0" noProof="0" dirty="0">
              <a:ln>
                <a:noFill/>
              </a:ln>
              <a:solidFill>
                <a:prstClr val="black"/>
              </a:solidFill>
              <a:effectLst/>
              <a:uLnTx/>
              <a:uFillTx/>
              <a:latin typeface="Calibri" panose="020F0502020204030204"/>
              <a:ea typeface="+mn-ea"/>
              <a:cs typeface="Arial"/>
            </a:endParaRPr>
          </a:p>
        </p:txBody>
      </p:sp>
      <p:sp>
        <p:nvSpPr>
          <p:cNvPr id="38" name="Google Shape;2191;p207">
            <a:extLst>
              <a:ext uri="{FF2B5EF4-FFF2-40B4-BE49-F238E27FC236}">
                <a16:creationId xmlns:a16="http://schemas.microsoft.com/office/drawing/2014/main" id="{C13B8EE5-E480-4D72-9F0A-1C3642B435C7}"/>
              </a:ext>
            </a:extLst>
          </p:cNvPr>
          <p:cNvSpPr/>
          <p:nvPr/>
        </p:nvSpPr>
        <p:spPr>
          <a:xfrm>
            <a:off x="505074" y="1651814"/>
            <a:ext cx="5882168" cy="264618"/>
          </a:xfrm>
          <a:prstGeom prst="rect">
            <a:avLst/>
          </a:prstGeom>
          <a:solidFill>
            <a:schemeClr val="tx2"/>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lang="en-AU" sz="1100" b="1" kern="0" dirty="0">
                <a:solidFill>
                  <a:srgbClr val="FFFFFF"/>
                </a:solidFill>
                <a:latin typeface="Calibri" panose="020F0502020204030204"/>
                <a:cs typeface="Arial"/>
                <a:sym typeface="Arial"/>
              </a:rPr>
              <a:t>Policy Analyst </a:t>
            </a: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Arial"/>
            </a:endParaRPr>
          </a:p>
        </p:txBody>
      </p:sp>
      <p:sp>
        <p:nvSpPr>
          <p:cNvPr id="51" name="Google Shape;2191;p207">
            <a:extLst>
              <a:ext uri="{FF2B5EF4-FFF2-40B4-BE49-F238E27FC236}">
                <a16:creationId xmlns:a16="http://schemas.microsoft.com/office/drawing/2014/main" id="{567E7F86-6C9B-42D4-A6A2-BF3FDA2B0B17}"/>
              </a:ext>
            </a:extLst>
          </p:cNvPr>
          <p:cNvSpPr/>
          <p:nvPr/>
        </p:nvSpPr>
        <p:spPr>
          <a:xfrm>
            <a:off x="6466115" y="1646930"/>
            <a:ext cx="5414736" cy="269509"/>
          </a:xfrm>
          <a:prstGeom prst="rect">
            <a:avLst/>
          </a:prstGeom>
          <a:solidFill>
            <a:schemeClr val="tx2"/>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lang="en-AU" sz="1100" b="1" kern="0" dirty="0">
                <a:solidFill>
                  <a:srgbClr val="FFFFFF"/>
                </a:solidFill>
                <a:latin typeface="Calibri" panose="020F0502020204030204"/>
                <a:cs typeface="Arial"/>
                <a:sym typeface="Arial"/>
              </a:rPr>
              <a:t>Intelligence and Policy Analyst </a:t>
            </a: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6" name="Picture 5">
            <a:extLst>
              <a:ext uri="{FF2B5EF4-FFF2-40B4-BE49-F238E27FC236}">
                <a16:creationId xmlns:a16="http://schemas.microsoft.com/office/drawing/2014/main" id="{BE20D780-E37E-49AC-B7A4-3F77F7693A49}"/>
              </a:ext>
            </a:extLst>
          </p:cNvPr>
          <p:cNvPicPr>
            <a:picLocks noChangeAspect="1"/>
          </p:cNvPicPr>
          <p:nvPr/>
        </p:nvPicPr>
        <p:blipFill>
          <a:blip r:embed="rId3">
            <a:duotone>
              <a:schemeClr val="accent2">
                <a:shade val="45000"/>
                <a:satMod val="135000"/>
              </a:schemeClr>
              <a:prstClr val="white"/>
            </a:duotone>
          </a:blip>
          <a:stretch>
            <a:fillRect/>
          </a:stretch>
        </p:blipFill>
        <p:spPr>
          <a:xfrm>
            <a:off x="6344817" y="2084045"/>
            <a:ext cx="5657332" cy="1762208"/>
          </a:xfrm>
          <a:prstGeom prst="rect">
            <a:avLst/>
          </a:prstGeom>
        </p:spPr>
      </p:pic>
      <p:pic>
        <p:nvPicPr>
          <p:cNvPr id="10" name="Picture 9">
            <a:extLst>
              <a:ext uri="{FF2B5EF4-FFF2-40B4-BE49-F238E27FC236}">
                <a16:creationId xmlns:a16="http://schemas.microsoft.com/office/drawing/2014/main" id="{912B4961-6B74-4B73-B143-60C4B893D8F3}"/>
              </a:ext>
            </a:extLst>
          </p:cNvPr>
          <p:cNvPicPr>
            <a:picLocks noChangeAspect="1"/>
          </p:cNvPicPr>
          <p:nvPr/>
        </p:nvPicPr>
        <p:blipFill>
          <a:blip r:embed="rId4">
            <a:duotone>
              <a:schemeClr val="accent6">
                <a:shade val="45000"/>
                <a:satMod val="135000"/>
              </a:schemeClr>
              <a:prstClr val="white"/>
            </a:duotone>
          </a:blip>
          <a:stretch>
            <a:fillRect/>
          </a:stretch>
        </p:blipFill>
        <p:spPr>
          <a:xfrm>
            <a:off x="503692" y="2135899"/>
            <a:ext cx="5449240" cy="1593595"/>
          </a:xfrm>
          <a:prstGeom prst="rect">
            <a:avLst/>
          </a:prstGeom>
        </p:spPr>
      </p:pic>
    </p:spTree>
    <p:extLst>
      <p:ext uri="{BB962C8B-B14F-4D97-AF65-F5344CB8AC3E}">
        <p14:creationId xmlns:p14="http://schemas.microsoft.com/office/powerpoint/2010/main" val="30963844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F0AA22-8930-BE81-E08F-83D01D92ACC8}"/>
              </a:ext>
            </a:extLst>
          </p:cNvPr>
          <p:cNvSpPr>
            <a:spLocks noGrp="1"/>
          </p:cNvSpPr>
          <p:nvPr>
            <p:ph type="sldNum" sz="quarter" idx="12"/>
          </p:nvPr>
        </p:nvSpPr>
        <p:spPr/>
        <p:txBody>
          <a:bodyPr/>
          <a:lstStyle/>
          <a:p>
            <a:fld id="{C0F55C17-AF72-40D4-ADBD-B5505DEBF9BA}" type="slidenum">
              <a:rPr lang="en-AU" smtClean="0"/>
              <a:pPr/>
              <a:t>44</a:t>
            </a:fld>
            <a:endParaRPr lang="en-US" dirty="0"/>
          </a:p>
        </p:txBody>
      </p:sp>
    </p:spTree>
    <p:extLst>
      <p:ext uri="{BB962C8B-B14F-4D97-AF65-F5344CB8AC3E}">
        <p14:creationId xmlns:p14="http://schemas.microsoft.com/office/powerpoint/2010/main" val="2325135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494D8255-8725-426D-80B3-85095D183999}"/>
              </a:ext>
            </a:extLst>
          </p:cNvPr>
          <p:cNvSpPr/>
          <p:nvPr/>
        </p:nvSpPr>
        <p:spPr>
          <a:xfrm>
            <a:off x="4250954" y="2304997"/>
            <a:ext cx="3580708" cy="217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600"/>
              </a:spcAft>
            </a:pPr>
            <a:r>
              <a:rPr lang="en-US" sz="1000" dirty="0">
                <a:solidFill>
                  <a:schemeClr val="tx1"/>
                </a:solidFill>
              </a:rPr>
              <a:t>The </a:t>
            </a:r>
            <a:r>
              <a:rPr lang="en-US" sz="1000" dirty="0" smtClean="0">
                <a:solidFill>
                  <a:schemeClr val="tx1"/>
                </a:solidFill>
              </a:rPr>
              <a:t>Commission’s </a:t>
            </a:r>
            <a:r>
              <a:rPr lang="en-US" sz="1000" dirty="0">
                <a:solidFill>
                  <a:schemeClr val="tx1"/>
                </a:solidFill>
              </a:rPr>
              <a:t>cultural principles also underpin the </a:t>
            </a:r>
            <a:r>
              <a:rPr lang="en-US" sz="1000" dirty="0" smtClean="0">
                <a:solidFill>
                  <a:schemeClr val="tx1"/>
                </a:solidFill>
              </a:rPr>
              <a:t>Plan’s </a:t>
            </a:r>
            <a:r>
              <a:rPr lang="en-US" sz="1000" dirty="0">
                <a:solidFill>
                  <a:schemeClr val="tx1"/>
                </a:solidFill>
              </a:rPr>
              <a:t>success and amplify everything the Commission does. As a contemporary, purpose-centred regulator, the </a:t>
            </a:r>
            <a:r>
              <a:rPr lang="en-US" sz="1000" dirty="0" smtClean="0">
                <a:solidFill>
                  <a:schemeClr val="tx1"/>
                </a:solidFill>
              </a:rPr>
              <a:t>Commission, and Commission staff,  </a:t>
            </a:r>
            <a:r>
              <a:rPr lang="en-US" sz="1000" dirty="0">
                <a:solidFill>
                  <a:schemeClr val="tx1"/>
                </a:solidFill>
              </a:rPr>
              <a:t>will:</a:t>
            </a:r>
          </a:p>
          <a:p>
            <a:pPr marL="539750" indent="-539750">
              <a:spcAft>
                <a:spcPts val="600"/>
              </a:spcAft>
              <a:buFont typeface="Arial" panose="020B0604020202020204" pitchFamily="34" charset="0"/>
              <a:buChar char="•"/>
            </a:pPr>
            <a:r>
              <a:rPr lang="en-US" sz="1000" b="1" dirty="0">
                <a:solidFill>
                  <a:schemeClr val="tx1"/>
                </a:solidFill>
              </a:rPr>
              <a:t>Lead the way: </a:t>
            </a:r>
            <a:r>
              <a:rPr lang="en-AU" sz="1000" dirty="0">
                <a:solidFill>
                  <a:schemeClr val="tx1"/>
                </a:solidFill>
              </a:rPr>
              <a:t>We communicate, anticipate and proactively respond to have a positive impact for people with disability.</a:t>
            </a:r>
            <a:endParaRPr lang="en-AU" sz="1000" dirty="0">
              <a:solidFill>
                <a:schemeClr val="tx1"/>
              </a:solidFill>
              <a:cs typeface="Calibri"/>
            </a:endParaRPr>
          </a:p>
          <a:p>
            <a:pPr marL="539750" indent="-539750">
              <a:spcAft>
                <a:spcPts val="600"/>
              </a:spcAft>
              <a:buFont typeface="Arial" panose="020B0604020202020204" pitchFamily="34" charset="0"/>
              <a:buChar char="•"/>
            </a:pPr>
            <a:r>
              <a:rPr lang="en-US" sz="1000" b="1" dirty="0">
                <a:solidFill>
                  <a:schemeClr val="tx1"/>
                </a:solidFill>
              </a:rPr>
              <a:t>Build trust: </a:t>
            </a:r>
            <a:r>
              <a:rPr lang="en-AU" sz="1000" dirty="0">
                <a:solidFill>
                  <a:schemeClr val="tx1"/>
                </a:solidFill>
              </a:rPr>
              <a:t>We are transparent, confident and effective in protecting the rights and safeguards of people with disability.</a:t>
            </a:r>
            <a:endParaRPr lang="en-AU" sz="1000" dirty="0">
              <a:solidFill>
                <a:schemeClr val="tx1"/>
              </a:solidFill>
              <a:cs typeface="Calibri"/>
            </a:endParaRPr>
          </a:p>
          <a:p>
            <a:pPr marL="539750" indent="-539750">
              <a:spcAft>
                <a:spcPts val="600"/>
              </a:spcAft>
              <a:buFont typeface="Arial" panose="020B0604020202020204" pitchFamily="34" charset="0"/>
              <a:buChar char="•"/>
            </a:pPr>
            <a:r>
              <a:rPr lang="en-US" sz="1000" b="1" dirty="0">
                <a:solidFill>
                  <a:schemeClr val="tx1"/>
                </a:solidFill>
              </a:rPr>
              <a:t>Keep learning: </a:t>
            </a:r>
            <a:r>
              <a:rPr lang="en-AU" sz="1000" dirty="0">
                <a:solidFill>
                  <a:schemeClr val="tx1"/>
                </a:solidFill>
              </a:rPr>
              <a:t>We continuously invest in our development and build our knowledge to evolve and improve.</a:t>
            </a:r>
            <a:endParaRPr lang="en-AU" sz="1000" dirty="0">
              <a:solidFill>
                <a:schemeClr val="tx1"/>
              </a:solidFill>
              <a:cs typeface="Calibri"/>
            </a:endParaRPr>
          </a:p>
          <a:p>
            <a:pPr marL="539750" indent="-539750">
              <a:spcAft>
                <a:spcPts val="600"/>
              </a:spcAft>
              <a:buFont typeface="Arial" panose="020B0604020202020204" pitchFamily="34" charset="0"/>
              <a:buChar char="•"/>
            </a:pPr>
            <a:r>
              <a:rPr lang="en-US" sz="1000" b="1" dirty="0">
                <a:solidFill>
                  <a:schemeClr val="tx1"/>
                </a:solidFill>
              </a:rPr>
              <a:t>Bring insight: </a:t>
            </a:r>
            <a:r>
              <a:rPr lang="en-AU" sz="1000" dirty="0">
                <a:solidFill>
                  <a:schemeClr val="tx1"/>
                </a:solidFill>
              </a:rPr>
              <a:t>We use data, technology and collaborate to identify information patterns, act early and influence the National Disability Insurance Scheme.</a:t>
            </a:r>
            <a:endParaRPr lang="en-AU" sz="1000" dirty="0">
              <a:solidFill>
                <a:schemeClr val="tx1"/>
              </a:solidFill>
              <a:cs typeface="Calibri"/>
            </a:endParaRPr>
          </a:p>
          <a:p>
            <a:pPr marL="539750" indent="-539750">
              <a:spcAft>
                <a:spcPts val="600"/>
              </a:spcAft>
              <a:buFont typeface="Arial" panose="020B0604020202020204" pitchFamily="34" charset="0"/>
              <a:buChar char="•"/>
            </a:pPr>
            <a:r>
              <a:rPr lang="en-US" sz="1000" b="1" dirty="0">
                <a:solidFill>
                  <a:schemeClr val="tx1"/>
                </a:solidFill>
              </a:rPr>
              <a:t>Stay connected: </a:t>
            </a:r>
            <a:r>
              <a:rPr lang="en-AU" sz="1000" dirty="0">
                <a:solidFill>
                  <a:schemeClr val="tx1"/>
                </a:solidFill>
              </a:rPr>
              <a:t>We work as One Commission, as part of the National Disability Insurance Scheme to learn, influence and adapt for regulatory impact.</a:t>
            </a:r>
            <a:endParaRPr lang="en-US" sz="1000" dirty="0">
              <a:solidFill>
                <a:schemeClr val="tx1"/>
              </a:solidFill>
              <a:latin typeface="Calibri" panose="020F0502020204030204"/>
              <a:cs typeface="Calibri Light" panose="020F0302020204030204" pitchFamily="34" charset="0"/>
            </a:endParaRPr>
          </a:p>
          <a:p>
            <a:pPr>
              <a:spcAft>
                <a:spcPts val="600"/>
              </a:spcAft>
            </a:pPr>
            <a:endParaRPr lang="en-US" sz="1000" b="1" i="0" u="none" strike="noStrike" kern="1200" cap="none" spc="0" normalizeH="0" baseline="0" noProof="0" dirty="0">
              <a:ln>
                <a:noFill/>
              </a:ln>
              <a:effectLst/>
              <a:uLnTx/>
              <a:uFillTx/>
              <a:latin typeface="Calibri" panose="020F0502020204030204"/>
              <a:ea typeface="Verdana" panose="020B0604030504040204" pitchFamily="34" charset="0"/>
              <a:cs typeface="Verdana" panose="020B0604030504040204" pitchFamily="34" charset="0"/>
            </a:endParaRPr>
          </a:p>
          <a:p>
            <a:pPr>
              <a:spcAft>
                <a:spcPts val="600"/>
              </a:spcAft>
            </a:pPr>
            <a:endParaRPr lang="en-AU" sz="1000" b="1" dirty="0">
              <a:solidFill>
                <a:schemeClr val="tx2"/>
              </a:solidFill>
              <a:cs typeface="Calibri"/>
            </a:endParaRPr>
          </a:p>
          <a:p>
            <a:pPr>
              <a:spcAft>
                <a:spcPts val="500"/>
              </a:spcAft>
            </a:pPr>
            <a:endParaRPr lang="en-AU" sz="1000" dirty="0">
              <a:solidFill>
                <a:schemeClr val="tx1"/>
              </a:solidFill>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933" y="387258"/>
            <a:ext cx="8370198" cy="859624"/>
          </a:xfrm>
        </p:spPr>
        <p:txBody>
          <a:bodyPr anchor="t" anchorCtr="0">
            <a:noAutofit/>
          </a:bodyPr>
          <a:lstStyle/>
          <a:p>
            <a:pPr>
              <a:lnSpc>
                <a:spcPct val="100000"/>
              </a:lnSpc>
            </a:pPr>
            <a:r>
              <a:rPr lang="en-US" sz="2400" dirty="0">
                <a:solidFill>
                  <a:schemeClr val="tx2"/>
                </a:solidFill>
              </a:rPr>
              <a:t>Developing a Workforce </a:t>
            </a:r>
            <a:r>
              <a:rPr lang="en-US" sz="2400" dirty="0" smtClean="0">
                <a:solidFill>
                  <a:schemeClr val="tx2"/>
                </a:solidFill>
              </a:rPr>
              <a:t>Plan </a:t>
            </a:r>
            <a:r>
              <a:rPr lang="en-US" sz="2400" dirty="0">
                <a:solidFill>
                  <a:schemeClr val="tx2"/>
                </a:solidFill>
              </a:rPr>
              <a:t>helps create the path to an engaged, skilled and sustainable workforce</a:t>
            </a:r>
            <a:endParaRPr lang="en-AU" sz="2400" dirty="0">
              <a:solidFill>
                <a:schemeClr val="tx2"/>
              </a:solidFill>
              <a:highlight>
                <a:srgbClr val="FFFF00"/>
              </a:highlight>
            </a:endParaRPr>
          </a:p>
        </p:txBody>
      </p:sp>
      <p:sp>
        <p:nvSpPr>
          <p:cNvPr id="60" name="Rectangle 59">
            <a:extLst>
              <a:ext uri="{FF2B5EF4-FFF2-40B4-BE49-F238E27FC236}">
                <a16:creationId xmlns:a16="http://schemas.microsoft.com/office/drawing/2014/main" id="{EF2ED94A-B18E-4397-9777-C79481D2FCC6}"/>
              </a:ext>
            </a:extLst>
          </p:cNvPr>
          <p:cNvSpPr/>
          <p:nvPr/>
        </p:nvSpPr>
        <p:spPr>
          <a:xfrm>
            <a:off x="417422" y="2304997"/>
            <a:ext cx="3729131" cy="4165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600"/>
              </a:spcAft>
            </a:pPr>
            <a:r>
              <a:rPr lang="en-AU" sz="1000" dirty="0">
                <a:solidFill>
                  <a:schemeClr val="tx1"/>
                </a:solidFill>
              </a:rPr>
              <a:t>The </a:t>
            </a:r>
            <a:r>
              <a:rPr lang="en-AU" sz="1000" dirty="0" smtClean="0">
                <a:solidFill>
                  <a:schemeClr val="tx1"/>
                </a:solidFill>
              </a:rPr>
              <a:t>Plan </a:t>
            </a:r>
            <a:r>
              <a:rPr lang="en-AU" sz="1000" dirty="0">
                <a:solidFill>
                  <a:schemeClr val="tx1"/>
                </a:solidFill>
              </a:rPr>
              <a:t>is a foundational first step in the workforce planning process for the Commission, and builds on existing strategies, corporate documents and initiatives such as those contained within the </a:t>
            </a:r>
            <a:r>
              <a:rPr lang="en-AU" sz="1000" i="1" dirty="0">
                <a:solidFill>
                  <a:schemeClr val="tx1"/>
                </a:solidFill>
              </a:rPr>
              <a:t>Strategic Plan 2022-2027</a:t>
            </a:r>
            <a:r>
              <a:rPr lang="en-AU" sz="1000" dirty="0">
                <a:solidFill>
                  <a:schemeClr val="tx1"/>
                </a:solidFill>
              </a:rPr>
              <a:t> and </a:t>
            </a:r>
            <a:r>
              <a:rPr lang="en-AU" sz="1000" i="1" dirty="0">
                <a:solidFill>
                  <a:schemeClr val="tx1"/>
                </a:solidFill>
              </a:rPr>
              <a:t>Corporate Plan 2022-23</a:t>
            </a:r>
            <a:r>
              <a:rPr lang="en-AU" sz="1000" dirty="0">
                <a:solidFill>
                  <a:schemeClr val="tx1"/>
                </a:solidFill>
              </a:rPr>
              <a:t>. </a:t>
            </a:r>
            <a:r>
              <a:rPr lang="en-US" sz="1000" dirty="0">
                <a:solidFill>
                  <a:schemeClr val="tx1"/>
                </a:solidFill>
              </a:rPr>
              <a:t> </a:t>
            </a:r>
          </a:p>
          <a:p>
            <a:pPr>
              <a:spcAft>
                <a:spcPts val="600"/>
              </a:spcAft>
            </a:pPr>
            <a:r>
              <a:rPr lang="en-AU" sz="1000" dirty="0">
                <a:solidFill>
                  <a:schemeClr val="tx1"/>
                </a:solidFill>
              </a:rPr>
              <a:t>At the time of development, three additional strategic initiatives were </a:t>
            </a:r>
            <a:r>
              <a:rPr lang="en-AU" sz="1000" dirty="0" smtClean="0">
                <a:solidFill>
                  <a:schemeClr val="tx1"/>
                </a:solidFill>
              </a:rPr>
              <a:t>also under development </a:t>
            </a:r>
            <a:r>
              <a:rPr lang="en-AU" sz="1000" dirty="0">
                <a:solidFill>
                  <a:schemeClr val="tx1"/>
                </a:solidFill>
              </a:rPr>
              <a:t>– the </a:t>
            </a:r>
            <a:r>
              <a:rPr lang="en-AU" sz="1000" i="1" dirty="0">
                <a:solidFill>
                  <a:schemeClr val="tx1"/>
                </a:solidFill>
              </a:rPr>
              <a:t>Regulatory </a:t>
            </a:r>
            <a:r>
              <a:rPr lang="en-AU" sz="1000" i="1" dirty="0" smtClean="0">
                <a:solidFill>
                  <a:schemeClr val="tx1"/>
                </a:solidFill>
              </a:rPr>
              <a:t>Approach, </a:t>
            </a:r>
            <a:r>
              <a:rPr lang="en-AU" sz="1000" i="1" dirty="0">
                <a:solidFill>
                  <a:schemeClr val="tx1"/>
                </a:solidFill>
              </a:rPr>
              <a:t>Operating model </a:t>
            </a:r>
            <a:r>
              <a:rPr lang="en-AU" sz="1000" dirty="0">
                <a:solidFill>
                  <a:schemeClr val="tx1"/>
                </a:solidFill>
              </a:rPr>
              <a:t>and the </a:t>
            </a:r>
            <a:r>
              <a:rPr lang="en-AU" sz="1000" i="1" dirty="0">
                <a:solidFill>
                  <a:schemeClr val="tx1"/>
                </a:solidFill>
              </a:rPr>
              <a:t>Data and Digital </a:t>
            </a:r>
            <a:r>
              <a:rPr lang="en-AU" sz="1000" i="1" dirty="0" smtClean="0">
                <a:solidFill>
                  <a:schemeClr val="tx1"/>
                </a:solidFill>
              </a:rPr>
              <a:t>Roadmap</a:t>
            </a:r>
            <a:r>
              <a:rPr lang="en-AU" sz="1000" dirty="0" smtClean="0">
                <a:solidFill>
                  <a:schemeClr val="tx1"/>
                </a:solidFill>
              </a:rPr>
              <a:t>. This Plan </a:t>
            </a:r>
            <a:r>
              <a:rPr lang="en-AU" sz="1000" dirty="0">
                <a:solidFill>
                  <a:schemeClr val="tx1"/>
                </a:solidFill>
              </a:rPr>
              <a:t>has been designed with these concurrent work streams in mind. As a flexible, living strategic </a:t>
            </a:r>
            <a:r>
              <a:rPr lang="en-AU" sz="1000" dirty="0" smtClean="0">
                <a:solidFill>
                  <a:schemeClr val="tx1"/>
                </a:solidFill>
              </a:rPr>
              <a:t>document, </a:t>
            </a:r>
            <a:r>
              <a:rPr lang="en-AU" sz="1000" dirty="0">
                <a:solidFill>
                  <a:schemeClr val="tx1"/>
                </a:solidFill>
              </a:rPr>
              <a:t>the </a:t>
            </a:r>
            <a:r>
              <a:rPr lang="en-AU" sz="1000" dirty="0" smtClean="0">
                <a:solidFill>
                  <a:schemeClr val="tx1"/>
                </a:solidFill>
              </a:rPr>
              <a:t>Plan </a:t>
            </a:r>
            <a:r>
              <a:rPr lang="en-AU" sz="1000" dirty="0">
                <a:solidFill>
                  <a:schemeClr val="tx1"/>
                </a:solidFill>
              </a:rPr>
              <a:t>will be reviewed as </a:t>
            </a:r>
            <a:r>
              <a:rPr lang="en-AU" sz="1000" dirty="0" smtClean="0">
                <a:solidFill>
                  <a:schemeClr val="tx1"/>
                </a:solidFill>
              </a:rPr>
              <a:t>necessary to ensure </a:t>
            </a:r>
            <a:r>
              <a:rPr lang="en-AU" sz="1000" dirty="0">
                <a:solidFill>
                  <a:schemeClr val="tx1"/>
                </a:solidFill>
              </a:rPr>
              <a:t>ongoing </a:t>
            </a:r>
            <a:r>
              <a:rPr lang="en-AU" sz="1000" dirty="0" smtClean="0">
                <a:solidFill>
                  <a:schemeClr val="tx1"/>
                </a:solidFill>
              </a:rPr>
              <a:t>alignment with the Commission’s direction.</a:t>
            </a:r>
            <a:endParaRPr lang="en-AU" sz="1000" dirty="0">
              <a:solidFill>
                <a:schemeClr val="tx1"/>
              </a:solidFill>
              <a:cs typeface="Calibri"/>
            </a:endParaRPr>
          </a:p>
          <a:p>
            <a:pPr>
              <a:spcAft>
                <a:spcPts val="300"/>
              </a:spcAft>
            </a:pPr>
            <a:r>
              <a:rPr lang="en-AU" sz="1000" dirty="0">
                <a:solidFill>
                  <a:schemeClr val="tx1"/>
                </a:solidFill>
              </a:rPr>
              <a:t>The </a:t>
            </a:r>
            <a:r>
              <a:rPr lang="en-AU" sz="1000" dirty="0" smtClean="0">
                <a:solidFill>
                  <a:schemeClr val="tx1"/>
                </a:solidFill>
              </a:rPr>
              <a:t>Plan </a:t>
            </a:r>
            <a:r>
              <a:rPr lang="en-AU" sz="1000" dirty="0">
                <a:solidFill>
                  <a:schemeClr val="tx1"/>
                </a:solidFill>
              </a:rPr>
              <a:t>also aligns with government and sectoral workforce priorities and initiatives, including but not limited to:</a:t>
            </a:r>
            <a:endParaRPr lang="en-AU" sz="1000" dirty="0">
              <a:solidFill>
                <a:schemeClr val="tx1"/>
              </a:solidFill>
              <a:cs typeface="Calibri"/>
            </a:endParaRPr>
          </a:p>
          <a:p>
            <a:pPr marL="171450" indent="-171450">
              <a:lnSpc>
                <a:spcPct val="100000"/>
              </a:lnSpc>
              <a:spcBef>
                <a:spcPts val="200"/>
              </a:spcBef>
              <a:buFont typeface="Arial" panose="020B0604020202020204" pitchFamily="34" charset="0"/>
              <a:buChar char="•"/>
              <a:defRPr/>
            </a:pPr>
            <a:r>
              <a:rPr lang="en-AU" sz="1000" i="1" dirty="0">
                <a:solidFill>
                  <a:schemeClr val="tx1"/>
                </a:solidFill>
              </a:rPr>
              <a:t>National Workforce Strategy 2022-27 </a:t>
            </a:r>
          </a:p>
          <a:p>
            <a:pPr marL="171450" indent="-171450">
              <a:lnSpc>
                <a:spcPct val="100000"/>
              </a:lnSpc>
              <a:spcBef>
                <a:spcPts val="200"/>
              </a:spcBef>
              <a:buFont typeface="Arial" panose="020B0604020202020204" pitchFamily="34" charset="0"/>
              <a:buChar char="•"/>
              <a:defRPr/>
            </a:pPr>
            <a:r>
              <a:rPr lang="en-AU" sz="1000" i="1" dirty="0">
                <a:solidFill>
                  <a:schemeClr val="tx1"/>
                </a:solidFill>
              </a:rPr>
              <a:t>Australia's Disability Strategy 2021-2031</a:t>
            </a:r>
            <a:endParaRPr lang="en-AU" sz="1000" i="1" dirty="0">
              <a:solidFill>
                <a:schemeClr val="tx1"/>
              </a:solidFill>
              <a:cs typeface="Calibri"/>
            </a:endParaRPr>
          </a:p>
          <a:p>
            <a:pPr marL="171450" indent="-171450">
              <a:lnSpc>
                <a:spcPct val="100000"/>
              </a:lnSpc>
              <a:spcBef>
                <a:spcPts val="200"/>
              </a:spcBef>
              <a:buFont typeface="Arial" panose="020B0604020202020204" pitchFamily="34" charset="0"/>
              <a:buChar char="•"/>
              <a:defRPr/>
            </a:pPr>
            <a:r>
              <a:rPr lang="en-AU" sz="1000" i="1" dirty="0">
                <a:solidFill>
                  <a:schemeClr val="tx1"/>
                </a:solidFill>
              </a:rPr>
              <a:t>Australian Public Service Disability Employment Strategy 2020-25</a:t>
            </a:r>
            <a:r>
              <a:rPr lang="en-AU" sz="1000" i="1" dirty="0">
                <a:solidFill>
                  <a:schemeClr val="tx1"/>
                </a:solidFill>
                <a:cs typeface="Calibri"/>
              </a:rPr>
              <a:t>, </a:t>
            </a:r>
          </a:p>
          <a:p>
            <a:pPr marL="171450" indent="-171450">
              <a:lnSpc>
                <a:spcPct val="100000"/>
              </a:lnSpc>
              <a:spcBef>
                <a:spcPts val="200"/>
              </a:spcBef>
              <a:buFont typeface="Arial" panose="020B0604020202020204" pitchFamily="34" charset="0"/>
              <a:buChar char="•"/>
              <a:defRPr/>
            </a:pPr>
            <a:r>
              <a:rPr lang="en-AU" sz="1000" i="1" dirty="0">
                <a:solidFill>
                  <a:schemeClr val="tx1"/>
                </a:solidFill>
              </a:rPr>
              <a:t>Australian Public Service Gender Equality Strategy 2021-26, </a:t>
            </a:r>
          </a:p>
          <a:p>
            <a:pPr marL="171450" indent="-171450">
              <a:lnSpc>
                <a:spcPct val="100000"/>
              </a:lnSpc>
              <a:spcBef>
                <a:spcPts val="200"/>
              </a:spcBef>
              <a:buFont typeface="Arial" panose="020B0604020202020204" pitchFamily="34" charset="0"/>
              <a:buChar char="•"/>
              <a:defRPr/>
            </a:pPr>
            <a:r>
              <a:rPr lang="en-AU" sz="1000" i="1" dirty="0">
                <a:solidFill>
                  <a:schemeClr val="tx1"/>
                </a:solidFill>
                <a:cs typeface="Calibri"/>
              </a:rPr>
              <a:t>Commonwealth Aboriginal and Torres Strait Islander Workforce Strategy 2020 -2024</a:t>
            </a:r>
          </a:p>
          <a:p>
            <a:pPr marL="171450" indent="-171450">
              <a:spcBef>
                <a:spcPts val="200"/>
              </a:spcBef>
              <a:buFont typeface="Arial" panose="020B0604020202020204" pitchFamily="34" charset="0"/>
              <a:buChar char="•"/>
              <a:defRPr/>
            </a:pPr>
            <a:r>
              <a:rPr lang="en-AU" sz="1000" dirty="0">
                <a:solidFill>
                  <a:schemeClr val="tx1"/>
                </a:solidFill>
              </a:rPr>
              <a:t>Sectoral workforce strategies including the </a:t>
            </a:r>
            <a:r>
              <a:rPr lang="en-AU" sz="1000" i="1" dirty="0">
                <a:solidFill>
                  <a:schemeClr val="tx1"/>
                </a:solidFill>
              </a:rPr>
              <a:t>Care and Support Workforce Strategy, NDIS National Workforce Plan 2021-2025</a:t>
            </a:r>
            <a:endParaRPr lang="en-AU" sz="1000" i="1" dirty="0">
              <a:solidFill>
                <a:schemeClr val="tx1"/>
              </a:solidFill>
              <a:cs typeface="Calibri"/>
            </a:endParaRPr>
          </a:p>
          <a:p>
            <a:pPr marL="171450" indent="-171450">
              <a:lnSpc>
                <a:spcPct val="100000"/>
              </a:lnSpc>
              <a:spcBef>
                <a:spcPts val="200"/>
              </a:spcBef>
              <a:buFont typeface="Arial" panose="020B0604020202020204" pitchFamily="34" charset="0"/>
              <a:buChar char="•"/>
              <a:defRPr/>
            </a:pPr>
            <a:r>
              <a:rPr lang="en-AU" sz="1000" dirty="0">
                <a:solidFill>
                  <a:schemeClr val="tx1"/>
                </a:solidFill>
              </a:rPr>
              <a:t>Best practice sector and industry experience.</a:t>
            </a:r>
            <a:endParaRPr lang="en-AU" sz="1000" dirty="0">
              <a:solidFill>
                <a:schemeClr val="tx1"/>
              </a:solidFill>
              <a:highlight>
                <a:srgbClr val="FFFF00"/>
              </a:highlight>
            </a:endParaRPr>
          </a:p>
          <a:p>
            <a:pPr>
              <a:spcAft>
                <a:spcPts val="300"/>
              </a:spcAft>
            </a:pPr>
            <a:endParaRPr lang="en-AU" sz="1000" i="1" dirty="0">
              <a:solidFill>
                <a:schemeClr val="tx1"/>
              </a:solidFill>
            </a:endParaRPr>
          </a:p>
          <a:p>
            <a:pPr>
              <a:spcAft>
                <a:spcPts val="300"/>
              </a:spcAft>
            </a:pPr>
            <a:endParaRPr lang="en-AU" sz="1000" i="1" dirty="0">
              <a:solidFill>
                <a:schemeClr val="tx1"/>
              </a:solidFill>
            </a:endParaRPr>
          </a:p>
          <a:p>
            <a:pPr>
              <a:spcAft>
                <a:spcPts val="500"/>
              </a:spcAft>
            </a:pPr>
            <a:endParaRPr lang="en-AU" sz="1000" dirty="0">
              <a:solidFill>
                <a:schemeClr val="tx1"/>
              </a:solidFill>
              <a:cs typeface="Calibri"/>
            </a:endParaRPr>
          </a:p>
          <a:p>
            <a:pPr>
              <a:spcAft>
                <a:spcPts val="500"/>
              </a:spcAft>
            </a:pPr>
            <a:endParaRPr lang="en-AU" sz="1000" dirty="0">
              <a:solidFill>
                <a:schemeClr val="tx1"/>
              </a:solidFill>
              <a:cs typeface="Calibri"/>
            </a:endParaRPr>
          </a:p>
        </p:txBody>
      </p:sp>
      <p:sp>
        <p:nvSpPr>
          <p:cNvPr id="4" name="Rectangle 3">
            <a:extLst>
              <a:ext uri="{FF2B5EF4-FFF2-40B4-BE49-F238E27FC236}">
                <a16:creationId xmlns:a16="http://schemas.microsoft.com/office/drawing/2014/main" id="{A12A5A5D-AA28-4B79-8ACD-989E944BBCEA}"/>
              </a:ext>
            </a:extLst>
          </p:cNvPr>
          <p:cNvSpPr/>
          <p:nvPr/>
        </p:nvSpPr>
        <p:spPr>
          <a:xfrm>
            <a:off x="4336800" y="3082443"/>
            <a:ext cx="379527" cy="2483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3" name="Picture 2">
            <a:extLst>
              <a:ext uri="{FF2B5EF4-FFF2-40B4-BE49-F238E27FC236}">
                <a16:creationId xmlns:a16="http://schemas.microsoft.com/office/drawing/2014/main" id="{692BFFEF-4FD8-4C5E-A2CA-D96736381BC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331727" y="3630423"/>
            <a:ext cx="389677" cy="395888"/>
          </a:xfrm>
          <a:prstGeom prst="rect">
            <a:avLst/>
          </a:prstGeom>
        </p:spPr>
      </p:pic>
      <p:pic>
        <p:nvPicPr>
          <p:cNvPr id="7" name="Picture 6">
            <a:extLst>
              <a:ext uri="{FF2B5EF4-FFF2-40B4-BE49-F238E27FC236}">
                <a16:creationId xmlns:a16="http://schemas.microsoft.com/office/drawing/2014/main" id="{FBD5ED13-020F-4357-9941-7718C5FDE32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331727" y="3064215"/>
            <a:ext cx="357670" cy="420222"/>
          </a:xfrm>
          <a:prstGeom prst="rect">
            <a:avLst/>
          </a:prstGeom>
        </p:spPr>
      </p:pic>
      <p:pic>
        <p:nvPicPr>
          <p:cNvPr id="10" name="Picture 9">
            <a:extLst>
              <a:ext uri="{FF2B5EF4-FFF2-40B4-BE49-F238E27FC236}">
                <a16:creationId xmlns:a16="http://schemas.microsoft.com/office/drawing/2014/main" id="{16CECFCB-26D5-4D97-B740-D1D8FC46534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368784" y="4172575"/>
            <a:ext cx="328681" cy="379527"/>
          </a:xfrm>
          <a:prstGeom prst="rect">
            <a:avLst/>
          </a:prstGeom>
        </p:spPr>
      </p:pic>
      <p:pic>
        <p:nvPicPr>
          <p:cNvPr id="12" name="Picture 11">
            <a:extLst>
              <a:ext uri="{FF2B5EF4-FFF2-40B4-BE49-F238E27FC236}">
                <a16:creationId xmlns:a16="http://schemas.microsoft.com/office/drawing/2014/main" id="{FF99B1A5-0C46-46EB-8402-746D20BE043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362224" y="4694981"/>
            <a:ext cx="328681" cy="390585"/>
          </a:xfrm>
          <a:prstGeom prst="rect">
            <a:avLst/>
          </a:prstGeom>
        </p:spPr>
      </p:pic>
      <p:pic>
        <p:nvPicPr>
          <p:cNvPr id="14" name="Picture 13">
            <a:extLst>
              <a:ext uri="{FF2B5EF4-FFF2-40B4-BE49-F238E27FC236}">
                <a16:creationId xmlns:a16="http://schemas.microsoft.com/office/drawing/2014/main" id="{6F622433-E0D2-4224-8E9F-175865CC28D7}"/>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4334675" y="5244560"/>
            <a:ext cx="423025" cy="276028"/>
          </a:xfrm>
          <a:prstGeom prst="rect">
            <a:avLst/>
          </a:prstGeom>
        </p:spPr>
      </p:pic>
      <p:sp>
        <p:nvSpPr>
          <p:cNvPr id="83" name="TextBox 82">
            <a:extLst>
              <a:ext uri="{FF2B5EF4-FFF2-40B4-BE49-F238E27FC236}">
                <a16:creationId xmlns:a16="http://schemas.microsoft.com/office/drawing/2014/main" id="{55D8A0D9-71EA-4DD3-A85B-BABE87309033}"/>
              </a:ext>
            </a:extLst>
          </p:cNvPr>
          <p:cNvSpPr txBox="1"/>
          <p:nvPr/>
        </p:nvSpPr>
        <p:spPr>
          <a:xfrm>
            <a:off x="4319854" y="1626667"/>
            <a:ext cx="3474335"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Underpinned by Cultural Principles</a:t>
            </a:r>
          </a:p>
        </p:txBody>
      </p:sp>
      <p:sp>
        <p:nvSpPr>
          <p:cNvPr id="84" name="TextBox 83">
            <a:extLst>
              <a:ext uri="{FF2B5EF4-FFF2-40B4-BE49-F238E27FC236}">
                <a16:creationId xmlns:a16="http://schemas.microsoft.com/office/drawing/2014/main" id="{81C3FB7C-F13D-48B4-A406-E31795BFDBDB}"/>
              </a:ext>
            </a:extLst>
          </p:cNvPr>
          <p:cNvSpPr txBox="1"/>
          <p:nvPr/>
        </p:nvSpPr>
        <p:spPr>
          <a:xfrm>
            <a:off x="514113" y="1626667"/>
            <a:ext cx="3523334"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Aligned to strategic priorities and          initiatives already underway</a:t>
            </a:r>
          </a:p>
        </p:txBody>
      </p:sp>
      <p:sp>
        <p:nvSpPr>
          <p:cNvPr id="92" name="TextBox 91">
            <a:extLst>
              <a:ext uri="{FF2B5EF4-FFF2-40B4-BE49-F238E27FC236}">
                <a16:creationId xmlns:a16="http://schemas.microsoft.com/office/drawing/2014/main" id="{06AC8B09-48C3-439D-9A29-94558D269AD4}"/>
              </a:ext>
            </a:extLst>
          </p:cNvPr>
          <p:cNvSpPr txBox="1"/>
          <p:nvPr/>
        </p:nvSpPr>
        <p:spPr>
          <a:xfrm>
            <a:off x="8160817" y="1626668"/>
            <a:ext cx="3523334"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Designed through collaboration and engagement </a:t>
            </a:r>
          </a:p>
        </p:txBody>
      </p:sp>
      <p:sp>
        <p:nvSpPr>
          <p:cNvPr id="72" name="Rectangle 71">
            <a:extLst>
              <a:ext uri="{FF2B5EF4-FFF2-40B4-BE49-F238E27FC236}">
                <a16:creationId xmlns:a16="http://schemas.microsoft.com/office/drawing/2014/main" id="{26682AF9-36F5-437E-8C59-4A99BA3AEA0F}"/>
              </a:ext>
            </a:extLst>
          </p:cNvPr>
          <p:cNvSpPr/>
          <p:nvPr/>
        </p:nvSpPr>
        <p:spPr>
          <a:xfrm>
            <a:off x="8156203" y="2294449"/>
            <a:ext cx="3523334" cy="217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600"/>
              </a:spcAft>
            </a:pPr>
            <a:r>
              <a:rPr lang="en-AU" sz="1000" dirty="0">
                <a:solidFill>
                  <a:schemeClr val="tx1"/>
                </a:solidFill>
              </a:rPr>
              <a:t>The Commission remains committed to creating ongoing opportunities for the workforce to contribute and have a voice in the design and delivery of strategic initiatives. </a:t>
            </a:r>
          </a:p>
          <a:p>
            <a:pPr>
              <a:spcAft>
                <a:spcPts val="600"/>
              </a:spcAft>
            </a:pPr>
            <a:r>
              <a:rPr lang="en-AU" sz="1000" dirty="0">
                <a:solidFill>
                  <a:schemeClr val="tx1"/>
                </a:solidFill>
              </a:rPr>
              <a:t>As a result, development of this </a:t>
            </a:r>
            <a:r>
              <a:rPr lang="en-AU" sz="1000" dirty="0" smtClean="0">
                <a:solidFill>
                  <a:schemeClr val="tx1"/>
                </a:solidFill>
              </a:rPr>
              <a:t>Plan </a:t>
            </a:r>
            <a:r>
              <a:rPr lang="en-AU" sz="1000" dirty="0">
                <a:solidFill>
                  <a:schemeClr val="tx1"/>
                </a:solidFill>
              </a:rPr>
              <a:t>has been a collaborative process. </a:t>
            </a:r>
            <a:r>
              <a:rPr lang="en-US" sz="1000" dirty="0">
                <a:solidFill>
                  <a:schemeClr val="tx1"/>
                </a:solidFill>
              </a:rPr>
              <a:t>Stakeholder perspectives and insights were gathered through interviews and workshops with the Executive, Senior Leadership team and the broader workforce. </a:t>
            </a:r>
          </a:p>
          <a:p>
            <a:pPr>
              <a:spcAft>
                <a:spcPts val="600"/>
              </a:spcAft>
            </a:pPr>
            <a:r>
              <a:rPr lang="en-US" sz="1000" dirty="0">
                <a:solidFill>
                  <a:schemeClr val="tx1"/>
                </a:solidFill>
              </a:rPr>
              <a:t>Throughout stakeholder engagement, the tone and depth of conversation was underpinned by a strong sense of shared purpose and constructive collaboration. To support collaborative delivery, ongoing consultation </a:t>
            </a:r>
            <a:r>
              <a:rPr lang="en-US" sz="1000" dirty="0" smtClean="0">
                <a:solidFill>
                  <a:schemeClr val="tx1"/>
                </a:solidFill>
              </a:rPr>
              <a:t>will </a:t>
            </a:r>
            <a:r>
              <a:rPr lang="en-US" sz="1000" dirty="0">
                <a:solidFill>
                  <a:schemeClr val="tx1"/>
                </a:solidFill>
              </a:rPr>
              <a:t>continue into the future. </a:t>
            </a:r>
            <a:endParaRPr lang="en-US" sz="1000" dirty="0">
              <a:solidFill>
                <a:schemeClr val="tx1"/>
              </a:solidFill>
              <a:cs typeface="Calibri"/>
            </a:endParaRPr>
          </a:p>
          <a:p>
            <a:endParaRPr lang="en-AU" sz="1000" dirty="0">
              <a:solidFill>
                <a:schemeClr val="tx1"/>
              </a:solidFill>
              <a:cs typeface="Calibri"/>
            </a:endParaRPr>
          </a:p>
        </p:txBody>
      </p:sp>
      <p:sp>
        <p:nvSpPr>
          <p:cNvPr id="8" name="Slide Number Placeholder 7">
            <a:extLst>
              <a:ext uri="{FF2B5EF4-FFF2-40B4-BE49-F238E27FC236}">
                <a16:creationId xmlns:a16="http://schemas.microsoft.com/office/drawing/2014/main" id="{3CF7F351-35EC-0CC2-2F99-E31A51E24F46}"/>
              </a:ext>
            </a:extLst>
          </p:cNvPr>
          <p:cNvSpPr>
            <a:spLocks noGrp="1"/>
          </p:cNvSpPr>
          <p:nvPr>
            <p:ph type="sldNum" sz="quarter" idx="12"/>
          </p:nvPr>
        </p:nvSpPr>
        <p:spPr/>
        <p:txBody>
          <a:bodyPr/>
          <a:lstStyle/>
          <a:p>
            <a:fld id="{C0F55C17-AF72-40D4-ADBD-B5505DEBF9BA}" type="slidenum">
              <a:rPr lang="en-AU" sz="900" smtClean="0"/>
              <a:t>5</a:t>
            </a:fld>
            <a:endParaRPr lang="en-US" dirty="0"/>
          </a:p>
        </p:txBody>
      </p:sp>
      <p:sp>
        <p:nvSpPr>
          <p:cNvPr id="2" name="Footer Placeholder 1">
            <a:extLst>
              <a:ext uri="{FF2B5EF4-FFF2-40B4-BE49-F238E27FC236}">
                <a16:creationId xmlns:a16="http://schemas.microsoft.com/office/drawing/2014/main" id="{798ABE15-0AE4-7902-4083-E68230F9E156}"/>
              </a:ext>
            </a:extLst>
          </p:cNvPr>
          <p:cNvSpPr>
            <a:spLocks noGrp="1"/>
          </p:cNvSpPr>
          <p:nvPr>
            <p:ph type="ftr" sz="quarter" idx="11"/>
          </p:nvPr>
        </p:nvSpPr>
        <p:spPr/>
        <p:txBody>
          <a:bodyPr/>
          <a:lstStyle/>
          <a:p>
            <a:pPr algn="ctr"/>
            <a:r>
              <a:rPr lang="en-AU" smtClean="0"/>
              <a:t>NDIS Commission Workforce Plan 2023-2028</a:t>
            </a:r>
            <a:endParaRPr lang="en-US" dirty="0"/>
          </a:p>
        </p:txBody>
      </p:sp>
      <p:grpSp>
        <p:nvGrpSpPr>
          <p:cNvPr id="22" name="Google Shape;822;g12f1bb89dac_0_297">
            <a:extLst>
              <a:ext uri="{FF2B5EF4-FFF2-40B4-BE49-F238E27FC236}">
                <a16:creationId xmlns:a16="http://schemas.microsoft.com/office/drawing/2014/main" id="{8BF88CFA-7D06-4A4C-9ECE-9B22F845126D}"/>
              </a:ext>
            </a:extLst>
          </p:cNvPr>
          <p:cNvGrpSpPr/>
          <p:nvPr/>
        </p:nvGrpSpPr>
        <p:grpSpPr>
          <a:xfrm>
            <a:off x="8610204" y="4214208"/>
            <a:ext cx="2615305" cy="2229608"/>
            <a:chOff x="8485231" y="3400268"/>
            <a:chExt cx="2822100" cy="2822100"/>
          </a:xfrm>
        </p:grpSpPr>
        <p:sp>
          <p:nvSpPr>
            <p:cNvPr id="23" name="Google Shape;823;g12f1bb89dac_0_297">
              <a:extLst>
                <a:ext uri="{FF2B5EF4-FFF2-40B4-BE49-F238E27FC236}">
                  <a16:creationId xmlns:a16="http://schemas.microsoft.com/office/drawing/2014/main" id="{B7C63B8A-2E73-4E3B-9E7D-43299F75A779}"/>
                </a:ext>
              </a:extLst>
            </p:cNvPr>
            <p:cNvSpPr txBox="1"/>
            <p:nvPr/>
          </p:nvSpPr>
          <p:spPr>
            <a:xfrm>
              <a:off x="8716600" y="5004363"/>
              <a:ext cx="425700" cy="545352"/>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700"/>
                <a:buFont typeface="Arial"/>
                <a:buNone/>
              </a:pPr>
              <a:r>
                <a:rPr lang="en-AU" sz="1600" b="0" i="0" u="none" strike="noStrike" cap="none" dirty="0">
                  <a:solidFill>
                    <a:schemeClr val="lt1"/>
                  </a:solidFill>
                  <a:ea typeface="Public Sans"/>
                  <a:cs typeface="Public Sans"/>
                  <a:sym typeface="Public Sans"/>
                </a:rPr>
                <a:t>9</a:t>
              </a:r>
              <a:endParaRPr sz="1600" b="0" i="0" u="none" strike="noStrike" cap="none" dirty="0">
                <a:solidFill>
                  <a:schemeClr val="lt1"/>
                </a:solidFill>
                <a:ea typeface="Public Sans"/>
                <a:cs typeface="Public Sans"/>
                <a:sym typeface="Public Sans"/>
              </a:endParaRPr>
            </a:p>
          </p:txBody>
        </p:sp>
        <p:sp>
          <p:nvSpPr>
            <p:cNvPr id="24" name="Google Shape;824;g12f1bb89dac_0_297">
              <a:extLst>
                <a:ext uri="{FF2B5EF4-FFF2-40B4-BE49-F238E27FC236}">
                  <a16:creationId xmlns:a16="http://schemas.microsoft.com/office/drawing/2014/main" id="{D593361C-D1DF-47A7-8ED7-9FD7F74CD691}"/>
                </a:ext>
              </a:extLst>
            </p:cNvPr>
            <p:cNvSpPr txBox="1"/>
            <p:nvPr/>
          </p:nvSpPr>
          <p:spPr>
            <a:xfrm>
              <a:off x="10179200" y="5004363"/>
              <a:ext cx="425700" cy="545352"/>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700"/>
                <a:buFont typeface="Arial"/>
                <a:buNone/>
              </a:pPr>
              <a:r>
                <a:rPr lang="en-AU" sz="1600" b="0" i="0" u="none" strike="noStrike" cap="none" dirty="0">
                  <a:solidFill>
                    <a:schemeClr val="lt1"/>
                  </a:solidFill>
                  <a:ea typeface="Public Sans"/>
                  <a:cs typeface="Public Sans"/>
                  <a:sym typeface="Public Sans"/>
                </a:rPr>
                <a:t>3</a:t>
              </a:r>
              <a:endParaRPr sz="1600" b="0" i="0" u="none" strike="noStrike" cap="none" dirty="0">
                <a:solidFill>
                  <a:schemeClr val="lt1"/>
                </a:solidFill>
                <a:ea typeface="Public Sans"/>
                <a:cs typeface="Public Sans"/>
                <a:sym typeface="Public Sans"/>
              </a:endParaRPr>
            </a:p>
          </p:txBody>
        </p:sp>
        <p:grpSp>
          <p:nvGrpSpPr>
            <p:cNvPr id="25" name="Google Shape;825;g12f1bb89dac_0_297">
              <a:extLst>
                <a:ext uri="{FF2B5EF4-FFF2-40B4-BE49-F238E27FC236}">
                  <a16:creationId xmlns:a16="http://schemas.microsoft.com/office/drawing/2014/main" id="{79E987AC-2137-4D37-B051-70EE98BA88E0}"/>
                </a:ext>
              </a:extLst>
            </p:cNvPr>
            <p:cNvGrpSpPr/>
            <p:nvPr/>
          </p:nvGrpSpPr>
          <p:grpSpPr>
            <a:xfrm>
              <a:off x="8507482" y="3431302"/>
              <a:ext cx="2788015" cy="2786778"/>
              <a:chOff x="1874638" y="109416"/>
              <a:chExt cx="7146925" cy="7143750"/>
            </a:xfrm>
          </p:grpSpPr>
          <p:sp>
            <p:nvSpPr>
              <p:cNvPr id="39" name="Google Shape;826;g12f1bb89dac_0_297">
                <a:extLst>
                  <a:ext uri="{FF2B5EF4-FFF2-40B4-BE49-F238E27FC236}">
                    <a16:creationId xmlns:a16="http://schemas.microsoft.com/office/drawing/2014/main" id="{9345C178-75FD-45B2-BF22-B2B38534CBA7}"/>
                  </a:ext>
                </a:extLst>
              </p:cNvPr>
              <p:cNvSpPr/>
              <p:nvPr/>
            </p:nvSpPr>
            <p:spPr>
              <a:xfrm>
                <a:off x="5243313" y="3725741"/>
                <a:ext cx="3778250" cy="3527425"/>
              </a:xfrm>
              <a:custGeom>
                <a:avLst/>
                <a:gdLst/>
                <a:ahLst/>
                <a:cxnLst/>
                <a:rect l="l" t="t" r="r" b="b"/>
                <a:pathLst>
                  <a:path w="2380" h="2222" extrusionOk="0">
                    <a:moveTo>
                      <a:pt x="2376" y="996"/>
                    </a:moveTo>
                    <a:lnTo>
                      <a:pt x="2370" y="940"/>
                    </a:lnTo>
                    <a:lnTo>
                      <a:pt x="2360" y="886"/>
                    </a:lnTo>
                    <a:lnTo>
                      <a:pt x="2346" y="834"/>
                    </a:lnTo>
                    <a:lnTo>
                      <a:pt x="2332" y="782"/>
                    </a:lnTo>
                    <a:lnTo>
                      <a:pt x="2314" y="730"/>
                    </a:lnTo>
                    <a:lnTo>
                      <a:pt x="2294" y="678"/>
                    </a:lnTo>
                    <a:lnTo>
                      <a:pt x="2274" y="630"/>
                    </a:lnTo>
                    <a:lnTo>
                      <a:pt x="2246" y="580"/>
                    </a:lnTo>
                    <a:lnTo>
                      <a:pt x="2222" y="532"/>
                    </a:lnTo>
                    <a:lnTo>
                      <a:pt x="2190" y="488"/>
                    </a:lnTo>
                    <a:lnTo>
                      <a:pt x="2160" y="446"/>
                    </a:lnTo>
                    <a:lnTo>
                      <a:pt x="2128" y="402"/>
                    </a:lnTo>
                    <a:lnTo>
                      <a:pt x="2094" y="364"/>
                    </a:lnTo>
                    <a:lnTo>
                      <a:pt x="2056" y="326"/>
                    </a:lnTo>
                    <a:lnTo>
                      <a:pt x="2018" y="288"/>
                    </a:lnTo>
                    <a:lnTo>
                      <a:pt x="1976" y="252"/>
                    </a:lnTo>
                    <a:lnTo>
                      <a:pt x="1934" y="218"/>
                    </a:lnTo>
                    <a:lnTo>
                      <a:pt x="1890" y="186"/>
                    </a:lnTo>
                    <a:lnTo>
                      <a:pt x="1844" y="160"/>
                    </a:lnTo>
                    <a:lnTo>
                      <a:pt x="1800" y="132"/>
                    </a:lnTo>
                    <a:lnTo>
                      <a:pt x="1752" y="108"/>
                    </a:lnTo>
                    <a:lnTo>
                      <a:pt x="1704" y="86"/>
                    </a:lnTo>
                    <a:lnTo>
                      <a:pt x="1652" y="66"/>
                    </a:lnTo>
                    <a:lnTo>
                      <a:pt x="1600" y="48"/>
                    </a:lnTo>
                    <a:lnTo>
                      <a:pt x="1548" y="34"/>
                    </a:lnTo>
                    <a:lnTo>
                      <a:pt x="1492" y="20"/>
                    </a:lnTo>
                    <a:lnTo>
                      <a:pt x="1438" y="10"/>
                    </a:lnTo>
                    <a:lnTo>
                      <a:pt x="1382" y="4"/>
                    </a:lnTo>
                    <a:lnTo>
                      <a:pt x="1330" y="0"/>
                    </a:lnTo>
                    <a:lnTo>
                      <a:pt x="1268" y="102"/>
                    </a:lnTo>
                    <a:lnTo>
                      <a:pt x="1206" y="0"/>
                    </a:lnTo>
                    <a:lnTo>
                      <a:pt x="1160" y="4"/>
                    </a:lnTo>
                    <a:lnTo>
                      <a:pt x="1110" y="10"/>
                    </a:lnTo>
                    <a:lnTo>
                      <a:pt x="1058" y="18"/>
                    </a:lnTo>
                    <a:lnTo>
                      <a:pt x="1006" y="28"/>
                    </a:lnTo>
                    <a:lnTo>
                      <a:pt x="954" y="42"/>
                    </a:lnTo>
                    <a:lnTo>
                      <a:pt x="906" y="58"/>
                    </a:lnTo>
                    <a:lnTo>
                      <a:pt x="856" y="76"/>
                    </a:lnTo>
                    <a:lnTo>
                      <a:pt x="808" y="98"/>
                    </a:lnTo>
                    <a:lnTo>
                      <a:pt x="764" y="118"/>
                    </a:lnTo>
                    <a:lnTo>
                      <a:pt x="718" y="142"/>
                    </a:lnTo>
                    <a:lnTo>
                      <a:pt x="678" y="170"/>
                    </a:lnTo>
                    <a:lnTo>
                      <a:pt x="632" y="198"/>
                    </a:lnTo>
                    <a:lnTo>
                      <a:pt x="590" y="228"/>
                    </a:lnTo>
                    <a:lnTo>
                      <a:pt x="552" y="260"/>
                    </a:lnTo>
                    <a:lnTo>
                      <a:pt x="514" y="290"/>
                    </a:lnTo>
                    <a:lnTo>
                      <a:pt x="480" y="328"/>
                    </a:lnTo>
                    <a:lnTo>
                      <a:pt x="442" y="364"/>
                    </a:lnTo>
                    <a:lnTo>
                      <a:pt x="412" y="402"/>
                    </a:lnTo>
                    <a:lnTo>
                      <a:pt x="380" y="442"/>
                    </a:lnTo>
                    <a:lnTo>
                      <a:pt x="350" y="484"/>
                    </a:lnTo>
                    <a:lnTo>
                      <a:pt x="322" y="526"/>
                    </a:lnTo>
                    <a:lnTo>
                      <a:pt x="298" y="570"/>
                    </a:lnTo>
                    <a:lnTo>
                      <a:pt x="274" y="616"/>
                    </a:lnTo>
                    <a:lnTo>
                      <a:pt x="252" y="660"/>
                    </a:lnTo>
                    <a:lnTo>
                      <a:pt x="232" y="708"/>
                    </a:lnTo>
                    <a:lnTo>
                      <a:pt x="214" y="758"/>
                    </a:lnTo>
                    <a:lnTo>
                      <a:pt x="198" y="806"/>
                    </a:lnTo>
                    <a:lnTo>
                      <a:pt x="186" y="858"/>
                    </a:lnTo>
                    <a:lnTo>
                      <a:pt x="176" y="910"/>
                    </a:lnTo>
                    <a:lnTo>
                      <a:pt x="166" y="962"/>
                    </a:lnTo>
                    <a:lnTo>
                      <a:pt x="160" y="1012"/>
                    </a:lnTo>
                    <a:lnTo>
                      <a:pt x="100" y="1050"/>
                    </a:lnTo>
                    <a:lnTo>
                      <a:pt x="0" y="1110"/>
                    </a:lnTo>
                    <a:lnTo>
                      <a:pt x="100" y="1170"/>
                    </a:lnTo>
                    <a:lnTo>
                      <a:pt x="160" y="1206"/>
                    </a:lnTo>
                    <a:lnTo>
                      <a:pt x="166" y="1262"/>
                    </a:lnTo>
                    <a:lnTo>
                      <a:pt x="176" y="1314"/>
                    </a:lnTo>
                    <a:lnTo>
                      <a:pt x="186" y="1366"/>
                    </a:lnTo>
                    <a:lnTo>
                      <a:pt x="198" y="1414"/>
                    </a:lnTo>
                    <a:lnTo>
                      <a:pt x="214" y="1466"/>
                    </a:lnTo>
                    <a:lnTo>
                      <a:pt x="232" y="1514"/>
                    </a:lnTo>
                    <a:lnTo>
                      <a:pt x="252" y="1558"/>
                    </a:lnTo>
                    <a:lnTo>
                      <a:pt x="274" y="1608"/>
                    </a:lnTo>
                    <a:lnTo>
                      <a:pt x="298" y="1652"/>
                    </a:lnTo>
                    <a:lnTo>
                      <a:pt x="322" y="1694"/>
                    </a:lnTo>
                    <a:lnTo>
                      <a:pt x="350" y="1738"/>
                    </a:lnTo>
                    <a:lnTo>
                      <a:pt x="380" y="1780"/>
                    </a:lnTo>
                    <a:lnTo>
                      <a:pt x="412" y="1818"/>
                    </a:lnTo>
                    <a:lnTo>
                      <a:pt x="442" y="1856"/>
                    </a:lnTo>
                    <a:lnTo>
                      <a:pt x="480" y="1894"/>
                    </a:lnTo>
                    <a:lnTo>
                      <a:pt x="514" y="1928"/>
                    </a:lnTo>
                    <a:lnTo>
                      <a:pt x="552" y="1964"/>
                    </a:lnTo>
                    <a:lnTo>
                      <a:pt x="590" y="1994"/>
                    </a:lnTo>
                    <a:lnTo>
                      <a:pt x="632" y="2022"/>
                    </a:lnTo>
                    <a:lnTo>
                      <a:pt x="678" y="2054"/>
                    </a:lnTo>
                    <a:lnTo>
                      <a:pt x="718" y="2078"/>
                    </a:lnTo>
                    <a:lnTo>
                      <a:pt x="764" y="2102"/>
                    </a:lnTo>
                    <a:lnTo>
                      <a:pt x="808" y="2126"/>
                    </a:lnTo>
                    <a:lnTo>
                      <a:pt x="856" y="2144"/>
                    </a:lnTo>
                    <a:lnTo>
                      <a:pt x="906" y="2164"/>
                    </a:lnTo>
                    <a:lnTo>
                      <a:pt x="954" y="2178"/>
                    </a:lnTo>
                    <a:lnTo>
                      <a:pt x="1006" y="2192"/>
                    </a:lnTo>
                    <a:lnTo>
                      <a:pt x="1058" y="2202"/>
                    </a:lnTo>
                    <a:lnTo>
                      <a:pt x="1110" y="2212"/>
                    </a:lnTo>
                    <a:lnTo>
                      <a:pt x="1160" y="2220"/>
                    </a:lnTo>
                    <a:lnTo>
                      <a:pt x="1216" y="2222"/>
                    </a:lnTo>
                    <a:lnTo>
                      <a:pt x="1268" y="2222"/>
                    </a:lnTo>
                    <a:lnTo>
                      <a:pt x="1326" y="2222"/>
                    </a:lnTo>
                    <a:lnTo>
                      <a:pt x="1382" y="2216"/>
                    </a:lnTo>
                    <a:lnTo>
                      <a:pt x="1438" y="2208"/>
                    </a:lnTo>
                    <a:lnTo>
                      <a:pt x="1492" y="2202"/>
                    </a:lnTo>
                    <a:lnTo>
                      <a:pt x="1548" y="2188"/>
                    </a:lnTo>
                    <a:lnTo>
                      <a:pt x="1600" y="2174"/>
                    </a:lnTo>
                    <a:lnTo>
                      <a:pt x="1652" y="2156"/>
                    </a:lnTo>
                    <a:lnTo>
                      <a:pt x="1704" y="2136"/>
                    </a:lnTo>
                    <a:lnTo>
                      <a:pt x="1752" y="2112"/>
                    </a:lnTo>
                    <a:lnTo>
                      <a:pt x="1800" y="2088"/>
                    </a:lnTo>
                    <a:lnTo>
                      <a:pt x="1844" y="2060"/>
                    </a:lnTo>
                    <a:lnTo>
                      <a:pt x="1890" y="2032"/>
                    </a:lnTo>
                    <a:lnTo>
                      <a:pt x="1934" y="2002"/>
                    </a:lnTo>
                    <a:lnTo>
                      <a:pt x="1976" y="1970"/>
                    </a:lnTo>
                    <a:lnTo>
                      <a:pt x="2018" y="1932"/>
                    </a:lnTo>
                    <a:lnTo>
                      <a:pt x="2056" y="1898"/>
                    </a:lnTo>
                    <a:lnTo>
                      <a:pt x="2094" y="1860"/>
                    </a:lnTo>
                    <a:lnTo>
                      <a:pt x="2128" y="1818"/>
                    </a:lnTo>
                    <a:lnTo>
                      <a:pt x="2160" y="1776"/>
                    </a:lnTo>
                    <a:lnTo>
                      <a:pt x="2190" y="1732"/>
                    </a:lnTo>
                    <a:lnTo>
                      <a:pt x="2222" y="1686"/>
                    </a:lnTo>
                    <a:lnTo>
                      <a:pt x="2246" y="1642"/>
                    </a:lnTo>
                    <a:lnTo>
                      <a:pt x="2274" y="1594"/>
                    </a:lnTo>
                    <a:lnTo>
                      <a:pt x="2294" y="1542"/>
                    </a:lnTo>
                    <a:lnTo>
                      <a:pt x="2314" y="1494"/>
                    </a:lnTo>
                    <a:lnTo>
                      <a:pt x="2332" y="1442"/>
                    </a:lnTo>
                    <a:lnTo>
                      <a:pt x="2346" y="1390"/>
                    </a:lnTo>
                    <a:lnTo>
                      <a:pt x="2360" y="1334"/>
                    </a:lnTo>
                    <a:lnTo>
                      <a:pt x="2370" y="1280"/>
                    </a:lnTo>
                    <a:lnTo>
                      <a:pt x="2376" y="1224"/>
                    </a:lnTo>
                    <a:lnTo>
                      <a:pt x="2380" y="1168"/>
                    </a:lnTo>
                    <a:lnTo>
                      <a:pt x="2380" y="1110"/>
                    </a:lnTo>
                    <a:lnTo>
                      <a:pt x="2380" y="1054"/>
                    </a:lnTo>
                    <a:lnTo>
                      <a:pt x="2376" y="996"/>
                    </a:lnTo>
                    <a:close/>
                  </a:path>
                </a:pathLst>
              </a:custGeom>
              <a:solidFill>
                <a:srgbClr val="FFFFFF"/>
              </a:solidFill>
              <a:ln w="12700" cap="flat" cmpd="sng">
                <a:solidFill>
                  <a:srgbClr val="EBEBEB"/>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40" name="Google Shape;827;g12f1bb89dac_0_297">
                <a:extLst>
                  <a:ext uri="{FF2B5EF4-FFF2-40B4-BE49-F238E27FC236}">
                    <a16:creationId xmlns:a16="http://schemas.microsoft.com/office/drawing/2014/main" id="{6F778D2B-4D8E-46BE-BE34-B041FDD7AFB2}"/>
                  </a:ext>
                </a:extLst>
              </p:cNvPr>
              <p:cNvSpPr/>
              <p:nvPr/>
            </p:nvSpPr>
            <p:spPr>
              <a:xfrm>
                <a:off x="5494138" y="109416"/>
                <a:ext cx="3527425" cy="3778250"/>
              </a:xfrm>
              <a:custGeom>
                <a:avLst/>
                <a:gdLst/>
                <a:ahLst/>
                <a:cxnLst/>
                <a:rect l="l" t="t" r="r" b="b"/>
                <a:pathLst>
                  <a:path w="2222" h="2380" extrusionOk="0">
                    <a:moveTo>
                      <a:pt x="2216" y="998"/>
                    </a:moveTo>
                    <a:lnTo>
                      <a:pt x="2208" y="942"/>
                    </a:lnTo>
                    <a:lnTo>
                      <a:pt x="2202" y="888"/>
                    </a:lnTo>
                    <a:lnTo>
                      <a:pt x="2188" y="832"/>
                    </a:lnTo>
                    <a:lnTo>
                      <a:pt x="2174" y="780"/>
                    </a:lnTo>
                    <a:lnTo>
                      <a:pt x="2156" y="728"/>
                    </a:lnTo>
                    <a:lnTo>
                      <a:pt x="2136" y="676"/>
                    </a:lnTo>
                    <a:lnTo>
                      <a:pt x="2112" y="628"/>
                    </a:lnTo>
                    <a:lnTo>
                      <a:pt x="2088" y="580"/>
                    </a:lnTo>
                    <a:lnTo>
                      <a:pt x="2060" y="536"/>
                    </a:lnTo>
                    <a:lnTo>
                      <a:pt x="2032" y="490"/>
                    </a:lnTo>
                    <a:lnTo>
                      <a:pt x="2002" y="446"/>
                    </a:lnTo>
                    <a:lnTo>
                      <a:pt x="1970" y="404"/>
                    </a:lnTo>
                    <a:lnTo>
                      <a:pt x="1932" y="362"/>
                    </a:lnTo>
                    <a:lnTo>
                      <a:pt x="1898" y="324"/>
                    </a:lnTo>
                    <a:lnTo>
                      <a:pt x="1860" y="286"/>
                    </a:lnTo>
                    <a:lnTo>
                      <a:pt x="1818" y="252"/>
                    </a:lnTo>
                    <a:lnTo>
                      <a:pt x="1776" y="220"/>
                    </a:lnTo>
                    <a:lnTo>
                      <a:pt x="1732" y="190"/>
                    </a:lnTo>
                    <a:lnTo>
                      <a:pt x="1686" y="158"/>
                    </a:lnTo>
                    <a:lnTo>
                      <a:pt x="1642" y="134"/>
                    </a:lnTo>
                    <a:lnTo>
                      <a:pt x="1594" y="106"/>
                    </a:lnTo>
                    <a:lnTo>
                      <a:pt x="1542" y="86"/>
                    </a:lnTo>
                    <a:lnTo>
                      <a:pt x="1492" y="64"/>
                    </a:lnTo>
                    <a:lnTo>
                      <a:pt x="1442" y="48"/>
                    </a:lnTo>
                    <a:lnTo>
                      <a:pt x="1390" y="34"/>
                    </a:lnTo>
                    <a:lnTo>
                      <a:pt x="1334" y="20"/>
                    </a:lnTo>
                    <a:lnTo>
                      <a:pt x="1278" y="10"/>
                    </a:lnTo>
                    <a:lnTo>
                      <a:pt x="1224" y="2"/>
                    </a:lnTo>
                    <a:lnTo>
                      <a:pt x="1168" y="0"/>
                    </a:lnTo>
                    <a:lnTo>
                      <a:pt x="1110" y="0"/>
                    </a:lnTo>
                    <a:lnTo>
                      <a:pt x="1054" y="0"/>
                    </a:lnTo>
                    <a:lnTo>
                      <a:pt x="996" y="2"/>
                    </a:lnTo>
                    <a:lnTo>
                      <a:pt x="940" y="10"/>
                    </a:lnTo>
                    <a:lnTo>
                      <a:pt x="884" y="20"/>
                    </a:lnTo>
                    <a:lnTo>
                      <a:pt x="832" y="34"/>
                    </a:lnTo>
                    <a:lnTo>
                      <a:pt x="782" y="48"/>
                    </a:lnTo>
                    <a:lnTo>
                      <a:pt x="730" y="64"/>
                    </a:lnTo>
                    <a:lnTo>
                      <a:pt x="678" y="86"/>
                    </a:lnTo>
                    <a:lnTo>
                      <a:pt x="628" y="106"/>
                    </a:lnTo>
                    <a:lnTo>
                      <a:pt x="580" y="134"/>
                    </a:lnTo>
                    <a:lnTo>
                      <a:pt x="532" y="158"/>
                    </a:lnTo>
                    <a:lnTo>
                      <a:pt x="488" y="190"/>
                    </a:lnTo>
                    <a:lnTo>
                      <a:pt x="446" y="220"/>
                    </a:lnTo>
                    <a:lnTo>
                      <a:pt x="400" y="252"/>
                    </a:lnTo>
                    <a:lnTo>
                      <a:pt x="362" y="286"/>
                    </a:lnTo>
                    <a:lnTo>
                      <a:pt x="324" y="324"/>
                    </a:lnTo>
                    <a:lnTo>
                      <a:pt x="286" y="362"/>
                    </a:lnTo>
                    <a:lnTo>
                      <a:pt x="252" y="404"/>
                    </a:lnTo>
                    <a:lnTo>
                      <a:pt x="218" y="446"/>
                    </a:lnTo>
                    <a:lnTo>
                      <a:pt x="186" y="490"/>
                    </a:lnTo>
                    <a:lnTo>
                      <a:pt x="158" y="536"/>
                    </a:lnTo>
                    <a:lnTo>
                      <a:pt x="132" y="580"/>
                    </a:lnTo>
                    <a:lnTo>
                      <a:pt x="108" y="628"/>
                    </a:lnTo>
                    <a:lnTo>
                      <a:pt x="86" y="676"/>
                    </a:lnTo>
                    <a:lnTo>
                      <a:pt x="66" y="728"/>
                    </a:lnTo>
                    <a:lnTo>
                      <a:pt x="48" y="780"/>
                    </a:lnTo>
                    <a:lnTo>
                      <a:pt x="34" y="832"/>
                    </a:lnTo>
                    <a:lnTo>
                      <a:pt x="20" y="888"/>
                    </a:lnTo>
                    <a:lnTo>
                      <a:pt x="10" y="942"/>
                    </a:lnTo>
                    <a:lnTo>
                      <a:pt x="4" y="998"/>
                    </a:lnTo>
                    <a:lnTo>
                      <a:pt x="0" y="1050"/>
                    </a:lnTo>
                    <a:lnTo>
                      <a:pt x="100" y="1112"/>
                    </a:lnTo>
                    <a:lnTo>
                      <a:pt x="0" y="1174"/>
                    </a:lnTo>
                    <a:lnTo>
                      <a:pt x="4" y="1220"/>
                    </a:lnTo>
                    <a:lnTo>
                      <a:pt x="10" y="1272"/>
                    </a:lnTo>
                    <a:lnTo>
                      <a:pt x="18" y="1324"/>
                    </a:lnTo>
                    <a:lnTo>
                      <a:pt x="28" y="1376"/>
                    </a:lnTo>
                    <a:lnTo>
                      <a:pt x="42" y="1426"/>
                    </a:lnTo>
                    <a:lnTo>
                      <a:pt x="58" y="1476"/>
                    </a:lnTo>
                    <a:lnTo>
                      <a:pt x="76" y="1524"/>
                    </a:lnTo>
                    <a:lnTo>
                      <a:pt x="96" y="1572"/>
                    </a:lnTo>
                    <a:lnTo>
                      <a:pt x="118" y="1616"/>
                    </a:lnTo>
                    <a:lnTo>
                      <a:pt x="142" y="1662"/>
                    </a:lnTo>
                    <a:lnTo>
                      <a:pt x="170" y="1704"/>
                    </a:lnTo>
                    <a:lnTo>
                      <a:pt x="196" y="1748"/>
                    </a:lnTo>
                    <a:lnTo>
                      <a:pt x="228" y="1790"/>
                    </a:lnTo>
                    <a:lnTo>
                      <a:pt x="260" y="1828"/>
                    </a:lnTo>
                    <a:lnTo>
                      <a:pt x="290" y="1866"/>
                    </a:lnTo>
                    <a:lnTo>
                      <a:pt x="328" y="1900"/>
                    </a:lnTo>
                    <a:lnTo>
                      <a:pt x="362" y="1938"/>
                    </a:lnTo>
                    <a:lnTo>
                      <a:pt x="400" y="1970"/>
                    </a:lnTo>
                    <a:lnTo>
                      <a:pt x="442" y="2000"/>
                    </a:lnTo>
                    <a:lnTo>
                      <a:pt x="484" y="2032"/>
                    </a:lnTo>
                    <a:lnTo>
                      <a:pt x="526" y="2060"/>
                    </a:lnTo>
                    <a:lnTo>
                      <a:pt x="570" y="2084"/>
                    </a:lnTo>
                    <a:lnTo>
                      <a:pt x="616" y="2108"/>
                    </a:lnTo>
                    <a:lnTo>
                      <a:pt x="660" y="2128"/>
                    </a:lnTo>
                    <a:lnTo>
                      <a:pt x="708" y="2150"/>
                    </a:lnTo>
                    <a:lnTo>
                      <a:pt x="756" y="2166"/>
                    </a:lnTo>
                    <a:lnTo>
                      <a:pt x="806" y="2184"/>
                    </a:lnTo>
                    <a:lnTo>
                      <a:pt x="858" y="2194"/>
                    </a:lnTo>
                    <a:lnTo>
                      <a:pt x="908" y="2204"/>
                    </a:lnTo>
                    <a:lnTo>
                      <a:pt x="960" y="2214"/>
                    </a:lnTo>
                    <a:lnTo>
                      <a:pt x="1012" y="2222"/>
                    </a:lnTo>
                    <a:lnTo>
                      <a:pt x="1048" y="2278"/>
                    </a:lnTo>
                    <a:lnTo>
                      <a:pt x="1110" y="2380"/>
                    </a:lnTo>
                    <a:lnTo>
                      <a:pt x="1172" y="2278"/>
                    </a:lnTo>
                    <a:lnTo>
                      <a:pt x="1206" y="2222"/>
                    </a:lnTo>
                    <a:lnTo>
                      <a:pt x="1262" y="2214"/>
                    </a:lnTo>
                    <a:lnTo>
                      <a:pt x="1314" y="2204"/>
                    </a:lnTo>
                    <a:lnTo>
                      <a:pt x="1366" y="2194"/>
                    </a:lnTo>
                    <a:lnTo>
                      <a:pt x="1414" y="2184"/>
                    </a:lnTo>
                    <a:lnTo>
                      <a:pt x="1466" y="2166"/>
                    </a:lnTo>
                    <a:lnTo>
                      <a:pt x="1514" y="2150"/>
                    </a:lnTo>
                    <a:lnTo>
                      <a:pt x="1558" y="2128"/>
                    </a:lnTo>
                    <a:lnTo>
                      <a:pt x="1608" y="2108"/>
                    </a:lnTo>
                    <a:lnTo>
                      <a:pt x="1652" y="2084"/>
                    </a:lnTo>
                    <a:lnTo>
                      <a:pt x="1694" y="2060"/>
                    </a:lnTo>
                    <a:lnTo>
                      <a:pt x="1738" y="2032"/>
                    </a:lnTo>
                    <a:lnTo>
                      <a:pt x="1780" y="2000"/>
                    </a:lnTo>
                    <a:lnTo>
                      <a:pt x="1818" y="1970"/>
                    </a:lnTo>
                    <a:lnTo>
                      <a:pt x="1856" y="1938"/>
                    </a:lnTo>
                    <a:lnTo>
                      <a:pt x="1894" y="1900"/>
                    </a:lnTo>
                    <a:lnTo>
                      <a:pt x="1928" y="1866"/>
                    </a:lnTo>
                    <a:lnTo>
                      <a:pt x="1964" y="1828"/>
                    </a:lnTo>
                    <a:lnTo>
                      <a:pt x="1994" y="1790"/>
                    </a:lnTo>
                    <a:lnTo>
                      <a:pt x="2022" y="1748"/>
                    </a:lnTo>
                    <a:lnTo>
                      <a:pt x="2052" y="1704"/>
                    </a:lnTo>
                    <a:lnTo>
                      <a:pt x="2078" y="1662"/>
                    </a:lnTo>
                    <a:lnTo>
                      <a:pt x="2102" y="1616"/>
                    </a:lnTo>
                    <a:lnTo>
                      <a:pt x="2126" y="1572"/>
                    </a:lnTo>
                    <a:lnTo>
                      <a:pt x="2142" y="1524"/>
                    </a:lnTo>
                    <a:lnTo>
                      <a:pt x="2164" y="1476"/>
                    </a:lnTo>
                    <a:lnTo>
                      <a:pt x="2178" y="1426"/>
                    </a:lnTo>
                    <a:lnTo>
                      <a:pt x="2192" y="1376"/>
                    </a:lnTo>
                    <a:lnTo>
                      <a:pt x="2202" y="1324"/>
                    </a:lnTo>
                    <a:lnTo>
                      <a:pt x="2212" y="1272"/>
                    </a:lnTo>
                    <a:lnTo>
                      <a:pt x="2218" y="1220"/>
                    </a:lnTo>
                    <a:lnTo>
                      <a:pt x="2222" y="1164"/>
                    </a:lnTo>
                    <a:lnTo>
                      <a:pt x="2222" y="1112"/>
                    </a:lnTo>
                    <a:lnTo>
                      <a:pt x="2222" y="1054"/>
                    </a:lnTo>
                    <a:lnTo>
                      <a:pt x="2216" y="998"/>
                    </a:lnTo>
                    <a:close/>
                  </a:path>
                </a:pathLst>
              </a:custGeom>
              <a:solidFill>
                <a:srgbClr val="FFFFFF"/>
              </a:solidFill>
              <a:ln w="12700" cap="flat" cmpd="sng">
                <a:solidFill>
                  <a:srgbClr val="EBEBEB"/>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41" name="Google Shape;828;g12f1bb89dac_0_297">
                <a:extLst>
                  <a:ext uri="{FF2B5EF4-FFF2-40B4-BE49-F238E27FC236}">
                    <a16:creationId xmlns:a16="http://schemas.microsoft.com/office/drawing/2014/main" id="{7DBE5D50-DE86-46E7-B8EA-4B3032288F81}"/>
                  </a:ext>
                </a:extLst>
              </p:cNvPr>
              <p:cNvSpPr/>
              <p:nvPr/>
            </p:nvSpPr>
            <p:spPr>
              <a:xfrm>
                <a:off x="1874638" y="3474916"/>
                <a:ext cx="3527425" cy="3778250"/>
              </a:xfrm>
              <a:custGeom>
                <a:avLst/>
                <a:gdLst/>
                <a:ahLst/>
                <a:cxnLst/>
                <a:rect l="l" t="t" r="r" b="b"/>
                <a:pathLst>
                  <a:path w="2222" h="2380" extrusionOk="0">
                    <a:moveTo>
                      <a:pt x="2122" y="1268"/>
                    </a:moveTo>
                    <a:lnTo>
                      <a:pt x="2222" y="1208"/>
                    </a:lnTo>
                    <a:lnTo>
                      <a:pt x="2218" y="1162"/>
                    </a:lnTo>
                    <a:lnTo>
                      <a:pt x="2212" y="1110"/>
                    </a:lnTo>
                    <a:lnTo>
                      <a:pt x="2204" y="1058"/>
                    </a:lnTo>
                    <a:lnTo>
                      <a:pt x="2194" y="1006"/>
                    </a:lnTo>
                    <a:lnTo>
                      <a:pt x="2180" y="954"/>
                    </a:lnTo>
                    <a:lnTo>
                      <a:pt x="2162" y="906"/>
                    </a:lnTo>
                    <a:lnTo>
                      <a:pt x="2146" y="858"/>
                    </a:lnTo>
                    <a:lnTo>
                      <a:pt x="2124" y="810"/>
                    </a:lnTo>
                    <a:lnTo>
                      <a:pt x="2104" y="764"/>
                    </a:lnTo>
                    <a:lnTo>
                      <a:pt x="2080" y="720"/>
                    </a:lnTo>
                    <a:lnTo>
                      <a:pt x="2052" y="678"/>
                    </a:lnTo>
                    <a:lnTo>
                      <a:pt x="2024" y="632"/>
                    </a:lnTo>
                    <a:lnTo>
                      <a:pt x="1994" y="592"/>
                    </a:lnTo>
                    <a:lnTo>
                      <a:pt x="1962" y="554"/>
                    </a:lnTo>
                    <a:lnTo>
                      <a:pt x="1932" y="516"/>
                    </a:lnTo>
                    <a:lnTo>
                      <a:pt x="1894" y="480"/>
                    </a:lnTo>
                    <a:lnTo>
                      <a:pt x="1858" y="442"/>
                    </a:lnTo>
                    <a:lnTo>
                      <a:pt x="1820" y="412"/>
                    </a:lnTo>
                    <a:lnTo>
                      <a:pt x="1780" y="380"/>
                    </a:lnTo>
                    <a:lnTo>
                      <a:pt x="1738" y="350"/>
                    </a:lnTo>
                    <a:lnTo>
                      <a:pt x="1696" y="322"/>
                    </a:lnTo>
                    <a:lnTo>
                      <a:pt x="1652" y="298"/>
                    </a:lnTo>
                    <a:lnTo>
                      <a:pt x="1606" y="274"/>
                    </a:lnTo>
                    <a:lnTo>
                      <a:pt x="1562" y="252"/>
                    </a:lnTo>
                    <a:lnTo>
                      <a:pt x="1514" y="232"/>
                    </a:lnTo>
                    <a:lnTo>
                      <a:pt x="1466" y="214"/>
                    </a:lnTo>
                    <a:lnTo>
                      <a:pt x="1416" y="198"/>
                    </a:lnTo>
                    <a:lnTo>
                      <a:pt x="1366" y="188"/>
                    </a:lnTo>
                    <a:lnTo>
                      <a:pt x="1314" y="176"/>
                    </a:lnTo>
                    <a:lnTo>
                      <a:pt x="1262" y="166"/>
                    </a:lnTo>
                    <a:lnTo>
                      <a:pt x="1210" y="160"/>
                    </a:lnTo>
                    <a:lnTo>
                      <a:pt x="1174" y="102"/>
                    </a:lnTo>
                    <a:lnTo>
                      <a:pt x="1112" y="0"/>
                    </a:lnTo>
                    <a:lnTo>
                      <a:pt x="1052" y="102"/>
                    </a:lnTo>
                    <a:lnTo>
                      <a:pt x="1016" y="160"/>
                    </a:lnTo>
                    <a:lnTo>
                      <a:pt x="962" y="166"/>
                    </a:lnTo>
                    <a:lnTo>
                      <a:pt x="910" y="176"/>
                    </a:lnTo>
                    <a:lnTo>
                      <a:pt x="858" y="188"/>
                    </a:lnTo>
                    <a:lnTo>
                      <a:pt x="810" y="198"/>
                    </a:lnTo>
                    <a:lnTo>
                      <a:pt x="758" y="214"/>
                    </a:lnTo>
                    <a:lnTo>
                      <a:pt x="708" y="232"/>
                    </a:lnTo>
                    <a:lnTo>
                      <a:pt x="664" y="252"/>
                    </a:lnTo>
                    <a:lnTo>
                      <a:pt x="616" y="274"/>
                    </a:lnTo>
                    <a:lnTo>
                      <a:pt x="570" y="298"/>
                    </a:lnTo>
                    <a:lnTo>
                      <a:pt x="530" y="322"/>
                    </a:lnTo>
                    <a:lnTo>
                      <a:pt x="484" y="350"/>
                    </a:lnTo>
                    <a:lnTo>
                      <a:pt x="442" y="380"/>
                    </a:lnTo>
                    <a:lnTo>
                      <a:pt x="404" y="412"/>
                    </a:lnTo>
                    <a:lnTo>
                      <a:pt x="366" y="442"/>
                    </a:lnTo>
                    <a:lnTo>
                      <a:pt x="328" y="480"/>
                    </a:lnTo>
                    <a:lnTo>
                      <a:pt x="294" y="516"/>
                    </a:lnTo>
                    <a:lnTo>
                      <a:pt x="260" y="554"/>
                    </a:lnTo>
                    <a:lnTo>
                      <a:pt x="228" y="592"/>
                    </a:lnTo>
                    <a:lnTo>
                      <a:pt x="202" y="632"/>
                    </a:lnTo>
                    <a:lnTo>
                      <a:pt x="170" y="678"/>
                    </a:lnTo>
                    <a:lnTo>
                      <a:pt x="146" y="720"/>
                    </a:lnTo>
                    <a:lnTo>
                      <a:pt x="122" y="764"/>
                    </a:lnTo>
                    <a:lnTo>
                      <a:pt x="98" y="810"/>
                    </a:lnTo>
                    <a:lnTo>
                      <a:pt x="80" y="858"/>
                    </a:lnTo>
                    <a:lnTo>
                      <a:pt x="60" y="906"/>
                    </a:lnTo>
                    <a:lnTo>
                      <a:pt x="46" y="954"/>
                    </a:lnTo>
                    <a:lnTo>
                      <a:pt x="32" y="1006"/>
                    </a:lnTo>
                    <a:lnTo>
                      <a:pt x="22" y="1058"/>
                    </a:lnTo>
                    <a:lnTo>
                      <a:pt x="12" y="1110"/>
                    </a:lnTo>
                    <a:lnTo>
                      <a:pt x="4" y="1162"/>
                    </a:lnTo>
                    <a:lnTo>
                      <a:pt x="0" y="1216"/>
                    </a:lnTo>
                    <a:lnTo>
                      <a:pt x="0" y="1268"/>
                    </a:lnTo>
                    <a:lnTo>
                      <a:pt x="0" y="1328"/>
                    </a:lnTo>
                    <a:lnTo>
                      <a:pt x="8" y="1382"/>
                    </a:lnTo>
                    <a:lnTo>
                      <a:pt x="14" y="1438"/>
                    </a:lnTo>
                    <a:lnTo>
                      <a:pt x="22" y="1494"/>
                    </a:lnTo>
                    <a:lnTo>
                      <a:pt x="36" y="1548"/>
                    </a:lnTo>
                    <a:lnTo>
                      <a:pt x="50" y="1600"/>
                    </a:lnTo>
                    <a:lnTo>
                      <a:pt x="66" y="1652"/>
                    </a:lnTo>
                    <a:lnTo>
                      <a:pt x="88" y="1704"/>
                    </a:lnTo>
                    <a:lnTo>
                      <a:pt x="112" y="1752"/>
                    </a:lnTo>
                    <a:lnTo>
                      <a:pt x="136" y="1800"/>
                    </a:lnTo>
                    <a:lnTo>
                      <a:pt x="164" y="1846"/>
                    </a:lnTo>
                    <a:lnTo>
                      <a:pt x="190" y="1890"/>
                    </a:lnTo>
                    <a:lnTo>
                      <a:pt x="222" y="1936"/>
                    </a:lnTo>
                    <a:lnTo>
                      <a:pt x="254" y="1976"/>
                    </a:lnTo>
                    <a:lnTo>
                      <a:pt x="290" y="2018"/>
                    </a:lnTo>
                    <a:lnTo>
                      <a:pt x="326" y="2056"/>
                    </a:lnTo>
                    <a:lnTo>
                      <a:pt x="364" y="2094"/>
                    </a:lnTo>
                    <a:lnTo>
                      <a:pt x="404" y="2128"/>
                    </a:lnTo>
                    <a:lnTo>
                      <a:pt x="446" y="2160"/>
                    </a:lnTo>
                    <a:lnTo>
                      <a:pt x="492" y="2190"/>
                    </a:lnTo>
                    <a:lnTo>
                      <a:pt x="536" y="2222"/>
                    </a:lnTo>
                    <a:lnTo>
                      <a:pt x="582" y="2246"/>
                    </a:lnTo>
                    <a:lnTo>
                      <a:pt x="630" y="2274"/>
                    </a:lnTo>
                    <a:lnTo>
                      <a:pt x="682" y="2294"/>
                    </a:lnTo>
                    <a:lnTo>
                      <a:pt x="730" y="2316"/>
                    </a:lnTo>
                    <a:lnTo>
                      <a:pt x="782" y="2332"/>
                    </a:lnTo>
                    <a:lnTo>
                      <a:pt x="834" y="2346"/>
                    </a:lnTo>
                    <a:lnTo>
                      <a:pt x="888" y="2360"/>
                    </a:lnTo>
                    <a:lnTo>
                      <a:pt x="944" y="2370"/>
                    </a:lnTo>
                    <a:lnTo>
                      <a:pt x="998" y="2378"/>
                    </a:lnTo>
                    <a:lnTo>
                      <a:pt x="1054" y="2380"/>
                    </a:lnTo>
                    <a:lnTo>
                      <a:pt x="1112" y="2380"/>
                    </a:lnTo>
                    <a:lnTo>
                      <a:pt x="1168" y="2380"/>
                    </a:lnTo>
                    <a:lnTo>
                      <a:pt x="1226" y="2378"/>
                    </a:lnTo>
                    <a:lnTo>
                      <a:pt x="1282" y="2370"/>
                    </a:lnTo>
                    <a:lnTo>
                      <a:pt x="1338" y="2360"/>
                    </a:lnTo>
                    <a:lnTo>
                      <a:pt x="1390" y="2346"/>
                    </a:lnTo>
                    <a:lnTo>
                      <a:pt x="1442" y="2332"/>
                    </a:lnTo>
                    <a:lnTo>
                      <a:pt x="1492" y="2316"/>
                    </a:lnTo>
                    <a:lnTo>
                      <a:pt x="1544" y="2294"/>
                    </a:lnTo>
                    <a:lnTo>
                      <a:pt x="1594" y="2274"/>
                    </a:lnTo>
                    <a:lnTo>
                      <a:pt x="1642" y="2246"/>
                    </a:lnTo>
                    <a:lnTo>
                      <a:pt x="1690" y="2222"/>
                    </a:lnTo>
                    <a:lnTo>
                      <a:pt x="1734" y="2190"/>
                    </a:lnTo>
                    <a:lnTo>
                      <a:pt x="1776" y="2160"/>
                    </a:lnTo>
                    <a:lnTo>
                      <a:pt x="1820" y="2128"/>
                    </a:lnTo>
                    <a:lnTo>
                      <a:pt x="1858" y="2094"/>
                    </a:lnTo>
                    <a:lnTo>
                      <a:pt x="1896" y="2056"/>
                    </a:lnTo>
                    <a:lnTo>
                      <a:pt x="1934" y="2018"/>
                    </a:lnTo>
                    <a:lnTo>
                      <a:pt x="1970" y="1976"/>
                    </a:lnTo>
                    <a:lnTo>
                      <a:pt x="2004" y="1936"/>
                    </a:lnTo>
                    <a:lnTo>
                      <a:pt x="2036" y="1890"/>
                    </a:lnTo>
                    <a:lnTo>
                      <a:pt x="2062" y="1846"/>
                    </a:lnTo>
                    <a:lnTo>
                      <a:pt x="2090" y="1800"/>
                    </a:lnTo>
                    <a:lnTo>
                      <a:pt x="2114" y="1752"/>
                    </a:lnTo>
                    <a:lnTo>
                      <a:pt x="2136" y="1704"/>
                    </a:lnTo>
                    <a:lnTo>
                      <a:pt x="2156" y="1652"/>
                    </a:lnTo>
                    <a:lnTo>
                      <a:pt x="2174" y="1600"/>
                    </a:lnTo>
                    <a:lnTo>
                      <a:pt x="2188" y="1548"/>
                    </a:lnTo>
                    <a:lnTo>
                      <a:pt x="2200" y="1494"/>
                    </a:lnTo>
                    <a:lnTo>
                      <a:pt x="2212" y="1438"/>
                    </a:lnTo>
                    <a:lnTo>
                      <a:pt x="2218" y="1382"/>
                    </a:lnTo>
                    <a:lnTo>
                      <a:pt x="2222" y="1328"/>
                    </a:lnTo>
                    <a:lnTo>
                      <a:pt x="2122" y="1268"/>
                    </a:lnTo>
                    <a:close/>
                  </a:path>
                </a:pathLst>
              </a:custGeom>
              <a:solidFill>
                <a:srgbClr val="FFFFFF"/>
              </a:solidFill>
              <a:ln w="12700" cap="flat" cmpd="sng">
                <a:solidFill>
                  <a:srgbClr val="EBEBEB"/>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42" name="Google Shape;829;g12f1bb89dac_0_297">
                <a:extLst>
                  <a:ext uri="{FF2B5EF4-FFF2-40B4-BE49-F238E27FC236}">
                    <a16:creationId xmlns:a16="http://schemas.microsoft.com/office/drawing/2014/main" id="{A480E879-B102-448C-99AB-200D101BAAF7}"/>
                  </a:ext>
                </a:extLst>
              </p:cNvPr>
              <p:cNvSpPr/>
              <p:nvPr/>
            </p:nvSpPr>
            <p:spPr>
              <a:xfrm>
                <a:off x="1874638" y="109416"/>
                <a:ext cx="3778250" cy="3527425"/>
              </a:xfrm>
              <a:custGeom>
                <a:avLst/>
                <a:gdLst/>
                <a:ahLst/>
                <a:cxnLst/>
                <a:rect l="l" t="t" r="r" b="b"/>
                <a:pathLst>
                  <a:path w="2380" h="2222" extrusionOk="0">
                    <a:moveTo>
                      <a:pt x="2280" y="1050"/>
                    </a:moveTo>
                    <a:lnTo>
                      <a:pt x="2222" y="1016"/>
                    </a:lnTo>
                    <a:lnTo>
                      <a:pt x="2216" y="960"/>
                    </a:lnTo>
                    <a:lnTo>
                      <a:pt x="2204" y="908"/>
                    </a:lnTo>
                    <a:lnTo>
                      <a:pt x="2194" y="856"/>
                    </a:lnTo>
                    <a:lnTo>
                      <a:pt x="2184" y="808"/>
                    </a:lnTo>
                    <a:lnTo>
                      <a:pt x="2166" y="756"/>
                    </a:lnTo>
                    <a:lnTo>
                      <a:pt x="2150" y="708"/>
                    </a:lnTo>
                    <a:lnTo>
                      <a:pt x="2128" y="662"/>
                    </a:lnTo>
                    <a:lnTo>
                      <a:pt x="2108" y="614"/>
                    </a:lnTo>
                    <a:lnTo>
                      <a:pt x="2084" y="570"/>
                    </a:lnTo>
                    <a:lnTo>
                      <a:pt x="2060" y="528"/>
                    </a:lnTo>
                    <a:lnTo>
                      <a:pt x="2032" y="484"/>
                    </a:lnTo>
                    <a:lnTo>
                      <a:pt x="2000" y="442"/>
                    </a:lnTo>
                    <a:lnTo>
                      <a:pt x="1970" y="404"/>
                    </a:lnTo>
                    <a:lnTo>
                      <a:pt x="1938" y="366"/>
                    </a:lnTo>
                    <a:lnTo>
                      <a:pt x="1900" y="328"/>
                    </a:lnTo>
                    <a:lnTo>
                      <a:pt x="1866" y="294"/>
                    </a:lnTo>
                    <a:lnTo>
                      <a:pt x="1828" y="258"/>
                    </a:lnTo>
                    <a:lnTo>
                      <a:pt x="1790" y="228"/>
                    </a:lnTo>
                    <a:lnTo>
                      <a:pt x="1748" y="200"/>
                    </a:lnTo>
                    <a:lnTo>
                      <a:pt x="1704" y="168"/>
                    </a:lnTo>
                    <a:lnTo>
                      <a:pt x="1662" y="144"/>
                    </a:lnTo>
                    <a:lnTo>
                      <a:pt x="1618" y="120"/>
                    </a:lnTo>
                    <a:lnTo>
                      <a:pt x="1572" y="96"/>
                    </a:lnTo>
                    <a:lnTo>
                      <a:pt x="1524" y="78"/>
                    </a:lnTo>
                    <a:lnTo>
                      <a:pt x="1476" y="58"/>
                    </a:lnTo>
                    <a:lnTo>
                      <a:pt x="1428" y="44"/>
                    </a:lnTo>
                    <a:lnTo>
                      <a:pt x="1376" y="30"/>
                    </a:lnTo>
                    <a:lnTo>
                      <a:pt x="1324" y="20"/>
                    </a:lnTo>
                    <a:lnTo>
                      <a:pt x="1272" y="10"/>
                    </a:lnTo>
                    <a:lnTo>
                      <a:pt x="1220" y="2"/>
                    </a:lnTo>
                    <a:lnTo>
                      <a:pt x="1166" y="0"/>
                    </a:lnTo>
                    <a:lnTo>
                      <a:pt x="1114" y="0"/>
                    </a:lnTo>
                    <a:lnTo>
                      <a:pt x="1054" y="0"/>
                    </a:lnTo>
                    <a:lnTo>
                      <a:pt x="1000" y="6"/>
                    </a:lnTo>
                    <a:lnTo>
                      <a:pt x="944" y="14"/>
                    </a:lnTo>
                    <a:lnTo>
                      <a:pt x="888" y="20"/>
                    </a:lnTo>
                    <a:lnTo>
                      <a:pt x="834" y="34"/>
                    </a:lnTo>
                    <a:lnTo>
                      <a:pt x="782" y="48"/>
                    </a:lnTo>
                    <a:lnTo>
                      <a:pt x="730" y="64"/>
                    </a:lnTo>
                    <a:lnTo>
                      <a:pt x="678" y="86"/>
                    </a:lnTo>
                    <a:lnTo>
                      <a:pt x="630" y="110"/>
                    </a:lnTo>
                    <a:lnTo>
                      <a:pt x="582" y="134"/>
                    </a:lnTo>
                    <a:lnTo>
                      <a:pt x="536" y="162"/>
                    </a:lnTo>
                    <a:lnTo>
                      <a:pt x="492" y="190"/>
                    </a:lnTo>
                    <a:lnTo>
                      <a:pt x="446" y="220"/>
                    </a:lnTo>
                    <a:lnTo>
                      <a:pt x="406" y="252"/>
                    </a:lnTo>
                    <a:lnTo>
                      <a:pt x="364" y="290"/>
                    </a:lnTo>
                    <a:lnTo>
                      <a:pt x="326" y="324"/>
                    </a:lnTo>
                    <a:lnTo>
                      <a:pt x="288" y="362"/>
                    </a:lnTo>
                    <a:lnTo>
                      <a:pt x="254" y="404"/>
                    </a:lnTo>
                    <a:lnTo>
                      <a:pt x="222" y="446"/>
                    </a:lnTo>
                    <a:lnTo>
                      <a:pt x="190" y="490"/>
                    </a:lnTo>
                    <a:lnTo>
                      <a:pt x="160" y="534"/>
                    </a:lnTo>
                    <a:lnTo>
                      <a:pt x="136" y="580"/>
                    </a:lnTo>
                    <a:lnTo>
                      <a:pt x="108" y="628"/>
                    </a:lnTo>
                    <a:lnTo>
                      <a:pt x="88" y="680"/>
                    </a:lnTo>
                    <a:lnTo>
                      <a:pt x="66" y="728"/>
                    </a:lnTo>
                    <a:lnTo>
                      <a:pt x="50" y="780"/>
                    </a:lnTo>
                    <a:lnTo>
                      <a:pt x="36" y="832"/>
                    </a:lnTo>
                    <a:lnTo>
                      <a:pt x="22" y="888"/>
                    </a:lnTo>
                    <a:lnTo>
                      <a:pt x="12" y="942"/>
                    </a:lnTo>
                    <a:lnTo>
                      <a:pt x="4" y="998"/>
                    </a:lnTo>
                    <a:lnTo>
                      <a:pt x="0" y="1054"/>
                    </a:lnTo>
                    <a:lnTo>
                      <a:pt x="0" y="1112"/>
                    </a:lnTo>
                    <a:lnTo>
                      <a:pt x="0" y="1168"/>
                    </a:lnTo>
                    <a:lnTo>
                      <a:pt x="4" y="1226"/>
                    </a:lnTo>
                    <a:lnTo>
                      <a:pt x="12" y="1282"/>
                    </a:lnTo>
                    <a:lnTo>
                      <a:pt x="22" y="1336"/>
                    </a:lnTo>
                    <a:lnTo>
                      <a:pt x="36" y="1388"/>
                    </a:lnTo>
                    <a:lnTo>
                      <a:pt x="50" y="1440"/>
                    </a:lnTo>
                    <a:lnTo>
                      <a:pt x="66" y="1492"/>
                    </a:lnTo>
                    <a:lnTo>
                      <a:pt x="88" y="1544"/>
                    </a:lnTo>
                    <a:lnTo>
                      <a:pt x="108" y="1592"/>
                    </a:lnTo>
                    <a:lnTo>
                      <a:pt x="136" y="1640"/>
                    </a:lnTo>
                    <a:lnTo>
                      <a:pt x="160" y="1690"/>
                    </a:lnTo>
                    <a:lnTo>
                      <a:pt x="190" y="1734"/>
                    </a:lnTo>
                    <a:lnTo>
                      <a:pt x="222" y="1776"/>
                    </a:lnTo>
                    <a:lnTo>
                      <a:pt x="254" y="1820"/>
                    </a:lnTo>
                    <a:lnTo>
                      <a:pt x="288" y="1858"/>
                    </a:lnTo>
                    <a:lnTo>
                      <a:pt x="326" y="1896"/>
                    </a:lnTo>
                    <a:lnTo>
                      <a:pt x="364" y="1934"/>
                    </a:lnTo>
                    <a:lnTo>
                      <a:pt x="406" y="1970"/>
                    </a:lnTo>
                    <a:lnTo>
                      <a:pt x="446" y="2004"/>
                    </a:lnTo>
                    <a:lnTo>
                      <a:pt x="492" y="2034"/>
                    </a:lnTo>
                    <a:lnTo>
                      <a:pt x="536" y="2062"/>
                    </a:lnTo>
                    <a:lnTo>
                      <a:pt x="582" y="2090"/>
                    </a:lnTo>
                    <a:lnTo>
                      <a:pt x="630" y="2114"/>
                    </a:lnTo>
                    <a:lnTo>
                      <a:pt x="678" y="2136"/>
                    </a:lnTo>
                    <a:lnTo>
                      <a:pt x="730" y="2156"/>
                    </a:lnTo>
                    <a:lnTo>
                      <a:pt x="782" y="2174"/>
                    </a:lnTo>
                    <a:lnTo>
                      <a:pt x="834" y="2188"/>
                    </a:lnTo>
                    <a:lnTo>
                      <a:pt x="888" y="2200"/>
                    </a:lnTo>
                    <a:lnTo>
                      <a:pt x="944" y="2212"/>
                    </a:lnTo>
                    <a:lnTo>
                      <a:pt x="1000" y="2218"/>
                    </a:lnTo>
                    <a:lnTo>
                      <a:pt x="1052" y="2222"/>
                    </a:lnTo>
                    <a:lnTo>
                      <a:pt x="1112" y="2120"/>
                    </a:lnTo>
                    <a:lnTo>
                      <a:pt x="1174" y="2220"/>
                    </a:lnTo>
                    <a:lnTo>
                      <a:pt x="1220" y="2218"/>
                    </a:lnTo>
                    <a:lnTo>
                      <a:pt x="1272" y="2212"/>
                    </a:lnTo>
                    <a:lnTo>
                      <a:pt x="1324" y="2204"/>
                    </a:lnTo>
                    <a:lnTo>
                      <a:pt x="1376" y="2194"/>
                    </a:lnTo>
                    <a:lnTo>
                      <a:pt x="1428" y="2180"/>
                    </a:lnTo>
                    <a:lnTo>
                      <a:pt x="1476" y="2162"/>
                    </a:lnTo>
                    <a:lnTo>
                      <a:pt x="1524" y="2146"/>
                    </a:lnTo>
                    <a:lnTo>
                      <a:pt x="1572" y="2124"/>
                    </a:lnTo>
                    <a:lnTo>
                      <a:pt x="1618" y="2104"/>
                    </a:lnTo>
                    <a:lnTo>
                      <a:pt x="1662" y="2080"/>
                    </a:lnTo>
                    <a:lnTo>
                      <a:pt x="1704" y="2052"/>
                    </a:lnTo>
                    <a:lnTo>
                      <a:pt x="1748" y="2024"/>
                    </a:lnTo>
                    <a:lnTo>
                      <a:pt x="1790" y="1994"/>
                    </a:lnTo>
                    <a:lnTo>
                      <a:pt x="1828" y="1962"/>
                    </a:lnTo>
                    <a:lnTo>
                      <a:pt x="1866" y="1932"/>
                    </a:lnTo>
                    <a:lnTo>
                      <a:pt x="1900" y="1894"/>
                    </a:lnTo>
                    <a:lnTo>
                      <a:pt x="1938" y="1858"/>
                    </a:lnTo>
                    <a:lnTo>
                      <a:pt x="1970" y="1820"/>
                    </a:lnTo>
                    <a:lnTo>
                      <a:pt x="2000" y="1780"/>
                    </a:lnTo>
                    <a:lnTo>
                      <a:pt x="2032" y="1738"/>
                    </a:lnTo>
                    <a:lnTo>
                      <a:pt x="2060" y="1696"/>
                    </a:lnTo>
                    <a:lnTo>
                      <a:pt x="2084" y="1652"/>
                    </a:lnTo>
                    <a:lnTo>
                      <a:pt x="2108" y="1606"/>
                    </a:lnTo>
                    <a:lnTo>
                      <a:pt x="2128" y="1562"/>
                    </a:lnTo>
                    <a:lnTo>
                      <a:pt x="2150" y="1514"/>
                    </a:lnTo>
                    <a:lnTo>
                      <a:pt x="2166" y="1464"/>
                    </a:lnTo>
                    <a:lnTo>
                      <a:pt x="2184" y="1416"/>
                    </a:lnTo>
                    <a:lnTo>
                      <a:pt x="2194" y="1364"/>
                    </a:lnTo>
                    <a:lnTo>
                      <a:pt x="2204" y="1312"/>
                    </a:lnTo>
                    <a:lnTo>
                      <a:pt x="2216" y="1260"/>
                    </a:lnTo>
                    <a:lnTo>
                      <a:pt x="2222" y="1208"/>
                    </a:lnTo>
                    <a:lnTo>
                      <a:pt x="2280" y="1174"/>
                    </a:lnTo>
                    <a:lnTo>
                      <a:pt x="2380" y="1112"/>
                    </a:lnTo>
                    <a:lnTo>
                      <a:pt x="2280" y="1050"/>
                    </a:lnTo>
                    <a:close/>
                  </a:path>
                </a:pathLst>
              </a:custGeom>
              <a:solidFill>
                <a:srgbClr val="FFFFFF"/>
              </a:solidFill>
              <a:ln w="12700" cap="flat" cmpd="sng">
                <a:solidFill>
                  <a:srgbClr val="EBEBEB"/>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grpSp>
        <p:sp>
          <p:nvSpPr>
            <p:cNvPr id="26" name="Google Shape;830;g12f1bb89dac_0_297">
              <a:extLst>
                <a:ext uri="{FF2B5EF4-FFF2-40B4-BE49-F238E27FC236}">
                  <a16:creationId xmlns:a16="http://schemas.microsoft.com/office/drawing/2014/main" id="{E984E075-F0B2-40D7-AC17-87957FDD65CF}"/>
                </a:ext>
              </a:extLst>
            </p:cNvPr>
            <p:cNvSpPr/>
            <p:nvPr/>
          </p:nvSpPr>
          <p:spPr>
            <a:xfrm>
              <a:off x="8485231" y="3400268"/>
              <a:ext cx="2822100" cy="28221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27" name="Google Shape;831;g12f1bb89dac_0_297">
              <a:extLst>
                <a:ext uri="{FF2B5EF4-FFF2-40B4-BE49-F238E27FC236}">
                  <a16:creationId xmlns:a16="http://schemas.microsoft.com/office/drawing/2014/main" id="{E5EA1FFF-B485-472A-9328-B5DAF9E2907C}"/>
                </a:ext>
              </a:extLst>
            </p:cNvPr>
            <p:cNvSpPr/>
            <p:nvPr/>
          </p:nvSpPr>
          <p:spPr>
            <a:xfrm>
              <a:off x="8582493" y="3505599"/>
              <a:ext cx="1224300" cy="1224300"/>
            </a:xfrm>
            <a:prstGeom prst="flowChartConnector">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28" name="Google Shape;832;g12f1bb89dac_0_297">
              <a:extLst>
                <a:ext uri="{FF2B5EF4-FFF2-40B4-BE49-F238E27FC236}">
                  <a16:creationId xmlns:a16="http://schemas.microsoft.com/office/drawing/2014/main" id="{579D0D0B-5C07-4C3F-8E1D-9FECD3191991}"/>
                </a:ext>
              </a:extLst>
            </p:cNvPr>
            <p:cNvSpPr/>
            <p:nvPr/>
          </p:nvSpPr>
          <p:spPr>
            <a:xfrm>
              <a:off x="10005650" y="3505599"/>
              <a:ext cx="1224300" cy="1224300"/>
            </a:xfrm>
            <a:prstGeom prst="flowChartConnector">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29" name="Google Shape;833;g12f1bb89dac_0_297">
              <a:extLst>
                <a:ext uri="{FF2B5EF4-FFF2-40B4-BE49-F238E27FC236}">
                  <a16:creationId xmlns:a16="http://schemas.microsoft.com/office/drawing/2014/main" id="{8AA80C8A-742C-4028-B3E2-D3B3BD15AF16}"/>
                </a:ext>
              </a:extLst>
            </p:cNvPr>
            <p:cNvSpPr/>
            <p:nvPr/>
          </p:nvSpPr>
          <p:spPr>
            <a:xfrm>
              <a:off x="8576513" y="4916797"/>
              <a:ext cx="1224300" cy="1224300"/>
            </a:xfrm>
            <a:prstGeom prst="flowChartConnector">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30" name="Google Shape;834;g12f1bb89dac_0_297">
              <a:extLst>
                <a:ext uri="{FF2B5EF4-FFF2-40B4-BE49-F238E27FC236}">
                  <a16:creationId xmlns:a16="http://schemas.microsoft.com/office/drawing/2014/main" id="{3F7C4D15-7693-49CE-9105-7EACD3DFCF31}"/>
                </a:ext>
              </a:extLst>
            </p:cNvPr>
            <p:cNvSpPr/>
            <p:nvPr/>
          </p:nvSpPr>
          <p:spPr>
            <a:xfrm>
              <a:off x="9999670" y="4916797"/>
              <a:ext cx="1224300" cy="1224300"/>
            </a:xfrm>
            <a:prstGeom prst="flowChartConnector">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31" name="Google Shape;835;g12f1bb89dac_0_297">
              <a:extLst>
                <a:ext uri="{FF2B5EF4-FFF2-40B4-BE49-F238E27FC236}">
                  <a16:creationId xmlns:a16="http://schemas.microsoft.com/office/drawing/2014/main" id="{8E78B540-2B6F-47FF-8D74-D27CFD90BCCB}"/>
                </a:ext>
              </a:extLst>
            </p:cNvPr>
            <p:cNvSpPr txBox="1"/>
            <p:nvPr/>
          </p:nvSpPr>
          <p:spPr>
            <a:xfrm>
              <a:off x="8967050" y="3638713"/>
              <a:ext cx="425700" cy="5843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900"/>
                <a:buFont typeface="Arial"/>
                <a:buNone/>
              </a:pPr>
              <a:r>
                <a:rPr lang="en-AU" b="1" i="0" u="none" strike="noStrike" cap="none" dirty="0">
                  <a:solidFill>
                    <a:schemeClr val="bg1"/>
                  </a:solidFill>
                  <a:ea typeface="Public Sans"/>
                  <a:cs typeface="Public Sans"/>
                  <a:sym typeface="Public Sans"/>
                </a:rPr>
                <a:t>8</a:t>
              </a:r>
              <a:endParaRPr b="1" i="0" u="none" strike="noStrike" cap="none" dirty="0">
                <a:solidFill>
                  <a:schemeClr val="bg1"/>
                </a:solidFill>
                <a:ea typeface="Public Sans"/>
                <a:cs typeface="Public Sans"/>
                <a:sym typeface="Public Sans"/>
              </a:endParaRPr>
            </a:p>
          </p:txBody>
        </p:sp>
        <p:sp>
          <p:nvSpPr>
            <p:cNvPr id="32" name="Google Shape;836;g12f1bb89dac_0_297">
              <a:extLst>
                <a:ext uri="{FF2B5EF4-FFF2-40B4-BE49-F238E27FC236}">
                  <a16:creationId xmlns:a16="http://schemas.microsoft.com/office/drawing/2014/main" id="{4E3A31B9-EA07-4E00-878D-583E42A8492C}"/>
                </a:ext>
              </a:extLst>
            </p:cNvPr>
            <p:cNvSpPr txBox="1"/>
            <p:nvPr/>
          </p:nvSpPr>
          <p:spPr>
            <a:xfrm>
              <a:off x="8727356" y="3938009"/>
              <a:ext cx="936300" cy="62326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AU" sz="1000" b="1" i="0" u="none" strike="noStrike" cap="none" dirty="0">
                  <a:solidFill>
                    <a:schemeClr val="lt1"/>
                  </a:solidFill>
                  <a:ea typeface="Public Sans"/>
                  <a:cs typeface="Public Sans"/>
                  <a:sym typeface="Public Sans"/>
                </a:rPr>
                <a:t>Weekly stand-ups</a:t>
              </a:r>
              <a:endParaRPr sz="1000" b="1" i="0" u="none" strike="noStrike" cap="none" dirty="0">
                <a:solidFill>
                  <a:schemeClr val="lt1"/>
                </a:solidFill>
                <a:ea typeface="Public Sans"/>
                <a:cs typeface="Public Sans"/>
                <a:sym typeface="Public Sans"/>
              </a:endParaRPr>
            </a:p>
          </p:txBody>
        </p:sp>
        <p:sp>
          <p:nvSpPr>
            <p:cNvPr id="33" name="Google Shape;837;g12f1bb89dac_0_297">
              <a:extLst>
                <a:ext uri="{FF2B5EF4-FFF2-40B4-BE49-F238E27FC236}">
                  <a16:creationId xmlns:a16="http://schemas.microsoft.com/office/drawing/2014/main" id="{BD6501FB-70D1-4F4B-97AF-BF75B10ABE45}"/>
                </a:ext>
              </a:extLst>
            </p:cNvPr>
            <p:cNvSpPr txBox="1"/>
            <p:nvPr/>
          </p:nvSpPr>
          <p:spPr>
            <a:xfrm>
              <a:off x="10356962" y="3654252"/>
              <a:ext cx="487664" cy="5843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900"/>
                <a:buFont typeface="Arial"/>
                <a:buNone/>
              </a:pPr>
              <a:r>
                <a:rPr lang="en-AU" b="1" dirty="0">
                  <a:solidFill>
                    <a:schemeClr val="bg1"/>
                  </a:solidFill>
                  <a:ea typeface="Public Sans"/>
                  <a:cs typeface="Public Sans"/>
                  <a:sym typeface="Public Sans"/>
                </a:rPr>
                <a:t>10</a:t>
              </a:r>
              <a:endParaRPr sz="1600" b="1" i="0" u="none" strike="noStrike" cap="none" dirty="0">
                <a:solidFill>
                  <a:schemeClr val="bg1"/>
                </a:solidFill>
                <a:ea typeface="Public Sans"/>
                <a:cs typeface="Public Sans"/>
                <a:sym typeface="Public Sans"/>
              </a:endParaRPr>
            </a:p>
          </p:txBody>
        </p:sp>
        <p:sp>
          <p:nvSpPr>
            <p:cNvPr id="34" name="Google Shape;838;g12f1bb89dac_0_297">
              <a:extLst>
                <a:ext uri="{FF2B5EF4-FFF2-40B4-BE49-F238E27FC236}">
                  <a16:creationId xmlns:a16="http://schemas.microsoft.com/office/drawing/2014/main" id="{2F671CA8-0333-4FC9-B86B-D941E0A91350}"/>
                </a:ext>
              </a:extLst>
            </p:cNvPr>
            <p:cNvSpPr txBox="1"/>
            <p:nvPr/>
          </p:nvSpPr>
          <p:spPr>
            <a:xfrm>
              <a:off x="10159878" y="3952124"/>
              <a:ext cx="936300" cy="62326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AU" sz="1000" b="1" dirty="0">
                  <a:solidFill>
                    <a:schemeClr val="bg1"/>
                  </a:solidFill>
                  <a:ea typeface="Public Sans"/>
                  <a:cs typeface="Public Sans"/>
                  <a:sym typeface="Public Sans"/>
                </a:rPr>
                <a:t>Stakeholder Interviews </a:t>
              </a:r>
              <a:endParaRPr sz="1000" b="1" i="0" u="none" strike="noStrike" cap="none" dirty="0">
                <a:solidFill>
                  <a:schemeClr val="bg1"/>
                </a:solidFill>
                <a:ea typeface="Public Sans"/>
                <a:cs typeface="Public Sans"/>
                <a:sym typeface="Public Sans"/>
              </a:endParaRPr>
            </a:p>
          </p:txBody>
        </p:sp>
        <p:sp>
          <p:nvSpPr>
            <p:cNvPr id="35" name="Google Shape;839;g12f1bb89dac_0_297">
              <a:extLst>
                <a:ext uri="{FF2B5EF4-FFF2-40B4-BE49-F238E27FC236}">
                  <a16:creationId xmlns:a16="http://schemas.microsoft.com/office/drawing/2014/main" id="{D916FDCA-300C-4D66-B99F-D8F02E06FAD6}"/>
                </a:ext>
              </a:extLst>
            </p:cNvPr>
            <p:cNvSpPr txBox="1"/>
            <p:nvPr/>
          </p:nvSpPr>
          <p:spPr>
            <a:xfrm>
              <a:off x="8967050" y="5060833"/>
              <a:ext cx="425700" cy="5843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900"/>
                <a:buFont typeface="Arial"/>
                <a:buNone/>
              </a:pPr>
              <a:r>
                <a:rPr lang="en-AU" b="1" i="0" u="none" strike="noStrike" cap="none" dirty="0">
                  <a:solidFill>
                    <a:schemeClr val="bg1"/>
                  </a:solidFill>
                  <a:ea typeface="Public Sans"/>
                  <a:cs typeface="Public Sans"/>
                  <a:sym typeface="Public Sans"/>
                </a:rPr>
                <a:t>2 </a:t>
              </a:r>
              <a:endParaRPr b="1" i="0" u="none" strike="noStrike" cap="none" dirty="0">
                <a:solidFill>
                  <a:schemeClr val="bg1"/>
                </a:solidFill>
                <a:ea typeface="Public Sans"/>
                <a:cs typeface="Public Sans"/>
                <a:sym typeface="Public Sans"/>
              </a:endParaRPr>
            </a:p>
          </p:txBody>
        </p:sp>
        <p:sp>
          <p:nvSpPr>
            <p:cNvPr id="36" name="Google Shape;840;g12f1bb89dac_0_297">
              <a:extLst>
                <a:ext uri="{FF2B5EF4-FFF2-40B4-BE49-F238E27FC236}">
                  <a16:creationId xmlns:a16="http://schemas.microsoft.com/office/drawing/2014/main" id="{ABFE1899-79AC-4672-80CB-15A21E87BD77}"/>
                </a:ext>
              </a:extLst>
            </p:cNvPr>
            <p:cNvSpPr txBox="1"/>
            <p:nvPr/>
          </p:nvSpPr>
          <p:spPr>
            <a:xfrm>
              <a:off x="8635551" y="5341745"/>
              <a:ext cx="1088699" cy="62326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AU" sz="1000" b="1" i="0" u="none" strike="noStrike" cap="none" dirty="0">
                  <a:solidFill>
                    <a:schemeClr val="bg1"/>
                  </a:solidFill>
                  <a:ea typeface="Public Sans"/>
                  <a:cs typeface="Public Sans"/>
                  <a:sym typeface="Public Sans"/>
                </a:rPr>
                <a:t>Collaborative Workshops</a:t>
              </a:r>
              <a:endParaRPr sz="1000" b="1" i="0" u="none" strike="noStrike" cap="none" dirty="0">
                <a:solidFill>
                  <a:schemeClr val="bg1"/>
                </a:solidFill>
                <a:ea typeface="Public Sans"/>
                <a:cs typeface="Public Sans"/>
                <a:sym typeface="Public Sans"/>
              </a:endParaRPr>
            </a:p>
          </p:txBody>
        </p:sp>
        <p:sp>
          <p:nvSpPr>
            <p:cNvPr id="37" name="Google Shape;841;g12f1bb89dac_0_297">
              <a:extLst>
                <a:ext uri="{FF2B5EF4-FFF2-40B4-BE49-F238E27FC236}">
                  <a16:creationId xmlns:a16="http://schemas.microsoft.com/office/drawing/2014/main" id="{16F3B70A-43C0-4718-9C21-AF88D18E28B4}"/>
                </a:ext>
              </a:extLst>
            </p:cNvPr>
            <p:cNvSpPr txBox="1"/>
            <p:nvPr/>
          </p:nvSpPr>
          <p:spPr>
            <a:xfrm>
              <a:off x="10227439" y="4969125"/>
              <a:ext cx="796500" cy="5843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900"/>
                <a:buFont typeface="Arial"/>
                <a:buNone/>
              </a:pPr>
              <a:r>
                <a:rPr lang="en-AU" b="1" dirty="0">
                  <a:solidFill>
                    <a:schemeClr val="bg1"/>
                  </a:solidFill>
                  <a:ea typeface="Public Sans"/>
                  <a:cs typeface="Public Sans"/>
                  <a:sym typeface="Public Sans"/>
                </a:rPr>
                <a:t>70+</a:t>
              </a:r>
              <a:endParaRPr b="1" i="0" u="none" strike="noStrike" cap="none" dirty="0">
                <a:solidFill>
                  <a:schemeClr val="bg1"/>
                </a:solidFill>
                <a:ea typeface="Public Sans"/>
                <a:cs typeface="Public Sans"/>
                <a:sym typeface="Public Sans"/>
              </a:endParaRPr>
            </a:p>
          </p:txBody>
        </p:sp>
        <p:sp>
          <p:nvSpPr>
            <p:cNvPr id="38" name="Google Shape;842;g12f1bb89dac_0_297">
              <a:extLst>
                <a:ext uri="{FF2B5EF4-FFF2-40B4-BE49-F238E27FC236}">
                  <a16:creationId xmlns:a16="http://schemas.microsoft.com/office/drawing/2014/main" id="{57BCBE51-FFC5-4515-BC97-1440EC80B5FC}"/>
                </a:ext>
              </a:extLst>
            </p:cNvPr>
            <p:cNvSpPr txBox="1"/>
            <p:nvPr/>
          </p:nvSpPr>
          <p:spPr>
            <a:xfrm>
              <a:off x="10191278" y="5287813"/>
              <a:ext cx="868823" cy="818047"/>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AU" sz="1000" b="1" dirty="0">
                  <a:solidFill>
                    <a:schemeClr val="lt1"/>
                  </a:solidFill>
                  <a:ea typeface="Public Sans"/>
                  <a:cs typeface="Public Sans"/>
                  <a:sym typeface="Public Sans"/>
                </a:rPr>
                <a:t>Team members consulted </a:t>
              </a:r>
              <a:endParaRPr sz="1000" b="1" i="0" u="none" strike="noStrike" cap="none" dirty="0">
                <a:solidFill>
                  <a:schemeClr val="lt1"/>
                </a:solidFill>
                <a:ea typeface="Public Sans"/>
                <a:cs typeface="Public Sans"/>
                <a:sym typeface="Public Sans"/>
              </a:endParaRPr>
            </a:p>
          </p:txBody>
        </p:sp>
      </p:grpSp>
    </p:spTree>
    <p:extLst>
      <p:ext uri="{BB962C8B-B14F-4D97-AF65-F5344CB8AC3E}">
        <p14:creationId xmlns:p14="http://schemas.microsoft.com/office/powerpoint/2010/main" val="60285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98883D-81FA-4F2B-BB46-4BB288ADFF16}"/>
              </a:ext>
            </a:extLst>
          </p:cNvPr>
          <p:cNvPicPr>
            <a:picLocks noChangeAspect="1"/>
          </p:cNvPicPr>
          <p:nvPr/>
        </p:nvPicPr>
        <p:blipFill>
          <a:blip r:embed="rId3"/>
          <a:stretch>
            <a:fillRect/>
          </a:stretch>
        </p:blipFill>
        <p:spPr>
          <a:xfrm>
            <a:off x="4297702" y="2067141"/>
            <a:ext cx="7454797" cy="3240681"/>
          </a:xfrm>
          <a:prstGeom prst="rect">
            <a:avLst/>
          </a:prstGeom>
        </p:spPr>
      </p:pic>
      <p:sp>
        <p:nvSpPr>
          <p:cNvPr id="121" name="TextBox 120">
            <a:extLst>
              <a:ext uri="{FF2B5EF4-FFF2-40B4-BE49-F238E27FC236}">
                <a16:creationId xmlns:a16="http://schemas.microsoft.com/office/drawing/2014/main" id="{FCF9C4E6-8FCD-47DB-963B-FAE097CA4ED6}"/>
              </a:ext>
            </a:extLst>
          </p:cNvPr>
          <p:cNvSpPr txBox="1"/>
          <p:nvPr/>
        </p:nvSpPr>
        <p:spPr>
          <a:xfrm rot="5400000">
            <a:off x="6026639" y="-204869"/>
            <a:ext cx="3990976" cy="7448711"/>
          </a:xfrm>
          <a:prstGeom prst="rect">
            <a:avLst/>
          </a:prstGeom>
          <a:noFill/>
          <a:ln>
            <a:solidFill>
              <a:schemeClr val="bg2">
                <a:lumMod val="90000"/>
              </a:schemeClr>
            </a:solidFill>
          </a:ln>
        </p:spPr>
        <p:txBody>
          <a:bodyPr wrap="square" tIns="90000" bIns="90000" anchor="t">
            <a:noAutofit/>
          </a:bodyPr>
          <a:lstStyle>
            <a:defPPr>
              <a:defRPr lang="en-US"/>
            </a:defPPr>
            <a:lvl1pPr algn="ctr">
              <a:spcAft>
                <a:spcPts val="600"/>
              </a:spcAft>
              <a:defRPr sz="1400" b="1">
                <a:solidFill>
                  <a:schemeClr val="bg1"/>
                </a:solidFill>
              </a:defRPr>
            </a:lvl1pPr>
          </a:lstStyle>
          <a:p>
            <a:pPr algn="l"/>
            <a:endParaRPr lang="en-AU" sz="1050" dirty="0">
              <a:solidFill>
                <a:schemeClr val="tx1"/>
              </a:solidFill>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512680"/>
            <a:ext cx="8370198" cy="1376364"/>
          </a:xfrm>
        </p:spPr>
        <p:txBody>
          <a:bodyPr anchor="t" anchorCtr="0">
            <a:noAutofit/>
          </a:bodyPr>
          <a:lstStyle/>
          <a:p>
            <a:pPr>
              <a:lnSpc>
                <a:spcPct val="100000"/>
              </a:lnSpc>
            </a:pPr>
            <a:r>
              <a:rPr lang="en-US" sz="2400" dirty="0">
                <a:solidFill>
                  <a:schemeClr val="tx2"/>
                </a:solidFill>
              </a:rPr>
              <a:t>This Workforce </a:t>
            </a:r>
            <a:r>
              <a:rPr lang="en-US" sz="2400" dirty="0" smtClean="0">
                <a:solidFill>
                  <a:schemeClr val="tx2"/>
                </a:solidFill>
              </a:rPr>
              <a:t>Plan </a:t>
            </a:r>
            <a:r>
              <a:rPr lang="en-US" sz="2400" dirty="0">
                <a:solidFill>
                  <a:schemeClr val="tx2"/>
                </a:solidFill>
              </a:rPr>
              <a:t>contains interconnected pillars, designed to create a more engaged, skilled and sustainable workforce</a:t>
            </a:r>
            <a:endParaRPr lang="en-AU" sz="2400" dirty="0">
              <a:solidFill>
                <a:schemeClr val="tx2"/>
              </a:solidFill>
              <a:highlight>
                <a:srgbClr val="FFFF00"/>
              </a:highlight>
            </a:endParaRPr>
          </a:p>
        </p:txBody>
      </p:sp>
      <p:sp>
        <p:nvSpPr>
          <p:cNvPr id="7" name="TextBox 6">
            <a:extLst>
              <a:ext uri="{FF2B5EF4-FFF2-40B4-BE49-F238E27FC236}">
                <a16:creationId xmlns:a16="http://schemas.microsoft.com/office/drawing/2014/main" id="{11896CE7-D6EA-4171-9A7A-4C4155432679}"/>
              </a:ext>
            </a:extLst>
          </p:cNvPr>
          <p:cNvSpPr txBox="1"/>
          <p:nvPr/>
        </p:nvSpPr>
        <p:spPr>
          <a:xfrm>
            <a:off x="489525" y="1524000"/>
            <a:ext cx="3759388" cy="4696709"/>
          </a:xfrm>
          <a:prstGeom prst="rect">
            <a:avLst/>
          </a:prstGeom>
          <a:solidFill>
            <a:schemeClr val="bg2"/>
          </a:solidFill>
        </p:spPr>
        <p:txBody>
          <a:bodyPr wrap="square" lIns="91440" tIns="90000" rIns="91440" bIns="90000" anchor="t">
            <a:noAutofit/>
          </a:bodyPr>
          <a:lstStyle>
            <a:defPPr>
              <a:defRPr lang="en-US"/>
            </a:defPPr>
            <a:lvl1pPr algn="ctr">
              <a:spcAft>
                <a:spcPts val="600"/>
              </a:spcAft>
              <a:defRPr sz="1400" b="1">
                <a:solidFill>
                  <a:schemeClr val="bg1"/>
                </a:solidFill>
              </a:defRPr>
            </a:lvl1pPr>
          </a:lstStyle>
          <a:p>
            <a:pPr algn="l">
              <a:spcAft>
                <a:spcPts val="300"/>
              </a:spcAft>
            </a:pPr>
            <a:r>
              <a:rPr lang="en-US" sz="1000" b="0" dirty="0">
                <a:solidFill>
                  <a:schemeClr val="tx1"/>
                </a:solidFill>
              </a:rPr>
              <a:t>The Commission </a:t>
            </a:r>
            <a:r>
              <a:rPr lang="en-US" sz="1000" dirty="0">
                <a:solidFill>
                  <a:schemeClr val="tx1"/>
                </a:solidFill>
              </a:rPr>
              <a:t>continues to build on the core strengths of our people</a:t>
            </a:r>
            <a:r>
              <a:rPr lang="en-US" sz="1000" b="0" dirty="0">
                <a:solidFill>
                  <a:schemeClr val="tx1"/>
                </a:solidFill>
              </a:rPr>
              <a:t> including:</a:t>
            </a:r>
          </a:p>
          <a:p>
            <a:pPr algn="l"/>
            <a:endParaRPr lang="en-US" sz="1000" b="0" dirty="0">
              <a:solidFill>
                <a:schemeClr val="tx1"/>
              </a:solidFill>
            </a:endParaRPr>
          </a:p>
          <a:p>
            <a:pPr algn="l"/>
            <a:endParaRPr lang="en-US" sz="1000" b="0" dirty="0">
              <a:solidFill>
                <a:schemeClr val="tx1"/>
              </a:solidFill>
            </a:endParaRPr>
          </a:p>
          <a:p>
            <a:pPr algn="l"/>
            <a:endParaRPr lang="en-US" sz="1000" b="0" dirty="0">
              <a:solidFill>
                <a:schemeClr val="tx1"/>
              </a:solidFill>
            </a:endParaRPr>
          </a:p>
          <a:p>
            <a:pPr algn="l"/>
            <a:endParaRPr lang="en-US" sz="1000" b="0" dirty="0">
              <a:solidFill>
                <a:schemeClr val="tx1"/>
              </a:solidFill>
            </a:endParaRPr>
          </a:p>
          <a:p>
            <a:pPr algn="l"/>
            <a:endParaRPr lang="en-US" sz="1800" b="0" dirty="0">
              <a:solidFill>
                <a:schemeClr val="tx1"/>
              </a:solidFill>
            </a:endParaRPr>
          </a:p>
          <a:p>
            <a:pPr algn="l"/>
            <a:endParaRPr lang="en-US" sz="1000" b="0" dirty="0">
              <a:solidFill>
                <a:schemeClr val="tx1"/>
              </a:solidFill>
            </a:endParaRPr>
          </a:p>
          <a:p>
            <a:pPr algn="l">
              <a:spcBef>
                <a:spcPts val="500"/>
              </a:spcBef>
            </a:pPr>
            <a:r>
              <a:rPr lang="en-US" sz="1000" b="0" dirty="0">
                <a:solidFill>
                  <a:schemeClr val="tx1"/>
                </a:solidFill>
              </a:rPr>
              <a:t>In discussions with staff and leaders it also became apparent that enabling the workforce to have a fulfilling </a:t>
            </a:r>
            <a:r>
              <a:rPr lang="en-US" sz="1000" dirty="0">
                <a:solidFill>
                  <a:schemeClr val="tx1"/>
                </a:solidFill>
              </a:rPr>
              <a:t>career</a:t>
            </a:r>
            <a:r>
              <a:rPr lang="en-US" sz="1000" b="0" dirty="0">
                <a:solidFill>
                  <a:schemeClr val="tx1"/>
                </a:solidFill>
              </a:rPr>
              <a:t>, feel connected to </a:t>
            </a:r>
            <a:r>
              <a:rPr lang="en-US" sz="1000" dirty="0">
                <a:solidFill>
                  <a:schemeClr val="tx1"/>
                </a:solidFill>
              </a:rPr>
              <a:t>community </a:t>
            </a:r>
            <a:r>
              <a:rPr lang="en-US" sz="1000" b="0" dirty="0">
                <a:solidFill>
                  <a:schemeClr val="tx1"/>
                </a:solidFill>
              </a:rPr>
              <a:t>and a sense of pride and meaningful impact toward a </a:t>
            </a:r>
            <a:r>
              <a:rPr lang="en-US" sz="1000" dirty="0">
                <a:solidFill>
                  <a:schemeClr val="tx1"/>
                </a:solidFill>
              </a:rPr>
              <a:t>cause</a:t>
            </a:r>
            <a:r>
              <a:rPr lang="en-US" sz="1000" b="0" dirty="0">
                <a:solidFill>
                  <a:schemeClr val="tx1"/>
                </a:solidFill>
              </a:rPr>
              <a:t> are clear motivators for the workforce. Together with our core strengths, these represent a key differentiator and central value proposition for the Commission to harness and celebrate into the </a:t>
            </a:r>
            <a:r>
              <a:rPr lang="en-US" sz="1000" b="0" dirty="0" smtClean="0">
                <a:solidFill>
                  <a:schemeClr val="tx1"/>
                </a:solidFill>
              </a:rPr>
              <a:t>future</a:t>
            </a:r>
            <a:r>
              <a:rPr lang="en-US" sz="1000" b="0" dirty="0">
                <a:solidFill>
                  <a:schemeClr val="tx1"/>
                </a:solidFill>
              </a:rPr>
              <a:t>. </a:t>
            </a:r>
            <a:endParaRPr lang="en-US" sz="1000" b="0" dirty="0">
              <a:solidFill>
                <a:schemeClr val="tx1"/>
              </a:solidFill>
              <a:cs typeface="Calibri"/>
            </a:endParaRPr>
          </a:p>
          <a:p>
            <a:pPr algn="l"/>
            <a:r>
              <a:rPr lang="en-US" sz="1000" b="0" dirty="0" smtClean="0">
                <a:solidFill>
                  <a:schemeClr val="tx1"/>
                </a:solidFill>
              </a:rPr>
              <a:t>This Plan identifies areas for investment that will assist the Commission as </a:t>
            </a:r>
            <a:r>
              <a:rPr lang="en-US" sz="1000" b="0" dirty="0">
                <a:solidFill>
                  <a:schemeClr val="tx1"/>
                </a:solidFill>
              </a:rPr>
              <a:t>the operating environment continues to evolve, and as the Commission matures as an </a:t>
            </a:r>
            <a:r>
              <a:rPr lang="en-US" sz="1000" b="0" dirty="0" smtClean="0">
                <a:solidFill>
                  <a:schemeClr val="tx1"/>
                </a:solidFill>
              </a:rPr>
              <a:t>organisation. </a:t>
            </a:r>
            <a:r>
              <a:rPr lang="en-US" sz="1000" b="0" dirty="0">
                <a:solidFill>
                  <a:schemeClr val="tx1"/>
                </a:solidFill>
              </a:rPr>
              <a:t>This will support the Commission as it continues on the journey from </a:t>
            </a:r>
            <a:r>
              <a:rPr lang="en-US" sz="1000" b="0" dirty="0" smtClean="0">
                <a:solidFill>
                  <a:schemeClr val="tx1"/>
                </a:solidFill>
              </a:rPr>
              <a:t>start-up </a:t>
            </a:r>
            <a:r>
              <a:rPr lang="en-US" sz="1000" b="0" dirty="0">
                <a:solidFill>
                  <a:schemeClr val="tx1"/>
                </a:solidFill>
              </a:rPr>
              <a:t>to </a:t>
            </a:r>
            <a:r>
              <a:rPr lang="en-US" sz="1000" b="0" dirty="0" smtClean="0">
                <a:solidFill>
                  <a:schemeClr val="tx1"/>
                </a:solidFill>
              </a:rPr>
              <a:t>scale-up </a:t>
            </a:r>
            <a:r>
              <a:rPr lang="en-US" sz="1000" b="0" dirty="0">
                <a:solidFill>
                  <a:schemeClr val="tx1"/>
                </a:solidFill>
              </a:rPr>
              <a:t>and in turn, contribute toward meeting the needs of our community and of Government. </a:t>
            </a:r>
            <a:r>
              <a:rPr lang="en-US" sz="1000" dirty="0">
                <a:solidFill>
                  <a:schemeClr val="tx1"/>
                </a:solidFill>
              </a:rPr>
              <a:t>See section 3 for current state view and </a:t>
            </a:r>
            <a:r>
              <a:rPr lang="en-US" sz="1000" dirty="0" smtClean="0">
                <a:solidFill>
                  <a:schemeClr val="tx1"/>
                </a:solidFill>
              </a:rPr>
              <a:t>section 4 for detailed </a:t>
            </a:r>
            <a:r>
              <a:rPr lang="en-US" sz="1000" dirty="0">
                <a:solidFill>
                  <a:schemeClr val="tx1"/>
                </a:solidFill>
              </a:rPr>
              <a:t>opportunities for investment. </a:t>
            </a:r>
            <a:r>
              <a:rPr lang="en-US" sz="1000" b="0" dirty="0">
                <a:solidFill>
                  <a:schemeClr val="tx1"/>
                </a:solidFill>
              </a:rPr>
              <a:t>The opportunities for investment are categorised into five workforce pillars. Each pillar has been defined, and a range of strategies have been developed to address risks </a:t>
            </a:r>
            <a:r>
              <a:rPr lang="en-US" sz="1000" dirty="0">
                <a:solidFill>
                  <a:schemeClr val="tx1"/>
                </a:solidFill>
              </a:rPr>
              <a:t>(see sections 4-5 for all pillars and strategies).</a:t>
            </a:r>
            <a:endParaRPr lang="en-AU" sz="1000" dirty="0">
              <a:solidFill>
                <a:schemeClr val="tx1"/>
              </a:solidFill>
            </a:endParaRPr>
          </a:p>
        </p:txBody>
      </p:sp>
      <p:sp>
        <p:nvSpPr>
          <p:cNvPr id="52" name="Rectangle 51">
            <a:extLst>
              <a:ext uri="{FF2B5EF4-FFF2-40B4-BE49-F238E27FC236}">
                <a16:creationId xmlns:a16="http://schemas.microsoft.com/office/drawing/2014/main" id="{6373213C-00A8-4529-AB5C-366A7E3A2EC3}"/>
              </a:ext>
            </a:extLst>
          </p:cNvPr>
          <p:cNvSpPr/>
          <p:nvPr/>
        </p:nvSpPr>
        <p:spPr>
          <a:xfrm>
            <a:off x="4297702" y="5616454"/>
            <a:ext cx="7448712" cy="595258"/>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B61E7150-4CD2-42F2-9CBC-D8FF768FC0C7}"/>
              </a:ext>
            </a:extLst>
          </p:cNvPr>
          <p:cNvSpPr txBox="1"/>
          <p:nvPr/>
        </p:nvSpPr>
        <p:spPr>
          <a:xfrm>
            <a:off x="4297702" y="5617220"/>
            <a:ext cx="7448712" cy="553998"/>
          </a:xfrm>
          <a:prstGeom prst="rect">
            <a:avLst/>
          </a:prstGeom>
          <a:noFill/>
        </p:spPr>
        <p:txBody>
          <a:bodyPr wrap="square" rtlCol="0">
            <a:spAutoFit/>
          </a:bodyPr>
          <a:lstStyle/>
          <a:p>
            <a:r>
              <a:rPr lang="en-US" sz="1000" dirty="0"/>
              <a:t>The Commission needs: </a:t>
            </a:r>
            <a:r>
              <a:rPr lang="en-US" sz="1000" b="1" dirty="0"/>
              <a:t>a sustainable workforce approach</a:t>
            </a:r>
            <a:r>
              <a:rPr lang="en-US" sz="1000" dirty="0"/>
              <a:t> that enables collaboration; to invest in developing the right </a:t>
            </a:r>
            <a:r>
              <a:rPr lang="en-US" sz="1000" b="1" dirty="0"/>
              <a:t>capabilities</a:t>
            </a:r>
            <a:r>
              <a:rPr lang="en-US" sz="1000" dirty="0"/>
              <a:t> and providing </a:t>
            </a:r>
            <a:r>
              <a:rPr lang="en-US" sz="1000" b="1" dirty="0"/>
              <a:t>growth for its people</a:t>
            </a:r>
            <a:r>
              <a:rPr lang="en-US" sz="1000" dirty="0"/>
              <a:t>; to empower its people to be high </a:t>
            </a:r>
            <a:r>
              <a:rPr lang="en-US" sz="1000" b="1" dirty="0"/>
              <a:t>performing</a:t>
            </a:r>
            <a:r>
              <a:rPr lang="en-US" sz="1000" dirty="0"/>
              <a:t>; and to invest in how it delivers on its vision for a </a:t>
            </a:r>
            <a:r>
              <a:rPr lang="en-US" sz="1000" b="1" dirty="0"/>
              <a:t>diverse, inclusive and healthy workforce</a:t>
            </a:r>
            <a:r>
              <a:rPr lang="en-US" sz="1000" dirty="0"/>
              <a:t>.</a:t>
            </a:r>
          </a:p>
        </p:txBody>
      </p:sp>
      <p:sp>
        <p:nvSpPr>
          <p:cNvPr id="55" name="Slide Number Placeholder 6">
            <a:extLst>
              <a:ext uri="{FF2B5EF4-FFF2-40B4-BE49-F238E27FC236}">
                <a16:creationId xmlns:a16="http://schemas.microsoft.com/office/drawing/2014/main" id="{42890836-CEA6-417A-9E42-83A3A40301C5}"/>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6</a:t>
            </a:fld>
            <a:endParaRPr lang="en-US" dirty="0"/>
          </a:p>
        </p:txBody>
      </p:sp>
      <p:sp>
        <p:nvSpPr>
          <p:cNvPr id="3" name="Footer Placeholder 2">
            <a:extLst>
              <a:ext uri="{FF2B5EF4-FFF2-40B4-BE49-F238E27FC236}">
                <a16:creationId xmlns:a16="http://schemas.microsoft.com/office/drawing/2014/main" id="{F8865134-CC9E-5BCE-7853-C52C4258F4B4}"/>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12" name="Google Shape;1079;gc03bc37692_1_32">
            <a:extLst>
              <a:ext uri="{FF2B5EF4-FFF2-40B4-BE49-F238E27FC236}">
                <a16:creationId xmlns:a16="http://schemas.microsoft.com/office/drawing/2014/main" id="{A5D45E1B-C537-4B5E-9537-2E25A7C25AD1}"/>
              </a:ext>
            </a:extLst>
          </p:cNvPr>
          <p:cNvSpPr/>
          <p:nvPr/>
        </p:nvSpPr>
        <p:spPr>
          <a:xfrm>
            <a:off x="575038" y="1998216"/>
            <a:ext cx="3506073" cy="468000"/>
          </a:xfrm>
          <a:prstGeom prst="rect">
            <a:avLst/>
          </a:prstGeom>
          <a:solidFill>
            <a:schemeClr val="accent1"/>
          </a:solidFill>
          <a:ln>
            <a:noFill/>
          </a:ln>
        </p:spPr>
        <p:txBody>
          <a:bodyPr spcFirstLastPara="1" wrap="square" lIns="36567" tIns="60933" rIns="121900" bIns="60933" anchor="ctr" anchorCtr="0">
            <a:noAutofit/>
          </a:bodyPr>
          <a:lstStyle/>
          <a:p>
            <a:pPr marL="542925">
              <a:buClr>
                <a:srgbClr val="000000"/>
              </a:buClr>
              <a:buSzPts val="1000"/>
            </a:pPr>
            <a:r>
              <a:rPr lang="en-AU" sz="1000" b="1" dirty="0">
                <a:solidFill>
                  <a:schemeClr val="lt1"/>
                </a:solidFill>
                <a:latin typeface="+mj-lt"/>
                <a:ea typeface="Arial"/>
                <a:cs typeface="Arial"/>
                <a:sym typeface="Arial"/>
              </a:rPr>
              <a:t>We are passionate and committed with a                        strong belief in our purpose</a:t>
            </a:r>
          </a:p>
        </p:txBody>
      </p:sp>
      <p:sp>
        <p:nvSpPr>
          <p:cNvPr id="14" name="Google Shape;1079;gc03bc37692_1_32">
            <a:extLst>
              <a:ext uri="{FF2B5EF4-FFF2-40B4-BE49-F238E27FC236}">
                <a16:creationId xmlns:a16="http://schemas.microsoft.com/office/drawing/2014/main" id="{B56EB3B3-F8F4-4AF3-969C-5987B76D9DBA}"/>
              </a:ext>
            </a:extLst>
          </p:cNvPr>
          <p:cNvSpPr/>
          <p:nvPr/>
        </p:nvSpPr>
        <p:spPr>
          <a:xfrm>
            <a:off x="575038" y="2506558"/>
            <a:ext cx="3506073" cy="468000"/>
          </a:xfrm>
          <a:prstGeom prst="rect">
            <a:avLst/>
          </a:prstGeom>
          <a:solidFill>
            <a:schemeClr val="accent1"/>
          </a:solidFill>
          <a:ln>
            <a:noFill/>
          </a:ln>
        </p:spPr>
        <p:txBody>
          <a:bodyPr spcFirstLastPara="1" wrap="square" lIns="36567" tIns="60933" rIns="121900" bIns="60933" anchor="ctr" anchorCtr="0">
            <a:noAutofit/>
          </a:bodyPr>
          <a:lstStyle/>
          <a:p>
            <a:pPr marL="542925">
              <a:buClr>
                <a:srgbClr val="000000"/>
              </a:buClr>
              <a:buSzPts val="1000"/>
            </a:pPr>
            <a:r>
              <a:rPr lang="en-AU" sz="1000" b="1" dirty="0">
                <a:solidFill>
                  <a:schemeClr val="lt1"/>
                </a:solidFill>
                <a:latin typeface="+mj-lt"/>
                <a:ea typeface="Arial"/>
                <a:cs typeface="Arial"/>
                <a:sym typeface="Arial"/>
              </a:rPr>
              <a:t>We bring diverse knowledge, experience and expertise in working in disability and related sectors</a:t>
            </a:r>
          </a:p>
        </p:txBody>
      </p:sp>
      <p:sp>
        <p:nvSpPr>
          <p:cNvPr id="16" name="Google Shape;1079;gc03bc37692_1_32">
            <a:extLst>
              <a:ext uri="{FF2B5EF4-FFF2-40B4-BE49-F238E27FC236}">
                <a16:creationId xmlns:a16="http://schemas.microsoft.com/office/drawing/2014/main" id="{04B9B4AB-C90B-417D-B18A-723379C9A4E5}"/>
              </a:ext>
            </a:extLst>
          </p:cNvPr>
          <p:cNvSpPr/>
          <p:nvPr/>
        </p:nvSpPr>
        <p:spPr>
          <a:xfrm>
            <a:off x="575038" y="3008349"/>
            <a:ext cx="3506073" cy="468000"/>
          </a:xfrm>
          <a:prstGeom prst="rect">
            <a:avLst/>
          </a:prstGeom>
          <a:solidFill>
            <a:schemeClr val="accent1"/>
          </a:solidFill>
          <a:ln>
            <a:noFill/>
          </a:ln>
        </p:spPr>
        <p:txBody>
          <a:bodyPr spcFirstLastPara="1" wrap="square" lIns="36567" tIns="60933" rIns="121900" bIns="60933" anchor="ctr" anchorCtr="0">
            <a:noAutofit/>
          </a:bodyPr>
          <a:lstStyle/>
          <a:p>
            <a:pPr marL="542925">
              <a:buClr>
                <a:srgbClr val="000000"/>
              </a:buClr>
              <a:buSzPts val="1000"/>
            </a:pPr>
            <a:r>
              <a:rPr lang="en-AU" sz="1000" b="1" dirty="0">
                <a:solidFill>
                  <a:schemeClr val="lt1"/>
                </a:solidFill>
                <a:latin typeface="+mj-lt"/>
                <a:ea typeface="Arial"/>
                <a:cs typeface="Arial"/>
                <a:sym typeface="Arial"/>
              </a:rPr>
              <a:t>We show empathy and care in working with participants, providers and the disability sector</a:t>
            </a:r>
          </a:p>
        </p:txBody>
      </p:sp>
      <p:sp>
        <p:nvSpPr>
          <p:cNvPr id="17" name="Google Shape;162;p4">
            <a:extLst>
              <a:ext uri="{FF2B5EF4-FFF2-40B4-BE49-F238E27FC236}">
                <a16:creationId xmlns:a16="http://schemas.microsoft.com/office/drawing/2014/main" id="{F1AB965A-9019-4D98-91EF-0924E932C73F}"/>
              </a:ext>
            </a:extLst>
          </p:cNvPr>
          <p:cNvSpPr/>
          <p:nvPr/>
        </p:nvSpPr>
        <p:spPr>
          <a:xfrm>
            <a:off x="663609" y="3061060"/>
            <a:ext cx="333953" cy="333953"/>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20" name="Freeform 37">
            <a:extLst>
              <a:ext uri="{FF2B5EF4-FFF2-40B4-BE49-F238E27FC236}">
                <a16:creationId xmlns:a16="http://schemas.microsoft.com/office/drawing/2014/main" id="{B0A7EB64-E900-44F6-94DD-8E70318D3DC7}"/>
              </a:ext>
            </a:extLst>
          </p:cNvPr>
          <p:cNvSpPr>
            <a:spLocks noEditPoints="1"/>
          </p:cNvSpPr>
          <p:nvPr/>
        </p:nvSpPr>
        <p:spPr bwMode="auto">
          <a:xfrm>
            <a:off x="662762" y="2554897"/>
            <a:ext cx="334800" cy="3348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grpSp>
        <p:nvGrpSpPr>
          <p:cNvPr id="21" name="Group 20">
            <a:extLst>
              <a:ext uri="{FF2B5EF4-FFF2-40B4-BE49-F238E27FC236}">
                <a16:creationId xmlns:a16="http://schemas.microsoft.com/office/drawing/2014/main" id="{24D04D7D-0523-4590-911E-04EFDF2E2426}"/>
              </a:ext>
            </a:extLst>
          </p:cNvPr>
          <p:cNvGrpSpPr/>
          <p:nvPr/>
        </p:nvGrpSpPr>
        <p:grpSpPr>
          <a:xfrm>
            <a:off x="662762" y="2050400"/>
            <a:ext cx="334800" cy="334800"/>
            <a:chOff x="627146" y="1619763"/>
            <a:chExt cx="396000" cy="396000"/>
          </a:xfrm>
        </p:grpSpPr>
        <p:sp>
          <p:nvSpPr>
            <p:cNvPr id="22" name="Rectangle 21">
              <a:extLst>
                <a:ext uri="{FF2B5EF4-FFF2-40B4-BE49-F238E27FC236}">
                  <a16:creationId xmlns:a16="http://schemas.microsoft.com/office/drawing/2014/main" id="{807BE9B4-B780-465C-B98A-9FB543FB6932}"/>
                </a:ext>
              </a:extLst>
            </p:cNvPr>
            <p:cNvSpPr/>
            <p:nvPr/>
          </p:nvSpPr>
          <p:spPr>
            <a:xfrm>
              <a:off x="627146" y="1619763"/>
              <a:ext cx="396000" cy="396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Freeform 118">
              <a:extLst>
                <a:ext uri="{FF2B5EF4-FFF2-40B4-BE49-F238E27FC236}">
                  <a16:creationId xmlns:a16="http://schemas.microsoft.com/office/drawing/2014/main" id="{A4B0DA65-6680-4A81-BC91-A885119F8F1B}"/>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25" name="Freeform 119">
              <a:extLst>
                <a:ext uri="{FF2B5EF4-FFF2-40B4-BE49-F238E27FC236}">
                  <a16:creationId xmlns:a16="http://schemas.microsoft.com/office/drawing/2014/main" id="{36860182-7922-4318-8908-EC23B721C28C}"/>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26" name="Freeform 120">
              <a:extLst>
                <a:ext uri="{FF2B5EF4-FFF2-40B4-BE49-F238E27FC236}">
                  <a16:creationId xmlns:a16="http://schemas.microsoft.com/office/drawing/2014/main" id="{6A2D2143-2E83-416B-BACD-0C4F355398C3}"/>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28" name="Freeform 121">
              <a:extLst>
                <a:ext uri="{FF2B5EF4-FFF2-40B4-BE49-F238E27FC236}">
                  <a16:creationId xmlns:a16="http://schemas.microsoft.com/office/drawing/2014/main" id="{2C0A27E9-2A76-46F3-B093-2D04D47B97A0}"/>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0" name="Freeform 122">
              <a:extLst>
                <a:ext uri="{FF2B5EF4-FFF2-40B4-BE49-F238E27FC236}">
                  <a16:creationId xmlns:a16="http://schemas.microsoft.com/office/drawing/2014/main" id="{BADB58E4-AE62-4E1F-B10D-47067C6CD827}"/>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1" name="Freeform 124">
              <a:extLst>
                <a:ext uri="{FF2B5EF4-FFF2-40B4-BE49-F238E27FC236}">
                  <a16:creationId xmlns:a16="http://schemas.microsoft.com/office/drawing/2014/main" id="{7BC85B01-F804-475B-BD43-C24161BB51B0}"/>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2" name="Freeform 128">
              <a:extLst>
                <a:ext uri="{FF2B5EF4-FFF2-40B4-BE49-F238E27FC236}">
                  <a16:creationId xmlns:a16="http://schemas.microsoft.com/office/drawing/2014/main" id="{893B7C32-7AD0-4512-A6FE-3A8362E4D606}"/>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3" name="Freeform 129">
              <a:extLst>
                <a:ext uri="{FF2B5EF4-FFF2-40B4-BE49-F238E27FC236}">
                  <a16:creationId xmlns:a16="http://schemas.microsoft.com/office/drawing/2014/main" id="{538B752C-7136-458B-AD7D-44ED1C286C2A}"/>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4" name="Freeform 130">
              <a:extLst>
                <a:ext uri="{FF2B5EF4-FFF2-40B4-BE49-F238E27FC236}">
                  <a16:creationId xmlns:a16="http://schemas.microsoft.com/office/drawing/2014/main" id="{F279D5C3-B706-435F-B4CF-D715D667D64B}"/>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31">
              <a:extLst>
                <a:ext uri="{FF2B5EF4-FFF2-40B4-BE49-F238E27FC236}">
                  <a16:creationId xmlns:a16="http://schemas.microsoft.com/office/drawing/2014/main" id="{0A5AE81E-8ABD-4157-BFCF-534FEE2BC36F}"/>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6" name="Freeform 133">
              <a:extLst>
                <a:ext uri="{FF2B5EF4-FFF2-40B4-BE49-F238E27FC236}">
                  <a16:creationId xmlns:a16="http://schemas.microsoft.com/office/drawing/2014/main" id="{6BD597E8-50B0-4C86-AF84-F5005DC48E21}"/>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7" name="Freeform 134">
              <a:extLst>
                <a:ext uri="{FF2B5EF4-FFF2-40B4-BE49-F238E27FC236}">
                  <a16:creationId xmlns:a16="http://schemas.microsoft.com/office/drawing/2014/main" id="{749F9582-6C54-4DCB-88D7-447629E42276}"/>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8" name="Freeform 135">
              <a:extLst>
                <a:ext uri="{FF2B5EF4-FFF2-40B4-BE49-F238E27FC236}">
                  <a16:creationId xmlns:a16="http://schemas.microsoft.com/office/drawing/2014/main" id="{A4955CF5-9DBC-469A-AF86-318EEF32F7EA}"/>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122" name="TextBox 121">
            <a:extLst>
              <a:ext uri="{FF2B5EF4-FFF2-40B4-BE49-F238E27FC236}">
                <a16:creationId xmlns:a16="http://schemas.microsoft.com/office/drawing/2014/main" id="{2676C688-7ED7-4F54-B48C-18FC384C5F86}"/>
              </a:ext>
            </a:extLst>
          </p:cNvPr>
          <p:cNvSpPr txBox="1"/>
          <p:nvPr/>
        </p:nvSpPr>
        <p:spPr>
          <a:xfrm>
            <a:off x="4388279" y="1600346"/>
            <a:ext cx="7267558" cy="350207"/>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Introducing the Workforce </a:t>
            </a:r>
            <a:r>
              <a:rPr lang="en-US" sz="1400" b="1" dirty="0" smtClean="0">
                <a:solidFill>
                  <a:schemeClr val="bg1"/>
                </a:solidFill>
              </a:rPr>
              <a:t>Plan </a:t>
            </a:r>
            <a:r>
              <a:rPr lang="en-US" sz="1400" b="1" dirty="0">
                <a:solidFill>
                  <a:schemeClr val="bg1"/>
                </a:solidFill>
              </a:rPr>
              <a:t>pillars </a:t>
            </a:r>
          </a:p>
        </p:txBody>
      </p:sp>
      <p:sp>
        <p:nvSpPr>
          <p:cNvPr id="123" name="TextBox 122">
            <a:extLst>
              <a:ext uri="{FF2B5EF4-FFF2-40B4-BE49-F238E27FC236}">
                <a16:creationId xmlns:a16="http://schemas.microsoft.com/office/drawing/2014/main" id="{40D5C7EE-742B-44F0-B982-926E24A7C053}"/>
              </a:ext>
            </a:extLst>
          </p:cNvPr>
          <p:cNvSpPr txBox="1"/>
          <p:nvPr/>
        </p:nvSpPr>
        <p:spPr>
          <a:xfrm>
            <a:off x="5572125" y="5218416"/>
            <a:ext cx="6096000" cy="230832"/>
          </a:xfrm>
          <a:prstGeom prst="rect">
            <a:avLst/>
          </a:prstGeom>
          <a:noFill/>
        </p:spPr>
        <p:txBody>
          <a:bodyPr wrap="square">
            <a:spAutoFit/>
          </a:bodyPr>
          <a:lstStyle/>
          <a:p>
            <a:pPr algn="r"/>
            <a:r>
              <a:rPr lang="en-US" sz="900" b="1" dirty="0"/>
              <a:t>(See sections 4-5 for all pillars and strategies)</a:t>
            </a:r>
            <a:endParaRPr lang="en-AU" sz="900" b="1" dirty="0"/>
          </a:p>
        </p:txBody>
      </p:sp>
    </p:spTree>
    <p:extLst>
      <p:ext uri="{BB962C8B-B14F-4D97-AF65-F5344CB8AC3E}">
        <p14:creationId xmlns:p14="http://schemas.microsoft.com/office/powerpoint/2010/main" val="3035206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355074E9-E306-4FDF-BB8E-A66D09C03B94}"/>
              </a:ext>
            </a:extLst>
          </p:cNvPr>
          <p:cNvSpPr txBox="1"/>
          <p:nvPr/>
        </p:nvSpPr>
        <p:spPr>
          <a:xfrm>
            <a:off x="466744" y="6127218"/>
            <a:ext cx="11250827" cy="600164"/>
          </a:xfrm>
          <a:prstGeom prst="rect">
            <a:avLst/>
          </a:prstGeom>
          <a:noFill/>
        </p:spPr>
        <p:txBody>
          <a:bodyPr wrap="square">
            <a:spAutoFit/>
          </a:bodyPr>
          <a:lstStyle/>
          <a:p>
            <a:pPr algn="ctr">
              <a:spcBef>
                <a:spcPts val="600"/>
              </a:spcBef>
              <a:spcAft>
                <a:spcPts val="0"/>
              </a:spcAft>
              <a:buClr>
                <a:srgbClr val="000000"/>
              </a:buClr>
              <a:defRPr/>
            </a:pPr>
            <a:r>
              <a:rPr lang="en-US" sz="1000" b="1" kern="0" dirty="0">
                <a:solidFill>
                  <a:prstClr val="black"/>
                </a:solidFill>
                <a:latin typeface="Calibri" panose="020F0502020204030204"/>
                <a:cs typeface="Arial"/>
                <a:sym typeface="Arial"/>
              </a:rPr>
              <a:t>For more detail s</a:t>
            </a:r>
            <a:r>
              <a:rPr lang="en-US" sz="1000" b="1" kern="0" dirty="0">
                <a:solidFill>
                  <a:prstClr val="black"/>
                </a:solidFill>
                <a:latin typeface="Calibri" panose="020F0502020204030204"/>
                <a:cs typeface="Arial"/>
              </a:rPr>
              <a:t>ee Section 4 (Future State View) and Section 5 (Delivering the </a:t>
            </a:r>
            <a:r>
              <a:rPr lang="en-US" sz="1000" b="1" kern="0" dirty="0" smtClean="0">
                <a:solidFill>
                  <a:prstClr val="black"/>
                </a:solidFill>
                <a:latin typeface="Calibri" panose="020F0502020204030204"/>
                <a:cs typeface="Arial"/>
              </a:rPr>
              <a:t>Plan).</a:t>
            </a:r>
            <a:endParaRPr lang="en-AU" sz="1000" b="1" kern="0" dirty="0">
              <a:solidFill>
                <a:prstClr val="black"/>
              </a:solidFill>
              <a:latin typeface="Calibri" panose="020F0502020204030204"/>
              <a:cs typeface="Arial"/>
              <a:sym typeface="Arial"/>
            </a:endParaRPr>
          </a:p>
          <a:p>
            <a:pPr algn="ctr">
              <a:spcBef>
                <a:spcPts val="600"/>
              </a:spcBef>
              <a:spcAft>
                <a:spcPts val="0"/>
              </a:spcAft>
              <a:buClr>
                <a:srgbClr val="000000"/>
              </a:buClr>
              <a:defRPr/>
            </a:pPr>
            <a:endParaRPr lang="en-AU" sz="1800" b="1" kern="0" dirty="0">
              <a:solidFill>
                <a:srgbClr val="000000"/>
              </a:solidFill>
              <a:latin typeface="+mj-lt"/>
              <a:cs typeface="Arial"/>
              <a:sym typeface="Arial"/>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268644" cy="992778"/>
          </a:xfrm>
        </p:spPr>
        <p:txBody>
          <a:bodyPr>
            <a:normAutofit/>
          </a:bodyPr>
          <a:lstStyle/>
          <a:p>
            <a:pPr>
              <a:lnSpc>
                <a:spcPct val="100000"/>
              </a:lnSpc>
            </a:pPr>
            <a:r>
              <a:rPr lang="en-US" sz="2400" dirty="0">
                <a:solidFill>
                  <a:schemeClr val="tx2"/>
                </a:solidFill>
              </a:rPr>
              <a:t>There are some opportunities that can be pursued early that will contribute to the </a:t>
            </a:r>
            <a:r>
              <a:rPr lang="en-US" sz="2400" dirty="0" smtClean="0">
                <a:solidFill>
                  <a:schemeClr val="tx2"/>
                </a:solidFill>
              </a:rPr>
              <a:t>Commission’s </a:t>
            </a:r>
            <a:r>
              <a:rPr lang="en-US" sz="2400" dirty="0">
                <a:solidFill>
                  <a:schemeClr val="tx2"/>
                </a:solidFill>
              </a:rPr>
              <a:t>longer term success</a:t>
            </a:r>
            <a:endParaRPr lang="en-AU" sz="2400" dirty="0">
              <a:solidFill>
                <a:schemeClr val="tx2"/>
              </a:solidFill>
            </a:endParaRPr>
          </a:p>
        </p:txBody>
      </p:sp>
      <p:sp>
        <p:nvSpPr>
          <p:cNvPr id="2" name="Footer Placeholder 1">
            <a:extLst>
              <a:ext uri="{FF2B5EF4-FFF2-40B4-BE49-F238E27FC236}">
                <a16:creationId xmlns:a16="http://schemas.microsoft.com/office/drawing/2014/main" id="{ADFDC5D2-3124-2F97-83C9-DFB6239A0E2B}"/>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23" name="TextBox 22">
            <a:extLst>
              <a:ext uri="{FF2B5EF4-FFF2-40B4-BE49-F238E27FC236}">
                <a16:creationId xmlns:a16="http://schemas.microsoft.com/office/drawing/2014/main" id="{FE84ABB9-B369-48BF-B14E-02224E4B5943}"/>
              </a:ext>
            </a:extLst>
          </p:cNvPr>
          <p:cNvSpPr txBox="1"/>
          <p:nvPr/>
        </p:nvSpPr>
        <p:spPr>
          <a:xfrm>
            <a:off x="7423727" y="2095174"/>
            <a:ext cx="4188380" cy="1461094"/>
          </a:xfrm>
          <a:prstGeom prst="rect">
            <a:avLst/>
          </a:prstGeom>
          <a:noFill/>
        </p:spPr>
        <p:txBody>
          <a:bodyPr wrap="square" tIns="90000" bIns="90000" anchor="t">
            <a:noAutofit/>
          </a:bodyPr>
          <a:lstStyle>
            <a:defPPr>
              <a:defRPr lang="en-US"/>
            </a:defPPr>
            <a:lvl1pPr>
              <a:spcAft>
                <a:spcPts val="600"/>
              </a:spcAft>
              <a:defRPr sz="1050" b="0"/>
            </a:lvl1pPr>
          </a:lstStyle>
          <a:p>
            <a:pPr>
              <a:spcBef>
                <a:spcPts val="600"/>
              </a:spcBef>
              <a:spcAft>
                <a:spcPts val="0"/>
              </a:spcAft>
              <a:buClr>
                <a:srgbClr val="000000"/>
              </a:buClr>
              <a:defRPr/>
            </a:pPr>
            <a:r>
              <a:rPr kumimoji="0" lang="en-AU" sz="1200" b="0" i="0" u="none" strike="noStrike" kern="0" cap="none" spc="0" normalizeH="0" baseline="0" noProof="0" dirty="0">
                <a:ln>
                  <a:noFill/>
                </a:ln>
                <a:solidFill>
                  <a:srgbClr val="000000"/>
                </a:solidFill>
                <a:effectLst/>
                <a:uLnTx/>
                <a:uFillTx/>
                <a:latin typeface="+mj-lt"/>
                <a:ea typeface="Arial"/>
                <a:cs typeface="Arial"/>
                <a:sym typeface="Arial"/>
              </a:rPr>
              <a:t>To initiate the </a:t>
            </a:r>
            <a:r>
              <a:rPr lang="en-AU" sz="1200" kern="0" dirty="0">
                <a:solidFill>
                  <a:srgbClr val="000000"/>
                </a:solidFill>
                <a:latin typeface="+mj-lt"/>
                <a:ea typeface="Arial"/>
                <a:cs typeface="Arial"/>
                <a:sym typeface="Arial"/>
              </a:rPr>
              <a:t>implementation across the workforce pillars,</a:t>
            </a:r>
            <a:r>
              <a:rPr lang="en-AU" sz="1200" b="1" kern="0" dirty="0">
                <a:solidFill>
                  <a:srgbClr val="000000"/>
                </a:solidFill>
                <a:latin typeface="+mj-lt"/>
                <a:ea typeface="Arial"/>
                <a:cs typeface="Arial"/>
                <a:sym typeface="Arial"/>
              </a:rPr>
              <a:t> 5 priority recommendations</a:t>
            </a:r>
            <a:r>
              <a:rPr lang="en-AU" sz="1200" kern="0" dirty="0">
                <a:solidFill>
                  <a:srgbClr val="000000"/>
                </a:solidFill>
                <a:latin typeface="+mj-lt"/>
                <a:ea typeface="Arial"/>
                <a:cs typeface="Arial"/>
                <a:sym typeface="Arial"/>
              </a:rPr>
              <a:t> </a:t>
            </a:r>
            <a:r>
              <a:rPr kumimoji="0" lang="en-AU" sz="1200" b="0" i="0" u="none" strike="noStrike" kern="0" cap="none" spc="0" normalizeH="0" baseline="0" noProof="0" dirty="0">
                <a:ln>
                  <a:noFill/>
                </a:ln>
                <a:solidFill>
                  <a:srgbClr val="000000"/>
                </a:solidFill>
                <a:effectLst/>
                <a:uLnTx/>
                <a:uFillTx/>
                <a:latin typeface="+mj-lt"/>
                <a:ea typeface="Arial"/>
                <a:cs typeface="Arial"/>
                <a:sym typeface="Arial"/>
              </a:rPr>
              <a:t>have been identified (below). These recommendations are imperative </a:t>
            </a:r>
            <a:r>
              <a:rPr lang="en-AU" sz="1200" kern="0" dirty="0">
                <a:solidFill>
                  <a:srgbClr val="000000"/>
                </a:solidFill>
                <a:latin typeface="+mj-lt"/>
                <a:ea typeface="Arial"/>
                <a:cs typeface="Arial"/>
                <a:sym typeface="Arial"/>
              </a:rPr>
              <a:t>to creating a foundation </a:t>
            </a:r>
            <a:r>
              <a:rPr kumimoji="0" lang="en-AU" sz="1200" b="0" i="0" u="none" strike="noStrike" kern="0" cap="none" spc="0" normalizeH="0" baseline="0" noProof="0" dirty="0">
                <a:ln>
                  <a:noFill/>
                </a:ln>
                <a:solidFill>
                  <a:srgbClr val="000000"/>
                </a:solidFill>
                <a:effectLst/>
                <a:uLnTx/>
                <a:uFillTx/>
                <a:latin typeface="+mj-lt"/>
                <a:ea typeface="Arial"/>
                <a:cs typeface="Arial"/>
                <a:sym typeface="Arial"/>
              </a:rPr>
              <a:t>for future opportunities the Commission may want to undertake. These recommendations are considered ‘no-regrets’ investments, </a:t>
            </a:r>
            <a:r>
              <a:rPr kumimoji="0" lang="en-US" sz="1200" b="0" i="0" u="none" strike="noStrike" kern="0" cap="none" spc="0" normalizeH="0" baseline="0" noProof="0" dirty="0">
                <a:ln>
                  <a:noFill/>
                </a:ln>
                <a:solidFill>
                  <a:prstClr val="black"/>
                </a:solidFill>
                <a:effectLst/>
                <a:uLnTx/>
                <a:uFillTx/>
                <a:latin typeface="Calibri" panose="020F0502020204030204"/>
                <a:ea typeface="Arial"/>
                <a:cs typeface="Arial"/>
                <a:sym typeface="Arial"/>
              </a:rPr>
              <a:t>that are low risk decisions the Commission can make to respond to immediate priorities. Each recommendation can also be undertaken in incremental steps, initially through a ‘zero investment’ lens – exploring innovative ways to redirect and reprioritise effort including but not limited to exploring opportunities to draw on the incoming capability, capacity and perspectives of new starters joining the </a:t>
            </a:r>
            <a:r>
              <a:rPr kumimoji="0" lang="en-US" sz="1200" b="0" i="0" u="none" strike="noStrike" kern="0" cap="none" spc="0" normalizeH="0" baseline="0" noProof="0" dirty="0" smtClean="0">
                <a:ln>
                  <a:noFill/>
                </a:ln>
                <a:solidFill>
                  <a:prstClr val="black"/>
                </a:solidFill>
                <a:effectLst/>
                <a:uLnTx/>
                <a:uFillTx/>
                <a:latin typeface="Calibri" panose="020F0502020204030204"/>
                <a:ea typeface="Arial"/>
                <a:cs typeface="Arial"/>
                <a:sym typeface="Arial"/>
              </a:rPr>
              <a:t>Commission. </a:t>
            </a:r>
            <a:endParaRPr kumimoji="0" lang="en-US" sz="1200" b="0" i="0" u="none" strike="noStrike" kern="0" cap="none" spc="0" normalizeH="0" baseline="0" noProof="0" dirty="0">
              <a:ln>
                <a:noFill/>
              </a:ln>
              <a:solidFill>
                <a:prstClr val="black"/>
              </a:solidFill>
              <a:effectLst/>
              <a:uLnTx/>
              <a:uFillTx/>
              <a:latin typeface="Calibri" panose="020F0502020204030204"/>
              <a:ea typeface="Arial"/>
              <a:cs typeface="Arial"/>
              <a:sym typeface="Arial"/>
            </a:endParaRPr>
          </a:p>
          <a:p>
            <a:endParaRPr lang="en-US" dirty="0"/>
          </a:p>
        </p:txBody>
      </p:sp>
      <p:sp>
        <p:nvSpPr>
          <p:cNvPr id="32" name="TextBox 31">
            <a:extLst>
              <a:ext uri="{FF2B5EF4-FFF2-40B4-BE49-F238E27FC236}">
                <a16:creationId xmlns:a16="http://schemas.microsoft.com/office/drawing/2014/main" id="{FECCFEBF-F969-4208-843D-87E99E5E56E7}"/>
              </a:ext>
            </a:extLst>
          </p:cNvPr>
          <p:cNvSpPr txBox="1"/>
          <p:nvPr/>
        </p:nvSpPr>
        <p:spPr>
          <a:xfrm>
            <a:off x="7499928" y="1512419"/>
            <a:ext cx="4188380"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With 5 foundational opportunities identified as priority recommendations</a:t>
            </a:r>
          </a:p>
        </p:txBody>
      </p:sp>
      <p:sp>
        <p:nvSpPr>
          <p:cNvPr id="33" name="TextBox 32">
            <a:extLst>
              <a:ext uri="{FF2B5EF4-FFF2-40B4-BE49-F238E27FC236}">
                <a16:creationId xmlns:a16="http://schemas.microsoft.com/office/drawing/2014/main" id="{6D981DA2-B3F2-4322-94F8-DC3F9708E937}"/>
              </a:ext>
            </a:extLst>
          </p:cNvPr>
          <p:cNvSpPr txBox="1"/>
          <p:nvPr/>
        </p:nvSpPr>
        <p:spPr>
          <a:xfrm>
            <a:off x="503692" y="1512419"/>
            <a:ext cx="6793290"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A high-level opportunity roadmap containing 40 opportunities </a:t>
            </a:r>
          </a:p>
        </p:txBody>
      </p:sp>
      <p:sp>
        <p:nvSpPr>
          <p:cNvPr id="34" name="TextBox 33">
            <a:extLst>
              <a:ext uri="{FF2B5EF4-FFF2-40B4-BE49-F238E27FC236}">
                <a16:creationId xmlns:a16="http://schemas.microsoft.com/office/drawing/2014/main" id="{A7524D1C-3F03-4A2A-8A9B-7E2EFCEAFE43}"/>
              </a:ext>
            </a:extLst>
          </p:cNvPr>
          <p:cNvSpPr txBox="1"/>
          <p:nvPr/>
        </p:nvSpPr>
        <p:spPr>
          <a:xfrm>
            <a:off x="426899" y="2091165"/>
            <a:ext cx="6888301" cy="3685381"/>
          </a:xfrm>
          <a:prstGeom prst="rect">
            <a:avLst/>
          </a:prstGeom>
          <a:noFill/>
        </p:spPr>
        <p:txBody>
          <a:bodyPr wrap="square" lIns="91440" tIns="90000" rIns="91440" bIns="90000" anchor="t">
            <a:noAutofit/>
          </a:bodyPr>
          <a:lstStyle>
            <a:defPPr>
              <a:defRPr lang="en-US"/>
            </a:defPPr>
            <a:lvl1pPr>
              <a:spcAft>
                <a:spcPts val="600"/>
              </a:spcAft>
              <a:defRPr sz="1050" b="0"/>
            </a:lvl1pPr>
          </a:lstStyle>
          <a:p>
            <a:pPr>
              <a:spcBef>
                <a:spcPts val="600"/>
              </a:spcBef>
              <a:buClr>
                <a:srgbClr val="000000"/>
              </a:buClr>
              <a:defRPr/>
            </a:pPr>
            <a:r>
              <a:rPr lang="en-US" sz="1200" kern="0" dirty="0">
                <a:solidFill>
                  <a:srgbClr val="000000"/>
                </a:solidFill>
                <a:latin typeface="+mj-lt"/>
                <a:cs typeface="Arial"/>
                <a:sym typeface="Arial"/>
              </a:rPr>
              <a:t>To realise the </a:t>
            </a:r>
            <a:r>
              <a:rPr lang="en-US" sz="1200" kern="0" dirty="0" smtClean="0">
                <a:solidFill>
                  <a:srgbClr val="000000"/>
                </a:solidFill>
                <a:latin typeface="+mj-lt"/>
                <a:cs typeface="Arial"/>
                <a:sym typeface="Arial"/>
              </a:rPr>
              <a:t>Commission’s </a:t>
            </a:r>
            <a:r>
              <a:rPr lang="en-US" sz="1200" kern="0" dirty="0">
                <a:solidFill>
                  <a:srgbClr val="000000"/>
                </a:solidFill>
                <a:latin typeface="+mj-lt"/>
                <a:cs typeface="Arial"/>
                <a:sym typeface="Arial"/>
              </a:rPr>
              <a:t>workforce vision, achieve its strategic priorities and address workforce risks and opportunities, this </a:t>
            </a:r>
            <a:r>
              <a:rPr lang="en-US" sz="1200" kern="0" dirty="0" smtClean="0">
                <a:solidFill>
                  <a:srgbClr val="000000"/>
                </a:solidFill>
                <a:latin typeface="+mj-lt"/>
                <a:cs typeface="Arial"/>
                <a:sym typeface="Arial"/>
              </a:rPr>
              <a:t>Plan </a:t>
            </a:r>
            <a:r>
              <a:rPr lang="en-US" sz="1200" kern="0" dirty="0">
                <a:solidFill>
                  <a:srgbClr val="000000"/>
                </a:solidFill>
                <a:latin typeface="+mj-lt"/>
                <a:cs typeface="Arial"/>
                <a:sym typeface="Arial"/>
              </a:rPr>
              <a:t>identifies a number of data-informed priority opportunities to guide how the Commission </a:t>
            </a:r>
            <a:r>
              <a:rPr lang="en-US" sz="1200" kern="0" dirty="0">
                <a:solidFill>
                  <a:srgbClr val="000000"/>
                </a:solidFill>
                <a:latin typeface="+mj-lt"/>
                <a:cs typeface="Arial"/>
              </a:rPr>
              <a:t>attracts, develops and retains a diverse workforce with the right skills and attributes over the coming five years. </a:t>
            </a:r>
            <a:r>
              <a:rPr lang="en-US" sz="1200" b="1" kern="0" dirty="0">
                <a:latin typeface="Calibri" panose="020F0502020204030204"/>
                <a:cs typeface="Arial"/>
                <a:sym typeface="Arial"/>
              </a:rPr>
              <a:t>40 opportunities </a:t>
            </a:r>
            <a:r>
              <a:rPr kumimoji="0" lang="en-US" sz="1200" b="0" i="0" u="none" strike="noStrike" kern="0" cap="none" spc="0" normalizeH="0" baseline="0" noProof="0" dirty="0">
                <a:ln>
                  <a:noFill/>
                </a:ln>
                <a:effectLst/>
                <a:uLnTx/>
                <a:uFillTx/>
                <a:latin typeface="Calibri" panose="020F0502020204030204"/>
                <a:ea typeface="Arial"/>
                <a:cs typeface="Arial"/>
                <a:sym typeface="Arial"/>
              </a:rPr>
              <a:t>have been identified and have been prioritised </a:t>
            </a:r>
            <a:r>
              <a:rPr lang="en-US" sz="1200" kern="0" dirty="0">
                <a:latin typeface="Calibri" panose="020F0502020204030204"/>
                <a:cs typeface="Arial"/>
              </a:rPr>
              <a:t>into three horizons (0 - 6 months, 6 – 18 months, 18 months+). While all opportunities are recognised as important, high-level prioritisation </a:t>
            </a:r>
            <a:r>
              <a:rPr lang="en-US" sz="1200" kern="0" dirty="0" smtClean="0">
                <a:latin typeface="Calibri" panose="020F0502020204030204"/>
                <a:cs typeface="Arial"/>
              </a:rPr>
              <a:t>has been </a:t>
            </a:r>
            <a:r>
              <a:rPr lang="en-US" sz="1200" kern="0" dirty="0">
                <a:latin typeface="Calibri" panose="020F0502020204030204"/>
                <a:cs typeface="Arial"/>
              </a:rPr>
              <a:t>undertaken to also consider the</a:t>
            </a:r>
            <a:r>
              <a:rPr lang="en-US" sz="1200" b="1" kern="0" dirty="0">
                <a:latin typeface="Calibri" panose="020F0502020204030204"/>
                <a:cs typeface="Arial"/>
              </a:rPr>
              <a:t> value </a:t>
            </a:r>
            <a:r>
              <a:rPr lang="en-US" sz="1200" kern="0" dirty="0">
                <a:latin typeface="Calibri" panose="020F0502020204030204"/>
                <a:cs typeface="Arial"/>
              </a:rPr>
              <a:t>that the opportunity will bring, the </a:t>
            </a:r>
            <a:r>
              <a:rPr lang="en-US" sz="1200" b="1" kern="0" dirty="0">
                <a:latin typeface="Calibri" panose="020F0502020204030204"/>
                <a:cs typeface="Arial"/>
              </a:rPr>
              <a:t>ease</a:t>
            </a:r>
            <a:r>
              <a:rPr lang="en-US" sz="1200" kern="0" dirty="0">
                <a:latin typeface="Calibri" panose="020F0502020204030204"/>
                <a:cs typeface="Arial"/>
              </a:rPr>
              <a:t> at which it can be implemented and associated </a:t>
            </a:r>
            <a:r>
              <a:rPr lang="en-US" sz="1200" b="1" kern="0" dirty="0">
                <a:latin typeface="Calibri" panose="020F0502020204030204"/>
                <a:cs typeface="Arial"/>
              </a:rPr>
              <a:t>interdependencies and sequencing,</a:t>
            </a:r>
            <a:r>
              <a:rPr lang="en-US" sz="1200" kern="0" dirty="0">
                <a:latin typeface="Calibri" panose="020F0502020204030204"/>
                <a:cs typeface="Arial"/>
              </a:rPr>
              <a:t> the </a:t>
            </a:r>
            <a:r>
              <a:rPr lang="en-US" sz="1200" b="1" kern="0" dirty="0">
                <a:latin typeface="Calibri" panose="020F0502020204030204"/>
                <a:cs typeface="Arial"/>
              </a:rPr>
              <a:t>building maturity and sophistication </a:t>
            </a:r>
            <a:r>
              <a:rPr lang="en-US" sz="1200" kern="0" dirty="0">
                <a:latin typeface="Calibri" panose="020F0502020204030204"/>
                <a:cs typeface="Arial"/>
              </a:rPr>
              <a:t>to fully realise the benefits of the opportunity. S</a:t>
            </a:r>
            <a:r>
              <a:rPr lang="en-US" sz="1200" kern="0" dirty="0" smtClean="0">
                <a:latin typeface="Calibri" panose="020F0502020204030204"/>
                <a:cs typeface="Calibri"/>
              </a:rPr>
              <a:t>ome </a:t>
            </a:r>
            <a:r>
              <a:rPr lang="en-US" sz="1200" kern="0" dirty="0">
                <a:latin typeface="Calibri" panose="020F0502020204030204"/>
                <a:cs typeface="Calibri"/>
              </a:rPr>
              <a:t>key pieces of w</a:t>
            </a:r>
            <a:r>
              <a:rPr lang="en-US" sz="1200" kern="0" dirty="0">
                <a:ea typeface="+mn-lt"/>
                <a:cs typeface="+mn-lt"/>
              </a:rPr>
              <a:t>ork are already underway. Some examples include areas such as employee recognition, induction and onboarding, leadership development, organisational capability analysis, and the development of a wellbeing program</a:t>
            </a:r>
            <a:r>
              <a:rPr lang="en-US" sz="1200" kern="0" dirty="0">
                <a:latin typeface="Calibri" panose="020F0502020204030204"/>
                <a:cs typeface="Calibri"/>
              </a:rPr>
              <a:t>. </a:t>
            </a:r>
            <a:r>
              <a:rPr lang="en-US" sz="1200" kern="0" dirty="0">
                <a:latin typeface="Calibri" panose="020F0502020204030204"/>
                <a:cs typeface="Arial"/>
              </a:rPr>
              <a:t>It is important to note, this </a:t>
            </a:r>
            <a:r>
              <a:rPr lang="en-US" sz="1200" kern="0" dirty="0" smtClean="0">
                <a:latin typeface="Calibri" panose="020F0502020204030204"/>
                <a:cs typeface="Arial"/>
              </a:rPr>
              <a:t>Plan </a:t>
            </a:r>
            <a:r>
              <a:rPr lang="en-US" sz="1200" kern="0" dirty="0">
                <a:latin typeface="Calibri" panose="020F0502020204030204"/>
                <a:cs typeface="Arial"/>
              </a:rPr>
              <a:t>isn’t an endorsed suite of recommendations or agreed program of work. </a:t>
            </a:r>
            <a:r>
              <a:rPr lang="en-US" sz="1200" dirty="0"/>
              <a:t>The recommended opportunities will require further validation and decision making based on organisational priorities, capacity and available funding including endorsement by the ELT. In practice, this means initiatives may not commence immediately and ongoing engagement with key stakeholders will be critical to striking the balance between maintaining momentum and required governance processes. </a:t>
            </a:r>
            <a:endParaRPr lang="en-AU" sz="1200" kern="0" dirty="0">
              <a:latin typeface="Calibri" panose="020F0502020204030204"/>
              <a:cs typeface="Arial"/>
            </a:endParaRPr>
          </a:p>
          <a:p>
            <a:pPr>
              <a:spcBef>
                <a:spcPts val="600"/>
              </a:spcBef>
              <a:buClr>
                <a:srgbClr val="000000"/>
              </a:buClr>
              <a:defRPr/>
            </a:pPr>
            <a:endParaRPr lang="en-AU" sz="1000" kern="0" dirty="0">
              <a:solidFill>
                <a:srgbClr val="000000"/>
              </a:solidFill>
              <a:latin typeface="+mj-lt"/>
              <a:cs typeface="Arial"/>
              <a:sym typeface="Arial"/>
            </a:endParaRPr>
          </a:p>
          <a:p>
            <a:pPr>
              <a:spcBef>
                <a:spcPts val="600"/>
              </a:spcBef>
              <a:buClr>
                <a:srgbClr val="000000"/>
              </a:buClr>
              <a:defRPr/>
            </a:pPr>
            <a:endParaRPr lang="en-AU" sz="1000" kern="0" dirty="0">
              <a:solidFill>
                <a:srgbClr val="000000"/>
              </a:solidFill>
              <a:latin typeface="+mj-lt"/>
              <a:cs typeface="Arial"/>
              <a:sym typeface="Arial"/>
            </a:endParaRPr>
          </a:p>
          <a:p>
            <a:endParaRPr lang="en-US" dirty="0"/>
          </a:p>
        </p:txBody>
      </p:sp>
      <p:sp>
        <p:nvSpPr>
          <p:cNvPr id="49" name="Slide Number Placeholder 6">
            <a:extLst>
              <a:ext uri="{FF2B5EF4-FFF2-40B4-BE49-F238E27FC236}">
                <a16:creationId xmlns:a16="http://schemas.microsoft.com/office/drawing/2014/main" id="{7FD47340-F2D6-4201-B71E-69467BA8FE30}"/>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7</a:t>
            </a:fld>
            <a:endParaRPr lang="en-US" dirty="0"/>
          </a:p>
        </p:txBody>
      </p:sp>
      <p:sp>
        <p:nvSpPr>
          <p:cNvPr id="39" name="Freeform 60">
            <a:extLst>
              <a:ext uri="{FF2B5EF4-FFF2-40B4-BE49-F238E27FC236}">
                <a16:creationId xmlns:a16="http://schemas.microsoft.com/office/drawing/2014/main" id="{EBDF11E6-5E8D-4012-9F34-3C779C8E867E}"/>
              </a:ext>
            </a:extLst>
          </p:cNvPr>
          <p:cNvSpPr>
            <a:spLocks noChangeAspect="1" noEditPoints="1"/>
          </p:cNvSpPr>
          <p:nvPr/>
        </p:nvSpPr>
        <p:spPr bwMode="auto">
          <a:xfrm>
            <a:off x="9694229" y="4030801"/>
            <a:ext cx="96536" cy="9681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4 w 576"/>
              <a:gd name="T13" fmla="*/ 551 h 576"/>
              <a:gd name="T14" fmla="*/ 24 w 576"/>
              <a:gd name="T15" fmla="*/ 24 h 576"/>
              <a:gd name="T16" fmla="*/ 551 w 576"/>
              <a:gd name="T17" fmla="*/ 24 h 576"/>
              <a:gd name="T18" fmla="*/ 551 w 576"/>
              <a:gd name="T19" fmla="*/ 551 h 576"/>
              <a:gd name="T20" fmla="*/ 288 w 576"/>
              <a:gd name="T21" fmla="*/ 479 h 576"/>
              <a:gd name="T22" fmla="*/ 97 w 576"/>
              <a:gd name="T23" fmla="*/ 288 h 576"/>
              <a:gd name="T24" fmla="*/ 288 w 576"/>
              <a:gd name="T25" fmla="*/ 97 h 576"/>
              <a:gd name="T26" fmla="*/ 479 w 576"/>
              <a:gd name="T27" fmla="*/ 288 h 576"/>
              <a:gd name="T28" fmla="*/ 288 w 576"/>
              <a:gd name="T29" fmla="*/ 479 h 576"/>
              <a:gd name="T30" fmla="*/ 288 w 576"/>
              <a:gd name="T31" fmla="*/ 121 h 576"/>
              <a:gd name="T32" fmla="*/ 121 w 576"/>
              <a:gd name="T33" fmla="*/ 288 h 576"/>
              <a:gd name="T34" fmla="*/ 288 w 576"/>
              <a:gd name="T35" fmla="*/ 454 h 576"/>
              <a:gd name="T36" fmla="*/ 454 w 576"/>
              <a:gd name="T37" fmla="*/ 288 h 576"/>
              <a:gd name="T38" fmla="*/ 288 w 576"/>
              <a:gd name="T39" fmla="*/ 121 h 576"/>
              <a:gd name="T40" fmla="*/ 422 w 576"/>
              <a:gd name="T41" fmla="*/ 300 h 576"/>
              <a:gd name="T42" fmla="*/ 275 w 576"/>
              <a:gd name="T43" fmla="*/ 300 h 576"/>
              <a:gd name="T44" fmla="*/ 275 w 576"/>
              <a:gd name="T45" fmla="*/ 153 h 576"/>
              <a:gd name="T46" fmla="*/ 300 w 576"/>
              <a:gd name="T47" fmla="*/ 153 h 576"/>
              <a:gd name="T48" fmla="*/ 300 w 576"/>
              <a:gd name="T49" fmla="*/ 276 h 576"/>
              <a:gd name="T50" fmla="*/ 422 w 576"/>
              <a:gd name="T51" fmla="*/ 276 h 576"/>
              <a:gd name="T52" fmla="*/ 422 w 576"/>
              <a:gd name="T53" fmla="*/ 30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88" y="479"/>
                </a:moveTo>
                <a:cubicBezTo>
                  <a:pt x="182" y="479"/>
                  <a:pt x="97" y="393"/>
                  <a:pt x="97" y="288"/>
                </a:cubicBezTo>
                <a:cubicBezTo>
                  <a:pt x="97" y="182"/>
                  <a:pt x="182" y="97"/>
                  <a:pt x="288" y="97"/>
                </a:cubicBezTo>
                <a:cubicBezTo>
                  <a:pt x="393" y="97"/>
                  <a:pt x="479" y="182"/>
                  <a:pt x="479" y="288"/>
                </a:cubicBezTo>
                <a:cubicBezTo>
                  <a:pt x="479" y="393"/>
                  <a:pt x="393" y="479"/>
                  <a:pt x="288" y="479"/>
                </a:cubicBezTo>
                <a:close/>
                <a:moveTo>
                  <a:pt x="288" y="121"/>
                </a:moveTo>
                <a:cubicBezTo>
                  <a:pt x="196" y="121"/>
                  <a:pt x="121" y="196"/>
                  <a:pt x="121" y="288"/>
                </a:cubicBezTo>
                <a:cubicBezTo>
                  <a:pt x="121" y="380"/>
                  <a:pt x="196" y="454"/>
                  <a:pt x="288" y="454"/>
                </a:cubicBezTo>
                <a:cubicBezTo>
                  <a:pt x="380" y="454"/>
                  <a:pt x="454" y="380"/>
                  <a:pt x="454" y="288"/>
                </a:cubicBezTo>
                <a:cubicBezTo>
                  <a:pt x="454" y="196"/>
                  <a:pt x="380" y="121"/>
                  <a:pt x="288" y="121"/>
                </a:cubicBezTo>
                <a:close/>
                <a:moveTo>
                  <a:pt x="422" y="300"/>
                </a:moveTo>
                <a:cubicBezTo>
                  <a:pt x="275" y="300"/>
                  <a:pt x="275" y="300"/>
                  <a:pt x="275" y="300"/>
                </a:cubicBezTo>
                <a:cubicBezTo>
                  <a:pt x="275" y="153"/>
                  <a:pt x="275" y="153"/>
                  <a:pt x="275" y="153"/>
                </a:cubicBezTo>
                <a:cubicBezTo>
                  <a:pt x="300" y="153"/>
                  <a:pt x="300" y="153"/>
                  <a:pt x="300" y="153"/>
                </a:cubicBezTo>
                <a:cubicBezTo>
                  <a:pt x="300" y="276"/>
                  <a:pt x="300" y="276"/>
                  <a:pt x="300" y="276"/>
                </a:cubicBezTo>
                <a:cubicBezTo>
                  <a:pt x="422" y="276"/>
                  <a:pt x="422" y="276"/>
                  <a:pt x="422" y="276"/>
                </a:cubicBezTo>
                <a:lnTo>
                  <a:pt x="422" y="300"/>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p>
        </p:txBody>
      </p:sp>
    </p:spTree>
    <p:extLst>
      <p:ext uri="{BB962C8B-B14F-4D97-AF65-F5344CB8AC3E}">
        <p14:creationId xmlns:p14="http://schemas.microsoft.com/office/powerpoint/2010/main" val="1527926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noAutofit/>
          </a:bodyPr>
          <a:lstStyle/>
          <a:p>
            <a:pPr>
              <a:lnSpc>
                <a:spcPct val="100000"/>
              </a:lnSpc>
            </a:pPr>
            <a:r>
              <a:rPr lang="en-AU" dirty="0"/>
              <a:t>2. About this </a:t>
            </a:r>
            <a:r>
              <a:rPr lang="en-AU" dirty="0" smtClean="0"/>
              <a:t>Plan</a:t>
            </a:r>
            <a:r>
              <a:rPr lang="en-AU" dirty="0"/>
              <a:t/>
            </a:r>
            <a:br>
              <a:rPr lang="en-AU" dirty="0"/>
            </a:br>
            <a:endParaRPr lang="en-AU" dirty="0"/>
          </a:p>
        </p:txBody>
      </p:sp>
      <p:sp>
        <p:nvSpPr>
          <p:cNvPr id="5" name="Slide Number Placeholder 4">
            <a:extLst>
              <a:ext uri="{FF2B5EF4-FFF2-40B4-BE49-F238E27FC236}">
                <a16:creationId xmlns:a16="http://schemas.microsoft.com/office/drawing/2014/main" id="{1EB04A32-0112-CDD0-9291-1279386790E4}"/>
              </a:ext>
            </a:extLst>
          </p:cNvPr>
          <p:cNvSpPr>
            <a:spLocks noGrp="1"/>
          </p:cNvSpPr>
          <p:nvPr>
            <p:ph type="sldNum" sz="quarter" idx="12"/>
          </p:nvPr>
        </p:nvSpPr>
        <p:spPr/>
        <p:txBody>
          <a:bodyPr/>
          <a:lstStyle/>
          <a:p>
            <a:fld id="{C0F55C17-AF72-40D4-ADBD-B5505DEBF9BA}" type="slidenum">
              <a:rPr lang="en-AU" smtClean="0"/>
              <a:pPr/>
              <a:t>8</a:t>
            </a:fld>
            <a:endParaRPr lang="en-US" dirty="0"/>
          </a:p>
        </p:txBody>
      </p:sp>
    </p:spTree>
    <p:extLst>
      <p:ext uri="{BB962C8B-B14F-4D97-AF65-F5344CB8AC3E}">
        <p14:creationId xmlns:p14="http://schemas.microsoft.com/office/powerpoint/2010/main" val="4192903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CC1D694-467A-5F02-819D-9364312998A3}"/>
              </a:ext>
            </a:extLst>
          </p:cNvPr>
          <p:cNvSpPr>
            <a:spLocks noGrp="1"/>
          </p:cNvSpPr>
          <p:nvPr>
            <p:ph type="sldNum" sz="quarter" idx="12"/>
          </p:nvPr>
        </p:nvSpPr>
        <p:spPr>
          <a:xfrm>
            <a:off x="11151991" y="7733679"/>
            <a:ext cx="362274" cy="180000"/>
          </a:xfrm>
        </p:spPr>
        <p:txBody>
          <a:bodyPr/>
          <a:lstStyle/>
          <a:p>
            <a:fld id="{C0F55C17-AF72-40D4-ADBD-B5505DEBF9BA}" type="slidenum">
              <a:rPr lang="en-AU" smtClean="0"/>
              <a:t>9</a:t>
            </a:fld>
            <a:endParaRPr lang="en-US" dirty="0"/>
          </a:p>
        </p:txBody>
      </p:sp>
      <p:sp>
        <p:nvSpPr>
          <p:cNvPr id="95" name="Google Shape;6575;p424">
            <a:extLst>
              <a:ext uri="{FF2B5EF4-FFF2-40B4-BE49-F238E27FC236}">
                <a16:creationId xmlns:a16="http://schemas.microsoft.com/office/drawing/2014/main" id="{7EC65122-0D0E-47CF-AAAE-42E9322EE162}"/>
              </a:ext>
            </a:extLst>
          </p:cNvPr>
          <p:cNvSpPr/>
          <p:nvPr/>
        </p:nvSpPr>
        <p:spPr>
          <a:xfrm>
            <a:off x="7753122" y="1601461"/>
            <a:ext cx="3956761" cy="4750435"/>
          </a:xfrm>
          <a:prstGeom prst="rect">
            <a:avLst/>
          </a:prstGeom>
          <a:solidFill>
            <a:schemeClr val="bg2"/>
          </a:solidFill>
          <a:ln>
            <a:noFill/>
          </a:ln>
        </p:spPr>
        <p:txBody>
          <a:bodyPr spcFirstLastPara="1" wrap="square" lIns="120000" tIns="96000" rIns="48000" bIns="121900" anchor="t" anchorCtr="0">
            <a:noAutofit/>
          </a:bodyPr>
          <a:lstStyle/>
          <a:p>
            <a:pPr marL="172720" indent="-179070">
              <a:spcBef>
                <a:spcPts val="100"/>
              </a:spcBef>
              <a:buClr>
                <a:schemeClr val="dk1"/>
              </a:buClr>
              <a:buSzPts val="900"/>
              <a:buFont typeface="Helvetica Neue Light"/>
              <a:buChar char="●"/>
              <a:defRPr/>
            </a:pPr>
            <a:endParaRPr lang="en-US" sz="900" i="0" u="none" strike="noStrike" kern="0" cap="none" spc="0" normalizeH="0" baseline="0" noProof="0" dirty="0">
              <a:ln>
                <a:noFill/>
              </a:ln>
              <a:solidFill>
                <a:srgbClr val="000000"/>
              </a:solidFill>
              <a:effectLst/>
              <a:uLnTx/>
              <a:uFillTx/>
              <a:latin typeface="Helvetica Neue"/>
              <a:ea typeface="Helvetica Neue"/>
              <a:cs typeface="Helvetica Neue"/>
            </a:endParaRPr>
          </a:p>
          <a:p>
            <a:pPr marL="0" marR="0" lvl="0" indent="0" algn="l" defTabSz="914400" rtl="0" eaLnBrk="1" fontAlgn="auto" latinLnBrk="0" hangingPunct="1">
              <a:lnSpc>
                <a:spcPct val="100000"/>
              </a:lnSpc>
              <a:spcBef>
                <a:spcPts val="300"/>
              </a:spcBef>
              <a:spcAft>
                <a:spcPts val="0"/>
              </a:spcAft>
              <a:buClr>
                <a:srgbClr val="000000"/>
              </a:buClr>
              <a:buSzTx/>
              <a:buFont typeface="Arial"/>
              <a:buNone/>
              <a:tabLst/>
              <a:defRPr/>
            </a:pPr>
            <a:endParaRPr kumimoji="0" lang="en-US" sz="900" b="1" i="0" u="none" strike="noStrike" kern="0" cap="none" spc="0" normalizeH="0" baseline="0" noProof="0" dirty="0">
              <a:ln>
                <a:noFill/>
              </a:ln>
              <a:solidFill>
                <a:srgbClr val="000000"/>
              </a:solidFill>
              <a:effectLst/>
              <a:uLnTx/>
              <a:uFillTx/>
              <a:latin typeface="Helvetica Neue"/>
              <a:ea typeface="Helvetica Neue"/>
              <a:cs typeface="Helvetica Neue"/>
              <a:sym typeface="Helvetica Neue"/>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512680"/>
            <a:ext cx="8370198" cy="1376364"/>
          </a:xfrm>
        </p:spPr>
        <p:txBody>
          <a:bodyPr anchor="t" anchorCtr="0">
            <a:noAutofit/>
          </a:bodyPr>
          <a:lstStyle/>
          <a:p>
            <a:pPr>
              <a:lnSpc>
                <a:spcPct val="100000"/>
              </a:lnSpc>
            </a:pPr>
            <a:r>
              <a:rPr lang="en-US" sz="2400" dirty="0">
                <a:solidFill>
                  <a:schemeClr val="tx2"/>
                </a:solidFill>
              </a:rPr>
              <a:t>Developing a Workforce </a:t>
            </a:r>
            <a:r>
              <a:rPr lang="en-US" sz="2400" dirty="0" smtClean="0">
                <a:solidFill>
                  <a:schemeClr val="tx2"/>
                </a:solidFill>
              </a:rPr>
              <a:t>Plan </a:t>
            </a:r>
            <a:r>
              <a:rPr lang="en-US" sz="2400" dirty="0">
                <a:solidFill>
                  <a:schemeClr val="tx2"/>
                </a:solidFill>
              </a:rPr>
              <a:t>creates the path to a more engaged, skilled and sustainable workforce</a:t>
            </a:r>
            <a:endParaRPr lang="en-AU" sz="2400" dirty="0">
              <a:solidFill>
                <a:schemeClr val="tx2"/>
              </a:solidFill>
              <a:highlight>
                <a:srgbClr val="FFFF00"/>
              </a:highlight>
            </a:endParaRPr>
          </a:p>
        </p:txBody>
      </p:sp>
      <p:sp>
        <p:nvSpPr>
          <p:cNvPr id="18" name="TextBox 17">
            <a:extLst>
              <a:ext uri="{FF2B5EF4-FFF2-40B4-BE49-F238E27FC236}">
                <a16:creationId xmlns:a16="http://schemas.microsoft.com/office/drawing/2014/main" id="{1D9CAC00-4A34-4A1E-9B09-8371E883E7E4}"/>
              </a:ext>
            </a:extLst>
          </p:cNvPr>
          <p:cNvSpPr txBox="1"/>
          <p:nvPr/>
        </p:nvSpPr>
        <p:spPr>
          <a:xfrm>
            <a:off x="6610350" y="805171"/>
            <a:ext cx="2120939" cy="407548"/>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AU" sz="900" b="0" i="0" u="none" strike="noStrike" kern="1200" cap="none" spc="0" normalizeH="0" baseline="0" noProof="0" dirty="0">
              <a:ln>
                <a:noFill/>
              </a:ln>
              <a:solidFill>
                <a:prstClr val="black"/>
              </a:solidFill>
              <a:effectLst/>
              <a:uLnTx/>
              <a:uFillTx/>
              <a:latin typeface="Helvetica Neue" panose="020B0604020202020204"/>
              <a:ea typeface="+mn-ea"/>
              <a:cs typeface="+mn-cs"/>
            </a:endParaRPr>
          </a:p>
        </p:txBody>
      </p:sp>
      <p:sp>
        <p:nvSpPr>
          <p:cNvPr id="57" name="Google Shape;1415;p189">
            <a:extLst>
              <a:ext uri="{FF2B5EF4-FFF2-40B4-BE49-F238E27FC236}">
                <a16:creationId xmlns:a16="http://schemas.microsoft.com/office/drawing/2014/main" id="{CCDA5114-1F34-4BFC-8FA1-7C50B400EEF7}"/>
              </a:ext>
            </a:extLst>
          </p:cNvPr>
          <p:cNvSpPr/>
          <p:nvPr/>
        </p:nvSpPr>
        <p:spPr>
          <a:xfrm>
            <a:off x="5350541" y="1558038"/>
            <a:ext cx="3289361" cy="1009518"/>
          </a:xfrm>
          <a:prstGeom prst="rect">
            <a:avLst/>
          </a:prstGeom>
          <a:noFill/>
          <a:ln>
            <a:noFill/>
          </a:ln>
        </p:spPr>
        <p:txBody>
          <a:bodyPr spcFirstLastPara="1" wrap="square" lIns="91425" tIns="45700" rIns="91425" bIns="45700" anchor="t" anchorCtr="0">
            <a:noAutofit/>
          </a:bodyPr>
          <a:lstStyle/>
          <a:p>
            <a:pPr>
              <a:buClr>
                <a:srgbClr val="000000"/>
              </a:buClr>
              <a:buFont typeface="Arial"/>
              <a:buNone/>
              <a:defRPr/>
            </a:pPr>
            <a:endParaRPr sz="900" kern="0" dirty="0">
              <a:latin typeface="Arial"/>
              <a:ea typeface="Arial"/>
              <a:cs typeface="Arial"/>
              <a:sym typeface="Arial"/>
            </a:endParaRPr>
          </a:p>
        </p:txBody>
      </p:sp>
      <p:sp>
        <p:nvSpPr>
          <p:cNvPr id="58" name="Google Shape;6575;p424">
            <a:extLst>
              <a:ext uri="{FF2B5EF4-FFF2-40B4-BE49-F238E27FC236}">
                <a16:creationId xmlns:a16="http://schemas.microsoft.com/office/drawing/2014/main" id="{E0243929-2250-410D-8F1C-8C90FD20D4AF}"/>
              </a:ext>
            </a:extLst>
          </p:cNvPr>
          <p:cNvSpPr/>
          <p:nvPr/>
        </p:nvSpPr>
        <p:spPr>
          <a:xfrm>
            <a:off x="489522" y="1594543"/>
            <a:ext cx="3597671" cy="4757354"/>
          </a:xfrm>
          <a:prstGeom prst="rect">
            <a:avLst/>
          </a:prstGeom>
          <a:solidFill>
            <a:schemeClr val="bg2"/>
          </a:solidFill>
          <a:ln>
            <a:noFill/>
          </a:ln>
        </p:spPr>
        <p:txBody>
          <a:bodyPr spcFirstLastPara="1" wrap="square" lIns="120000" tIns="96000" rIns="48000" bIns="121900" anchor="t" anchorCtr="0">
            <a:noAutofit/>
          </a:bodyPr>
          <a:lstStyle/>
          <a:p>
            <a:pPr marL="172720" indent="-179070">
              <a:spcBef>
                <a:spcPts val="100"/>
              </a:spcBef>
              <a:buClr>
                <a:schemeClr val="dk1"/>
              </a:buClr>
              <a:buSzPts val="900"/>
              <a:buFont typeface="Helvetica Neue Light"/>
              <a:buChar char="●"/>
              <a:defRPr/>
            </a:pPr>
            <a:endParaRPr lang="en-US" sz="900" i="0" u="none" strike="noStrike" kern="0" cap="none" spc="0" normalizeH="0" baseline="0" noProof="0" dirty="0">
              <a:ln>
                <a:noFill/>
              </a:ln>
              <a:solidFill>
                <a:srgbClr val="000000"/>
              </a:solidFill>
              <a:effectLst/>
              <a:uLnTx/>
              <a:uFillTx/>
              <a:latin typeface="Helvetica Neue"/>
              <a:ea typeface="Helvetica Neue"/>
              <a:cs typeface="Helvetica Neue"/>
            </a:endParaRPr>
          </a:p>
          <a:p>
            <a:pPr marL="0" marR="0" lvl="0" indent="0" algn="l" defTabSz="914400" rtl="0" eaLnBrk="1" fontAlgn="auto" latinLnBrk="0" hangingPunct="1">
              <a:lnSpc>
                <a:spcPct val="100000"/>
              </a:lnSpc>
              <a:spcBef>
                <a:spcPts val="300"/>
              </a:spcBef>
              <a:spcAft>
                <a:spcPts val="0"/>
              </a:spcAft>
              <a:buClr>
                <a:srgbClr val="000000"/>
              </a:buClr>
              <a:buSzTx/>
              <a:buFont typeface="Arial"/>
              <a:buNone/>
              <a:tabLst/>
              <a:defRPr/>
            </a:pPr>
            <a:endParaRPr kumimoji="0" lang="en-US" sz="900" b="1" i="0" u="none" strike="noStrike" kern="0" cap="none" spc="0" normalizeH="0" baseline="0" noProof="0" dirty="0">
              <a:ln>
                <a:noFill/>
              </a:ln>
              <a:solidFill>
                <a:srgbClr val="000000"/>
              </a:solidFill>
              <a:effectLst/>
              <a:uLnTx/>
              <a:uFillTx/>
              <a:latin typeface="Helvetica Neue"/>
              <a:ea typeface="Helvetica Neue"/>
              <a:cs typeface="Helvetica Neue"/>
              <a:sym typeface="Helvetica Neue"/>
            </a:endParaRPr>
          </a:p>
        </p:txBody>
      </p:sp>
      <p:sp>
        <p:nvSpPr>
          <p:cNvPr id="60" name="Rectangle 59">
            <a:extLst>
              <a:ext uri="{FF2B5EF4-FFF2-40B4-BE49-F238E27FC236}">
                <a16:creationId xmlns:a16="http://schemas.microsoft.com/office/drawing/2014/main" id="{EF2ED94A-B18E-4397-9777-C79481D2FCC6}"/>
              </a:ext>
            </a:extLst>
          </p:cNvPr>
          <p:cNvSpPr/>
          <p:nvPr/>
        </p:nvSpPr>
        <p:spPr>
          <a:xfrm>
            <a:off x="496969" y="1934729"/>
            <a:ext cx="3588854" cy="217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500"/>
              </a:spcAft>
            </a:pPr>
            <a:r>
              <a:rPr lang="en-US" sz="1000" dirty="0">
                <a:solidFill>
                  <a:schemeClr val="tx1"/>
                </a:solidFill>
              </a:rPr>
              <a:t>The </a:t>
            </a:r>
            <a:r>
              <a:rPr lang="en-US" sz="1000" dirty="0" smtClean="0">
                <a:solidFill>
                  <a:schemeClr val="tx1"/>
                </a:solidFill>
              </a:rPr>
              <a:t>Commission’s </a:t>
            </a:r>
            <a:r>
              <a:rPr lang="en-US" sz="1000" dirty="0">
                <a:solidFill>
                  <a:schemeClr val="tx1"/>
                </a:solidFill>
              </a:rPr>
              <a:t>people are its greatest asset, this Workforce </a:t>
            </a:r>
            <a:r>
              <a:rPr lang="en-US" sz="1000" dirty="0" smtClean="0">
                <a:solidFill>
                  <a:schemeClr val="tx1"/>
                </a:solidFill>
              </a:rPr>
              <a:t>Plan </a:t>
            </a:r>
            <a:r>
              <a:rPr lang="en-US" sz="1000" dirty="0">
                <a:solidFill>
                  <a:schemeClr val="tx1"/>
                </a:solidFill>
              </a:rPr>
              <a:t>has been designed to benefit all staff across the Commission. The strategy provides a clear line of sight between strategic priorities and how the Commission attracts, develops and retains a diverse workforce with the necessary capability and attributes needed to respond to challenges as they arise and effectively achieve our purpose; upholding the rights of NDIS participants. </a:t>
            </a:r>
            <a:r>
              <a:rPr lang="en-AU" sz="1000" dirty="0">
                <a:solidFill>
                  <a:schemeClr val="tx1"/>
                </a:solidFill>
              </a:rPr>
              <a:t>While this document </a:t>
            </a:r>
            <a:r>
              <a:rPr lang="en-AU" sz="1000" dirty="0" smtClean="0">
                <a:solidFill>
                  <a:schemeClr val="tx1"/>
                </a:solidFill>
              </a:rPr>
              <a:t>is for </a:t>
            </a:r>
            <a:r>
              <a:rPr lang="en-AU" sz="1000" dirty="0">
                <a:solidFill>
                  <a:schemeClr val="tx1"/>
                </a:solidFill>
              </a:rPr>
              <a:t>internal Commission </a:t>
            </a:r>
            <a:r>
              <a:rPr lang="en-AU" sz="1000" dirty="0" smtClean="0">
                <a:solidFill>
                  <a:schemeClr val="tx1"/>
                </a:solidFill>
              </a:rPr>
              <a:t>use, </a:t>
            </a:r>
            <a:r>
              <a:rPr lang="en-AU" sz="1000" dirty="0">
                <a:solidFill>
                  <a:schemeClr val="tx1"/>
                </a:solidFill>
              </a:rPr>
              <a:t>it has been designed with various perspectives </a:t>
            </a:r>
            <a:r>
              <a:rPr lang="en-AU" sz="1000" dirty="0" smtClean="0">
                <a:solidFill>
                  <a:schemeClr val="tx1"/>
                </a:solidFill>
              </a:rPr>
              <a:t>in mind, </a:t>
            </a:r>
            <a:r>
              <a:rPr lang="en-AU" sz="1000" dirty="0">
                <a:solidFill>
                  <a:schemeClr val="tx1"/>
                </a:solidFill>
              </a:rPr>
              <a:t>including that of our current workforce – both workers and </a:t>
            </a:r>
            <a:r>
              <a:rPr lang="en-AU" sz="1000" dirty="0" smtClean="0">
                <a:solidFill>
                  <a:schemeClr val="tx1"/>
                </a:solidFill>
              </a:rPr>
              <a:t>leaders at all levels, </a:t>
            </a:r>
            <a:r>
              <a:rPr lang="en-AU" sz="1000" dirty="0">
                <a:solidFill>
                  <a:schemeClr val="tx1"/>
                </a:solidFill>
              </a:rPr>
              <a:t>as well as our future workforce, our future pipeline of </a:t>
            </a:r>
            <a:r>
              <a:rPr lang="en-AU" sz="1000" dirty="0" smtClean="0">
                <a:solidFill>
                  <a:schemeClr val="tx1"/>
                </a:solidFill>
              </a:rPr>
              <a:t>talent </a:t>
            </a:r>
            <a:r>
              <a:rPr lang="en-AU" sz="1000" dirty="0">
                <a:solidFill>
                  <a:schemeClr val="tx1"/>
                </a:solidFill>
              </a:rPr>
              <a:t>and participants and providers.</a:t>
            </a:r>
            <a:endParaRPr lang="en-US" sz="1000" dirty="0">
              <a:solidFill>
                <a:schemeClr val="tx1"/>
              </a:solidFill>
            </a:endParaRPr>
          </a:p>
        </p:txBody>
      </p:sp>
      <p:sp>
        <p:nvSpPr>
          <p:cNvPr id="61" name="TextBox 60">
            <a:extLst>
              <a:ext uri="{FF2B5EF4-FFF2-40B4-BE49-F238E27FC236}">
                <a16:creationId xmlns:a16="http://schemas.microsoft.com/office/drawing/2014/main" id="{0E2A52B9-A90E-4981-B379-D60432BBFC96}"/>
              </a:ext>
            </a:extLst>
          </p:cNvPr>
          <p:cNvSpPr txBox="1"/>
          <p:nvPr/>
        </p:nvSpPr>
        <p:spPr>
          <a:xfrm>
            <a:off x="489524" y="1601462"/>
            <a:ext cx="3597669"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Audience of this </a:t>
            </a:r>
            <a:r>
              <a:rPr lang="en-AU" sz="1200" dirty="0" smtClean="0">
                <a:latin typeface="+mj-lt"/>
              </a:rPr>
              <a:t>Plan</a:t>
            </a:r>
            <a:endParaRPr lang="en-AU" sz="1200" dirty="0">
              <a:latin typeface="+mj-lt"/>
            </a:endParaRPr>
          </a:p>
        </p:txBody>
      </p:sp>
      <p:sp>
        <p:nvSpPr>
          <p:cNvPr id="72" name="Rectangle 71">
            <a:extLst>
              <a:ext uri="{FF2B5EF4-FFF2-40B4-BE49-F238E27FC236}">
                <a16:creationId xmlns:a16="http://schemas.microsoft.com/office/drawing/2014/main" id="{26682AF9-36F5-437E-8C59-4A99BA3AEA0F}"/>
              </a:ext>
            </a:extLst>
          </p:cNvPr>
          <p:cNvSpPr/>
          <p:nvPr/>
        </p:nvSpPr>
        <p:spPr>
          <a:xfrm>
            <a:off x="4077391" y="1905921"/>
            <a:ext cx="3650707" cy="2432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500"/>
              </a:spcAft>
            </a:pPr>
            <a:r>
              <a:rPr lang="en-US" sz="1000" dirty="0">
                <a:solidFill>
                  <a:schemeClr val="tx1"/>
                </a:solidFill>
              </a:rPr>
              <a:t>This </a:t>
            </a:r>
            <a:r>
              <a:rPr lang="en-US" sz="1000" dirty="0" smtClean="0">
                <a:solidFill>
                  <a:schemeClr val="tx1"/>
                </a:solidFill>
              </a:rPr>
              <a:t>Plan </a:t>
            </a:r>
            <a:r>
              <a:rPr lang="en-US" sz="1000" dirty="0">
                <a:solidFill>
                  <a:schemeClr val="tx1"/>
                </a:solidFill>
              </a:rPr>
              <a:t>provides the opportunity for the Commission to look at the impact of its transformation from a workforce capability perspective. The </a:t>
            </a:r>
            <a:r>
              <a:rPr lang="en-US" sz="1000" dirty="0" smtClean="0">
                <a:solidFill>
                  <a:schemeClr val="tx1"/>
                </a:solidFill>
              </a:rPr>
              <a:t>Plan </a:t>
            </a:r>
            <a:r>
              <a:rPr lang="en-US" sz="1000" dirty="0">
                <a:solidFill>
                  <a:schemeClr val="tx1"/>
                </a:solidFill>
              </a:rPr>
              <a:t>operates as a visioning document to help identify future workforce needs and identify potential workforce gaps, so that the organisation is well-positioned to respond early. </a:t>
            </a:r>
          </a:p>
          <a:p>
            <a:pPr>
              <a:spcAft>
                <a:spcPts val="500"/>
              </a:spcAft>
            </a:pPr>
            <a:r>
              <a:rPr lang="en-US" sz="1000" dirty="0" smtClean="0">
                <a:solidFill>
                  <a:schemeClr val="tx1"/>
                </a:solidFill>
              </a:rPr>
              <a:t>In devising this Plan, </a:t>
            </a:r>
            <a:r>
              <a:rPr lang="en-US" sz="1000" dirty="0">
                <a:solidFill>
                  <a:schemeClr val="tx1"/>
                </a:solidFill>
              </a:rPr>
              <a:t>the </a:t>
            </a:r>
            <a:r>
              <a:rPr lang="en-US" sz="1000" dirty="0" smtClean="0">
                <a:solidFill>
                  <a:schemeClr val="tx1"/>
                </a:solidFill>
              </a:rPr>
              <a:t>team considered:</a:t>
            </a:r>
            <a:endParaRPr lang="en-US" sz="1000" dirty="0">
              <a:solidFill>
                <a:schemeClr val="tx1"/>
              </a:solidFill>
            </a:endParaRPr>
          </a:p>
          <a:p>
            <a:pPr marL="171450" indent="-171450">
              <a:spcAft>
                <a:spcPts val="500"/>
              </a:spcAft>
              <a:buFont typeface="Arial" panose="020B0604020202020204" pitchFamily="34" charset="0"/>
              <a:buChar char="•"/>
            </a:pPr>
            <a:r>
              <a:rPr lang="en-US" sz="1000" dirty="0">
                <a:solidFill>
                  <a:schemeClr val="tx1"/>
                </a:solidFill>
              </a:rPr>
              <a:t>a </a:t>
            </a:r>
            <a:r>
              <a:rPr lang="en-US" sz="1000" b="1" dirty="0">
                <a:solidFill>
                  <a:schemeClr val="tx1"/>
                </a:solidFill>
              </a:rPr>
              <a:t>current state workforce view </a:t>
            </a:r>
            <a:r>
              <a:rPr lang="en-US" sz="1000" dirty="0">
                <a:solidFill>
                  <a:schemeClr val="tx1"/>
                </a:solidFill>
              </a:rPr>
              <a:t>incorporating analysis of macro, external drivers of change as well as internal risks and opportunities that may impact current and future workforce decisions </a:t>
            </a:r>
            <a:r>
              <a:rPr lang="en-US" sz="800" b="1" dirty="0">
                <a:solidFill>
                  <a:schemeClr val="tx1"/>
                </a:solidFill>
              </a:rPr>
              <a:t>(Section 3)</a:t>
            </a:r>
          </a:p>
          <a:p>
            <a:pPr marL="171450" indent="-171450">
              <a:spcAft>
                <a:spcPts val="500"/>
              </a:spcAft>
              <a:buFont typeface="Arial" panose="020B0604020202020204" pitchFamily="34" charset="0"/>
              <a:buChar char="•"/>
            </a:pPr>
            <a:r>
              <a:rPr lang="en-US" sz="1000" dirty="0">
                <a:solidFill>
                  <a:schemeClr val="tx1"/>
                </a:solidFill>
              </a:rPr>
              <a:t>a </a:t>
            </a:r>
            <a:r>
              <a:rPr lang="en-US" sz="1000" b="1" dirty="0">
                <a:solidFill>
                  <a:schemeClr val="tx1"/>
                </a:solidFill>
              </a:rPr>
              <a:t>future state workforce </a:t>
            </a:r>
            <a:r>
              <a:rPr lang="en-US" sz="1000" dirty="0">
                <a:solidFill>
                  <a:schemeClr val="tx1"/>
                </a:solidFill>
              </a:rPr>
              <a:t>view designed around four, core workforce </a:t>
            </a:r>
            <a:r>
              <a:rPr lang="en-US" sz="1000" dirty="0" smtClean="0">
                <a:solidFill>
                  <a:schemeClr val="tx1"/>
                </a:solidFill>
              </a:rPr>
              <a:t>plan pillars </a:t>
            </a:r>
            <a:r>
              <a:rPr lang="en-US" sz="1000" dirty="0">
                <a:solidFill>
                  <a:schemeClr val="tx1"/>
                </a:solidFill>
              </a:rPr>
              <a:t>– Workforce Sustainability, Capability, Growth and Performance</a:t>
            </a:r>
            <a:r>
              <a:rPr lang="en-US" sz="1000" dirty="0" smtClean="0">
                <a:solidFill>
                  <a:schemeClr val="tx1"/>
                </a:solidFill>
              </a:rPr>
              <a:t>. The pillars are enabled </a:t>
            </a:r>
            <a:r>
              <a:rPr lang="en-US" sz="1000" dirty="0">
                <a:solidFill>
                  <a:schemeClr val="tx1"/>
                </a:solidFill>
              </a:rPr>
              <a:t>by Diversity, Inclusion and Wellbeing and underpinned by our Cultural Principles </a:t>
            </a:r>
            <a:r>
              <a:rPr lang="en-US" sz="1000" dirty="0" smtClean="0">
                <a:solidFill>
                  <a:schemeClr val="tx1"/>
                </a:solidFill>
              </a:rPr>
              <a:t>which are at the </a:t>
            </a:r>
            <a:r>
              <a:rPr lang="en-US" sz="1000" dirty="0">
                <a:solidFill>
                  <a:schemeClr val="tx1"/>
                </a:solidFill>
              </a:rPr>
              <a:t>heart of everything the Commission does. Each pillar describes our future state workforce aspiration, what this looks like in practice and a range of workforce opportunities to help get us there  </a:t>
            </a:r>
            <a:r>
              <a:rPr lang="en-US" sz="800" b="1" dirty="0">
                <a:solidFill>
                  <a:schemeClr val="tx1"/>
                </a:solidFill>
              </a:rPr>
              <a:t>(Section 4)</a:t>
            </a:r>
            <a:endParaRPr lang="en-US" sz="800" b="1" dirty="0">
              <a:solidFill>
                <a:schemeClr val="tx1"/>
              </a:solidFill>
              <a:cs typeface="Calibri"/>
            </a:endParaRPr>
          </a:p>
          <a:p>
            <a:pPr marL="171450" indent="-171450">
              <a:spcAft>
                <a:spcPts val="500"/>
              </a:spcAft>
              <a:buFont typeface="Arial" panose="020B0604020202020204" pitchFamily="34" charset="0"/>
              <a:buChar char="•"/>
            </a:pPr>
            <a:r>
              <a:rPr lang="en-US" sz="1000" dirty="0">
                <a:solidFill>
                  <a:schemeClr val="tx1"/>
                </a:solidFill>
              </a:rPr>
              <a:t>a </a:t>
            </a:r>
            <a:r>
              <a:rPr lang="en-US" sz="1000" b="1" dirty="0">
                <a:solidFill>
                  <a:schemeClr val="tx1"/>
                </a:solidFill>
              </a:rPr>
              <a:t>proposed high-level implementation roadmap</a:t>
            </a:r>
            <a:r>
              <a:rPr lang="en-US" sz="1000" dirty="0">
                <a:solidFill>
                  <a:schemeClr val="tx1"/>
                </a:solidFill>
              </a:rPr>
              <a:t>, prioritising workforce opportunities the Commission may pursue over a five year horizon. These will require further validation and decision making based on organisational priorities, capacity and available funding and is not an endorsed suite of recommendations or agreed program of work nor is it intended to identify organisational structure related changes </a:t>
            </a:r>
            <a:r>
              <a:rPr lang="en-US" sz="800" b="1" dirty="0">
                <a:solidFill>
                  <a:schemeClr val="tx1"/>
                </a:solidFill>
              </a:rPr>
              <a:t>(Section 5</a:t>
            </a:r>
            <a:r>
              <a:rPr lang="en-US" sz="800" b="1" dirty="0" smtClean="0">
                <a:solidFill>
                  <a:schemeClr val="tx1"/>
                </a:solidFill>
              </a:rPr>
              <a:t>)</a:t>
            </a:r>
            <a:endParaRPr lang="en-US" sz="800" b="1" dirty="0">
              <a:solidFill>
                <a:schemeClr val="tx1"/>
              </a:solidFill>
            </a:endParaRPr>
          </a:p>
          <a:p>
            <a:pPr>
              <a:spcAft>
                <a:spcPts val="500"/>
              </a:spcAft>
            </a:pPr>
            <a:endParaRPr lang="en-US" sz="1000" dirty="0">
              <a:solidFill>
                <a:schemeClr val="tx1"/>
              </a:solidFill>
            </a:endParaRPr>
          </a:p>
        </p:txBody>
      </p:sp>
      <p:sp>
        <p:nvSpPr>
          <p:cNvPr id="73" name="TextBox 72">
            <a:extLst>
              <a:ext uri="{FF2B5EF4-FFF2-40B4-BE49-F238E27FC236}">
                <a16:creationId xmlns:a16="http://schemas.microsoft.com/office/drawing/2014/main" id="{CE9292C1-DC5D-44A9-8EC0-371E2E07549E}"/>
              </a:ext>
            </a:extLst>
          </p:cNvPr>
          <p:cNvSpPr txBox="1"/>
          <p:nvPr/>
        </p:nvSpPr>
        <p:spPr>
          <a:xfrm>
            <a:off x="4167183" y="1601460"/>
            <a:ext cx="3495913"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Scope</a:t>
            </a:r>
            <a:endParaRPr lang="en-AU" dirty="0">
              <a:latin typeface="+mj-lt"/>
            </a:endParaRPr>
          </a:p>
        </p:txBody>
      </p:sp>
      <p:sp>
        <p:nvSpPr>
          <p:cNvPr id="75" name="Rectangle 74">
            <a:extLst>
              <a:ext uri="{FF2B5EF4-FFF2-40B4-BE49-F238E27FC236}">
                <a16:creationId xmlns:a16="http://schemas.microsoft.com/office/drawing/2014/main" id="{494D8255-8725-426D-80B3-85095D183999}"/>
              </a:ext>
            </a:extLst>
          </p:cNvPr>
          <p:cNvSpPr/>
          <p:nvPr/>
        </p:nvSpPr>
        <p:spPr>
          <a:xfrm>
            <a:off x="7734616" y="1918764"/>
            <a:ext cx="4078571" cy="2736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500"/>
              </a:spcAft>
            </a:pPr>
            <a:endParaRPr lang="en-AU" dirty="0">
              <a:solidFill>
                <a:schemeClr val="tx1"/>
              </a:solidFill>
            </a:endParaRPr>
          </a:p>
        </p:txBody>
      </p:sp>
      <p:pic>
        <p:nvPicPr>
          <p:cNvPr id="77" name="Graphic 3" descr="decorative">
            <a:extLst>
              <a:ext uri="{FF2B5EF4-FFF2-40B4-BE49-F238E27FC236}">
                <a16:creationId xmlns:a16="http://schemas.microsoft.com/office/drawing/2014/main" id="{357AB0E1-CC4A-4203-95F6-FA4AC0BE7405}"/>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936606" y="5119648"/>
            <a:ext cx="2995348" cy="1175099"/>
          </a:xfrm>
          <a:prstGeom prst="rect">
            <a:avLst/>
          </a:prstGeom>
        </p:spPr>
      </p:pic>
      <p:sp>
        <p:nvSpPr>
          <p:cNvPr id="78" name="TextBox 77">
            <a:extLst>
              <a:ext uri="{FF2B5EF4-FFF2-40B4-BE49-F238E27FC236}">
                <a16:creationId xmlns:a16="http://schemas.microsoft.com/office/drawing/2014/main" id="{0C17C110-0ACE-446D-9B56-D65ADECA475F}"/>
              </a:ext>
            </a:extLst>
          </p:cNvPr>
          <p:cNvSpPr txBox="1"/>
          <p:nvPr/>
        </p:nvSpPr>
        <p:spPr>
          <a:xfrm>
            <a:off x="1446101" y="5151239"/>
            <a:ext cx="2373964" cy="1138773"/>
          </a:xfrm>
          <a:prstGeom prst="rect">
            <a:avLst/>
          </a:prstGeom>
          <a:noFill/>
        </p:spPr>
        <p:txBody>
          <a:bodyPr wrap="square">
            <a:spAutoFit/>
          </a:bodyPr>
          <a:lstStyle/>
          <a:p>
            <a:r>
              <a:rPr lang="en-AU" sz="1200" b="1" dirty="0">
                <a:solidFill>
                  <a:schemeClr val="bg1"/>
                </a:solidFill>
                <a:latin typeface="Calibri" panose="020F0502020204030204" pitchFamily="34" charset="0"/>
              </a:rPr>
              <a:t>Our Leaders  </a:t>
            </a:r>
          </a:p>
          <a:p>
            <a:r>
              <a:rPr lang="en-US" sz="900" dirty="0">
                <a:solidFill>
                  <a:schemeClr val="bg1"/>
                </a:solidFill>
                <a:latin typeface="Calibri" panose="020F0502020204030204" pitchFamily="34" charset="0"/>
              </a:rPr>
              <a:t>As a leader, I can see a clear and practical line of sight between our strategic priorities, vision and our Workforce </a:t>
            </a:r>
            <a:r>
              <a:rPr lang="en-US" sz="900" dirty="0" smtClean="0">
                <a:solidFill>
                  <a:schemeClr val="bg1"/>
                </a:solidFill>
                <a:latin typeface="Calibri" panose="020F0502020204030204" pitchFamily="34" charset="0"/>
              </a:rPr>
              <a:t>Plan. </a:t>
            </a:r>
            <a:r>
              <a:rPr lang="en-US" sz="900" dirty="0">
                <a:solidFill>
                  <a:schemeClr val="bg1"/>
                </a:solidFill>
                <a:latin typeface="Calibri" panose="020F0502020204030204" pitchFamily="34" charset="0"/>
              </a:rPr>
              <a:t>I understand the critical role I play as a leader in taking the Commission forward and feel empowered to purposefully lead, develop and support others. </a:t>
            </a:r>
            <a:endParaRPr lang="en-US" sz="900" b="0" i="0" dirty="0">
              <a:solidFill>
                <a:schemeClr val="bg1"/>
              </a:solidFill>
              <a:effectLst/>
              <a:latin typeface="Calibri" panose="020F0502020204030204" pitchFamily="34" charset="0"/>
            </a:endParaRPr>
          </a:p>
        </p:txBody>
      </p:sp>
      <p:pic>
        <p:nvPicPr>
          <p:cNvPr id="82" name="Graphic 19" descr="decorative">
            <a:extLst>
              <a:ext uri="{FF2B5EF4-FFF2-40B4-BE49-F238E27FC236}">
                <a16:creationId xmlns:a16="http://schemas.microsoft.com/office/drawing/2014/main" id="{F4155F11-ED7E-45CE-9E94-38C5452A41C4}"/>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80091" y="5190928"/>
            <a:ext cx="820084" cy="926695"/>
          </a:xfrm>
          <a:prstGeom prst="rect">
            <a:avLst/>
          </a:prstGeom>
        </p:spPr>
      </p:pic>
      <p:sp>
        <p:nvSpPr>
          <p:cNvPr id="84" name="Rectangle 83">
            <a:extLst>
              <a:ext uri="{FF2B5EF4-FFF2-40B4-BE49-F238E27FC236}">
                <a16:creationId xmlns:a16="http://schemas.microsoft.com/office/drawing/2014/main" id="{A58F381E-DAC0-48BA-8C5B-484396058864}"/>
              </a:ext>
            </a:extLst>
          </p:cNvPr>
          <p:cNvSpPr/>
          <p:nvPr/>
        </p:nvSpPr>
        <p:spPr>
          <a:xfrm>
            <a:off x="9036864" y="1936390"/>
            <a:ext cx="2656209" cy="19241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500"/>
              </a:spcAft>
            </a:pPr>
            <a:r>
              <a:rPr lang="en-US" sz="1000" dirty="0">
                <a:solidFill>
                  <a:schemeClr val="tx1"/>
                </a:solidFill>
              </a:rPr>
              <a:t>The strategic plan identified that the Commission is building a Workforce </a:t>
            </a:r>
            <a:r>
              <a:rPr lang="en-US" sz="1000" dirty="0" smtClean="0">
                <a:solidFill>
                  <a:schemeClr val="tx1"/>
                </a:solidFill>
              </a:rPr>
              <a:t>Plan </a:t>
            </a:r>
            <a:r>
              <a:rPr lang="en-US" sz="1000" dirty="0">
                <a:solidFill>
                  <a:schemeClr val="tx1"/>
                </a:solidFill>
              </a:rPr>
              <a:t>to develop, attract and retain a diverse mix of the right staff with the right skills and attributes. This </a:t>
            </a:r>
            <a:r>
              <a:rPr lang="en-US" sz="1000" dirty="0" smtClean="0">
                <a:solidFill>
                  <a:schemeClr val="tx1"/>
                </a:solidFill>
              </a:rPr>
              <a:t>Plan </a:t>
            </a:r>
            <a:r>
              <a:rPr lang="en-US" sz="1000" dirty="0">
                <a:solidFill>
                  <a:schemeClr val="tx1"/>
                </a:solidFill>
              </a:rPr>
              <a:t>is a foundational step in the workforce planning process for the Commission, and builds on corporate documents such as Strategic Plan 2022-2027, Corporate Plan 2022-27 and Our Future State operating model work.</a:t>
            </a:r>
            <a:endParaRPr lang="en-AU" sz="1000" dirty="0">
              <a:solidFill>
                <a:schemeClr val="tx1"/>
              </a:solidFill>
              <a:sym typeface="Arial"/>
            </a:endParaRPr>
          </a:p>
          <a:p>
            <a:pPr>
              <a:spcAft>
                <a:spcPts val="500"/>
              </a:spcAft>
            </a:pPr>
            <a:endParaRPr lang="en-AU" sz="1000" dirty="0">
              <a:solidFill>
                <a:schemeClr val="tx1"/>
              </a:solidFill>
            </a:endParaRPr>
          </a:p>
          <a:p>
            <a:pPr>
              <a:spcAft>
                <a:spcPts val="500"/>
              </a:spcAft>
            </a:pPr>
            <a:endParaRPr lang="en-AU" sz="1000" dirty="0">
              <a:solidFill>
                <a:schemeClr val="tx1"/>
              </a:solidFill>
            </a:endParaRPr>
          </a:p>
          <a:p>
            <a:pPr>
              <a:spcAft>
                <a:spcPts val="500"/>
              </a:spcAft>
            </a:pPr>
            <a:endParaRPr lang="en-AU" dirty="0">
              <a:solidFill>
                <a:schemeClr val="tx1"/>
              </a:solidFill>
            </a:endParaRPr>
          </a:p>
        </p:txBody>
      </p:sp>
      <p:sp>
        <p:nvSpPr>
          <p:cNvPr id="92" name="TextBox 91">
            <a:extLst>
              <a:ext uri="{FF2B5EF4-FFF2-40B4-BE49-F238E27FC236}">
                <a16:creationId xmlns:a16="http://schemas.microsoft.com/office/drawing/2014/main" id="{A1557A33-4EFD-49C4-BECA-BC3E1FC98320}"/>
              </a:ext>
            </a:extLst>
          </p:cNvPr>
          <p:cNvSpPr txBox="1"/>
          <p:nvPr/>
        </p:nvSpPr>
        <p:spPr>
          <a:xfrm>
            <a:off x="7749638" y="1610291"/>
            <a:ext cx="3972779" cy="255912"/>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Alignment to our existing strategic priorities </a:t>
            </a:r>
          </a:p>
        </p:txBody>
      </p:sp>
      <p:sp>
        <p:nvSpPr>
          <p:cNvPr id="66" name="Rectangle 65">
            <a:extLst>
              <a:ext uri="{FF2B5EF4-FFF2-40B4-BE49-F238E27FC236}">
                <a16:creationId xmlns:a16="http://schemas.microsoft.com/office/drawing/2014/main" id="{51424F29-B6A9-4FE9-85FC-B4D09ADEF65D}"/>
              </a:ext>
            </a:extLst>
          </p:cNvPr>
          <p:cNvSpPr/>
          <p:nvPr/>
        </p:nvSpPr>
        <p:spPr>
          <a:xfrm>
            <a:off x="7755997" y="3893376"/>
            <a:ext cx="3946440" cy="10649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500"/>
              </a:spcAft>
            </a:pPr>
            <a:r>
              <a:rPr lang="en-US" sz="1000" dirty="0">
                <a:solidFill>
                  <a:schemeClr val="tx1"/>
                </a:solidFill>
              </a:rPr>
              <a:t>This document is intended to be iterative, refined as new information and insights arise and to remain aligned with the operating environment. </a:t>
            </a:r>
            <a:endParaRPr lang="en-AU" sz="1000" dirty="0" smtClean="0">
              <a:solidFill>
                <a:schemeClr val="tx1"/>
              </a:solidFill>
            </a:endParaRPr>
          </a:p>
          <a:p>
            <a:pPr>
              <a:spcAft>
                <a:spcPts val="500"/>
              </a:spcAft>
            </a:pPr>
            <a:endParaRPr lang="en-AU" dirty="0">
              <a:solidFill>
                <a:schemeClr val="tx1"/>
              </a:solidFill>
            </a:endParaRPr>
          </a:p>
        </p:txBody>
      </p:sp>
      <p:sp>
        <p:nvSpPr>
          <p:cNvPr id="67" name="TextBox 66">
            <a:extLst>
              <a:ext uri="{FF2B5EF4-FFF2-40B4-BE49-F238E27FC236}">
                <a16:creationId xmlns:a16="http://schemas.microsoft.com/office/drawing/2014/main" id="{D443330A-DB04-4F54-8732-432D650FA53B}"/>
              </a:ext>
            </a:extLst>
          </p:cNvPr>
          <p:cNvSpPr txBox="1"/>
          <p:nvPr/>
        </p:nvSpPr>
        <p:spPr>
          <a:xfrm>
            <a:off x="7751753" y="3624403"/>
            <a:ext cx="3950726"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Recommended review</a:t>
            </a:r>
          </a:p>
        </p:txBody>
      </p:sp>
      <p:pic>
        <p:nvPicPr>
          <p:cNvPr id="93" name="Picture 3" descr="Picture 3">
            <a:extLst>
              <a:ext uri="{FF2B5EF4-FFF2-40B4-BE49-F238E27FC236}">
                <a16:creationId xmlns:a16="http://schemas.microsoft.com/office/drawing/2014/main" id="{8AFFB2F3-BD8D-4B4F-9753-E330F35E066C}"/>
              </a:ext>
            </a:extLst>
          </p:cNvPr>
          <p:cNvPicPr>
            <a:picLocks noChangeAspect="1"/>
          </p:cNvPicPr>
          <p:nvPr/>
        </p:nvPicPr>
        <p:blipFill rotWithShape="1">
          <a:blip r:embed="rId7"/>
          <a:srcRect l="17598" t="10396" r="18805" b="8245"/>
          <a:stretch/>
        </p:blipFill>
        <p:spPr>
          <a:xfrm>
            <a:off x="7797222" y="1971921"/>
            <a:ext cx="755413" cy="826232"/>
          </a:xfrm>
          <a:prstGeom prst="rect">
            <a:avLst/>
          </a:prstGeom>
          <a:ln w="12700">
            <a:miter lim="400000"/>
          </a:ln>
        </p:spPr>
      </p:pic>
      <p:pic>
        <p:nvPicPr>
          <p:cNvPr id="94" name="Picture 10">
            <a:extLst>
              <a:ext uri="{FF2B5EF4-FFF2-40B4-BE49-F238E27FC236}">
                <a16:creationId xmlns:a16="http://schemas.microsoft.com/office/drawing/2014/main" id="{AC4C6002-7CF2-49CA-8B48-095264A2A50C}"/>
              </a:ext>
            </a:extLst>
          </p:cNvPr>
          <p:cNvPicPr>
            <a:picLocks noChangeAspect="1"/>
          </p:cNvPicPr>
          <p:nvPr/>
        </p:nvPicPr>
        <p:blipFill>
          <a:blip r:embed="rId8"/>
          <a:stretch>
            <a:fillRect/>
          </a:stretch>
        </p:blipFill>
        <p:spPr>
          <a:xfrm>
            <a:off x="8125061" y="2889736"/>
            <a:ext cx="888155" cy="624655"/>
          </a:xfrm>
          <a:prstGeom prst="rect">
            <a:avLst/>
          </a:prstGeom>
        </p:spPr>
      </p:pic>
      <p:sp>
        <p:nvSpPr>
          <p:cNvPr id="105" name="Rectangle 104">
            <a:extLst>
              <a:ext uri="{FF2B5EF4-FFF2-40B4-BE49-F238E27FC236}">
                <a16:creationId xmlns:a16="http://schemas.microsoft.com/office/drawing/2014/main" id="{DE58E9C4-A6D1-4EC6-9C4F-F3FFADD06398}"/>
              </a:ext>
            </a:extLst>
          </p:cNvPr>
          <p:cNvSpPr/>
          <p:nvPr/>
        </p:nvSpPr>
        <p:spPr>
          <a:xfrm>
            <a:off x="8348860" y="3876114"/>
            <a:ext cx="3373557" cy="1522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900" dirty="0">
                <a:solidFill>
                  <a:schemeClr val="tx1"/>
                </a:solidFill>
              </a:rPr>
              <a:t> </a:t>
            </a:r>
          </a:p>
          <a:p>
            <a:pPr>
              <a:spcAft>
                <a:spcPts val="500"/>
              </a:spcAft>
            </a:pPr>
            <a:endParaRPr lang="en-AU" sz="1600" dirty="0">
              <a:solidFill>
                <a:schemeClr val="tx1"/>
              </a:solidFill>
            </a:endParaRPr>
          </a:p>
        </p:txBody>
      </p:sp>
      <p:sp>
        <p:nvSpPr>
          <p:cNvPr id="30" name="Rectangle 29">
            <a:extLst>
              <a:ext uri="{FF2B5EF4-FFF2-40B4-BE49-F238E27FC236}">
                <a16:creationId xmlns:a16="http://schemas.microsoft.com/office/drawing/2014/main" id="{25AAD3DD-8B94-4735-ACC6-0A98F412749A}"/>
              </a:ext>
            </a:extLst>
          </p:cNvPr>
          <p:cNvSpPr/>
          <p:nvPr/>
        </p:nvSpPr>
        <p:spPr>
          <a:xfrm>
            <a:off x="7990320" y="4975271"/>
            <a:ext cx="3845219" cy="639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500"/>
              </a:spcAft>
            </a:pPr>
            <a:endParaRPr lang="en-AU" sz="1000" dirty="0">
              <a:solidFill>
                <a:schemeClr val="tx1"/>
              </a:solidFill>
            </a:endParaRPr>
          </a:p>
        </p:txBody>
      </p:sp>
      <p:pic>
        <p:nvPicPr>
          <p:cNvPr id="31" name="Graphic 3" descr="decorative">
            <a:extLst>
              <a:ext uri="{FF2B5EF4-FFF2-40B4-BE49-F238E27FC236}">
                <a16:creationId xmlns:a16="http://schemas.microsoft.com/office/drawing/2014/main" id="{9393682F-0A29-4740-AD31-80BEFD2612B2}"/>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1070221" y="3887346"/>
            <a:ext cx="2917145" cy="1175099"/>
          </a:xfrm>
          <a:prstGeom prst="rect">
            <a:avLst/>
          </a:prstGeom>
        </p:spPr>
      </p:pic>
      <p:sp>
        <p:nvSpPr>
          <p:cNvPr id="47" name="TextBox 46">
            <a:extLst>
              <a:ext uri="{FF2B5EF4-FFF2-40B4-BE49-F238E27FC236}">
                <a16:creationId xmlns:a16="http://schemas.microsoft.com/office/drawing/2014/main" id="{BDC25386-875C-420D-A9BA-2D26F1D5525C}"/>
              </a:ext>
            </a:extLst>
          </p:cNvPr>
          <p:cNvSpPr txBox="1"/>
          <p:nvPr/>
        </p:nvSpPr>
        <p:spPr>
          <a:xfrm>
            <a:off x="1467746" y="3905508"/>
            <a:ext cx="2519620" cy="1138773"/>
          </a:xfrm>
          <a:prstGeom prst="rect">
            <a:avLst/>
          </a:prstGeom>
          <a:noFill/>
        </p:spPr>
        <p:txBody>
          <a:bodyPr wrap="square">
            <a:spAutoFit/>
          </a:bodyPr>
          <a:lstStyle/>
          <a:p>
            <a:r>
              <a:rPr lang="en-AU" sz="1200" b="1" dirty="0">
                <a:solidFill>
                  <a:schemeClr val="bg1"/>
                </a:solidFill>
                <a:latin typeface="Calibri" panose="020F0502020204030204" pitchFamily="34" charset="0"/>
              </a:rPr>
              <a:t>Our People </a:t>
            </a:r>
          </a:p>
          <a:p>
            <a:r>
              <a:rPr lang="en-AU" sz="900" dirty="0">
                <a:solidFill>
                  <a:schemeClr val="bg1"/>
                </a:solidFill>
                <a:latin typeface="Calibri" panose="020F0502020204030204" pitchFamily="34" charset="0"/>
              </a:rPr>
              <a:t>I can see a clear and practical line of sight between </a:t>
            </a:r>
            <a:r>
              <a:rPr lang="en-AU" sz="900" b="0" i="0" dirty="0">
                <a:solidFill>
                  <a:schemeClr val="bg1"/>
                </a:solidFill>
                <a:effectLst/>
                <a:latin typeface="Calibri" panose="020F0502020204030204" pitchFamily="34" charset="0"/>
              </a:rPr>
              <a:t>our strategic priorities and vision, and our  Workforce </a:t>
            </a:r>
            <a:r>
              <a:rPr lang="en-AU" sz="900" dirty="0" smtClean="0">
                <a:solidFill>
                  <a:schemeClr val="bg1"/>
                </a:solidFill>
                <a:latin typeface="Calibri" panose="020F0502020204030204" pitchFamily="34" charset="0"/>
              </a:rPr>
              <a:t>Plan</a:t>
            </a:r>
            <a:r>
              <a:rPr lang="en-AU" sz="900" b="0" i="0" dirty="0" smtClean="0">
                <a:solidFill>
                  <a:schemeClr val="bg1"/>
                </a:solidFill>
                <a:effectLst/>
                <a:latin typeface="Calibri" panose="020F0502020204030204" pitchFamily="34" charset="0"/>
              </a:rPr>
              <a:t>. </a:t>
            </a:r>
            <a:r>
              <a:rPr lang="en-AU" sz="900" b="0" i="0" dirty="0">
                <a:solidFill>
                  <a:schemeClr val="bg1"/>
                </a:solidFill>
                <a:effectLst/>
                <a:latin typeface="Calibri" panose="020F0502020204030204" pitchFamily="34" charset="0"/>
              </a:rPr>
              <a:t>I understand the capability and cultural changes needed, the opportunities ahead and how I can proactively contribute to our success in the next five years.</a:t>
            </a:r>
            <a:endParaRPr lang="en-US" sz="900" b="0" i="0" dirty="0">
              <a:solidFill>
                <a:schemeClr val="bg1"/>
              </a:solidFill>
              <a:effectLst/>
              <a:latin typeface="Calibri" panose="020F0502020204030204" pitchFamily="34" charset="0"/>
            </a:endParaRPr>
          </a:p>
        </p:txBody>
      </p:sp>
      <p:pic>
        <p:nvPicPr>
          <p:cNvPr id="48" name="Graphic 11" descr="decorative">
            <a:extLst>
              <a:ext uri="{FF2B5EF4-FFF2-40B4-BE49-F238E27FC236}">
                <a16:creationId xmlns:a16="http://schemas.microsoft.com/office/drawing/2014/main" id="{219EF0A8-EAED-4C12-8722-8D8F6E0534A4}"/>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569938" y="3947029"/>
            <a:ext cx="840586" cy="1062009"/>
          </a:xfrm>
          <a:prstGeom prst="rect">
            <a:avLst/>
          </a:prstGeom>
        </p:spPr>
      </p:pic>
      <p:sp>
        <p:nvSpPr>
          <p:cNvPr id="35" name="TextBox 34">
            <a:extLst>
              <a:ext uri="{FF2B5EF4-FFF2-40B4-BE49-F238E27FC236}">
                <a16:creationId xmlns:a16="http://schemas.microsoft.com/office/drawing/2014/main" id="{F659A41B-6219-4333-8449-11305F301F0F}"/>
              </a:ext>
            </a:extLst>
          </p:cNvPr>
          <p:cNvSpPr txBox="1"/>
          <p:nvPr/>
        </p:nvSpPr>
        <p:spPr>
          <a:xfrm>
            <a:off x="7749638" y="4924050"/>
            <a:ext cx="3960245"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Data related assumptions </a:t>
            </a:r>
          </a:p>
        </p:txBody>
      </p:sp>
      <p:sp>
        <p:nvSpPr>
          <p:cNvPr id="36" name="Rectangle 35">
            <a:extLst>
              <a:ext uri="{FF2B5EF4-FFF2-40B4-BE49-F238E27FC236}">
                <a16:creationId xmlns:a16="http://schemas.microsoft.com/office/drawing/2014/main" id="{148BE0CB-9B5E-46E2-B6AA-C22D49F074C1}"/>
              </a:ext>
            </a:extLst>
          </p:cNvPr>
          <p:cNvSpPr/>
          <p:nvPr/>
        </p:nvSpPr>
        <p:spPr>
          <a:xfrm>
            <a:off x="7760568" y="5202643"/>
            <a:ext cx="3941868" cy="1156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500"/>
              </a:spcAft>
            </a:pPr>
            <a:r>
              <a:rPr lang="en-US" sz="1000" dirty="0">
                <a:solidFill>
                  <a:schemeClr val="tx1"/>
                </a:solidFill>
              </a:rPr>
              <a:t>In developing this report, multiple workforce data sources have been used to gather quantitative insights. Through this process a number of data limitations arose, impacting the </a:t>
            </a:r>
            <a:r>
              <a:rPr lang="en-US" sz="1000" dirty="0" smtClean="0">
                <a:solidFill>
                  <a:schemeClr val="tx1"/>
                </a:solidFill>
              </a:rPr>
              <a:t>depth od analysis possible </a:t>
            </a:r>
            <a:r>
              <a:rPr lang="en-US" sz="1000" dirty="0">
                <a:solidFill>
                  <a:schemeClr val="tx1"/>
                </a:solidFill>
              </a:rPr>
              <a:t>including </a:t>
            </a:r>
            <a:r>
              <a:rPr lang="en-US" sz="1000" dirty="0" smtClean="0">
                <a:solidFill>
                  <a:schemeClr val="tx1"/>
                </a:solidFill>
              </a:rPr>
              <a:t>in relation to commencement</a:t>
            </a:r>
            <a:r>
              <a:rPr lang="en-US" sz="1000" dirty="0">
                <a:solidFill>
                  <a:schemeClr val="tx1"/>
                </a:solidFill>
              </a:rPr>
              <a:t>, tenure, workforce segment and recruitment data. To supplement the quantitative data, interviews with senior stakeholders were undertaken. All data is current as at 30 June 2022.</a:t>
            </a:r>
            <a:endParaRPr lang="en-AU" sz="1000" dirty="0">
              <a:solidFill>
                <a:schemeClr val="tx1"/>
              </a:solidFill>
            </a:endParaRPr>
          </a:p>
        </p:txBody>
      </p:sp>
      <p:sp>
        <p:nvSpPr>
          <p:cNvPr id="33" name="Footer Placeholder 1">
            <a:extLst>
              <a:ext uri="{FF2B5EF4-FFF2-40B4-BE49-F238E27FC236}">
                <a16:creationId xmlns:a16="http://schemas.microsoft.com/office/drawing/2014/main" id="{34D29B57-560D-426E-8970-84B7DA5C27FE}"/>
              </a:ext>
            </a:extLst>
          </p:cNvPr>
          <p:cNvSpPr>
            <a:spLocks noGrp="1"/>
          </p:cNvSpPr>
          <p:nvPr>
            <p:ph type="ftr" sz="quarter" idx="11"/>
          </p:nvPr>
        </p:nvSpPr>
        <p:spPr>
          <a:xfrm>
            <a:off x="1172187" y="6356350"/>
            <a:ext cx="6783813" cy="180000"/>
          </a:xfrm>
        </p:spPr>
        <p:txBody>
          <a:bodyPr/>
          <a:lstStyle/>
          <a:p>
            <a:pPr algn="ctr"/>
            <a:r>
              <a:rPr lang="en-AU" smtClean="0"/>
              <a:t>NDIS Commission Workforce Plan 2023-2028</a:t>
            </a:r>
            <a:endParaRPr lang="en-US" dirty="0"/>
          </a:p>
        </p:txBody>
      </p:sp>
      <p:sp>
        <p:nvSpPr>
          <p:cNvPr id="34" name="Slide Number Placeholder 6">
            <a:extLst>
              <a:ext uri="{FF2B5EF4-FFF2-40B4-BE49-F238E27FC236}">
                <a16:creationId xmlns:a16="http://schemas.microsoft.com/office/drawing/2014/main" id="{F9ECD35C-EE98-48CF-979B-435D87285E37}"/>
              </a:ext>
            </a:extLst>
          </p:cNvPr>
          <p:cNvSpPr txBox="1">
            <a:spLocks/>
          </p:cNvSpPr>
          <p:nvPr/>
        </p:nvSpPr>
        <p:spPr>
          <a:xfrm>
            <a:off x="11069001" y="6356350"/>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9</a:t>
            </a:fld>
            <a:endParaRPr lang="en-US" dirty="0"/>
          </a:p>
        </p:txBody>
      </p:sp>
    </p:spTree>
    <p:extLst>
      <p:ext uri="{BB962C8B-B14F-4D97-AF65-F5344CB8AC3E}">
        <p14:creationId xmlns:p14="http://schemas.microsoft.com/office/powerpoint/2010/main" val="31983457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DIS QaSC">
      <a:dk1>
        <a:sysClr val="windowText" lastClr="000000"/>
      </a:dk1>
      <a:lt1>
        <a:sysClr val="window" lastClr="FFFFFF"/>
      </a:lt1>
      <a:dk2>
        <a:srgbClr val="5F2E74"/>
      </a:dk2>
      <a:lt2>
        <a:srgbClr val="DDDDDD"/>
      </a:lt2>
      <a:accent1>
        <a:srgbClr val="5F2E74"/>
      </a:accent1>
      <a:accent2>
        <a:srgbClr val="962C8B"/>
      </a:accent2>
      <a:accent3>
        <a:srgbClr val="BA2E96"/>
      </a:accent3>
      <a:accent4>
        <a:srgbClr val="539250"/>
      </a:accent4>
      <a:accent5>
        <a:srgbClr val="83B14C"/>
      </a:accent5>
      <a:accent6>
        <a:srgbClr val="9DC44D"/>
      </a:accent6>
      <a:hlink>
        <a:srgbClr val="0000FF"/>
      </a:hlink>
      <a:folHlink>
        <a:srgbClr val="BA2E9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VA_JP">
  <a:themeElements>
    <a:clrScheme name="DVA 1">
      <a:dk1>
        <a:srgbClr val="000000"/>
      </a:dk1>
      <a:lt1>
        <a:srgbClr val="FFFFFF"/>
      </a:lt1>
      <a:dk2>
        <a:srgbClr val="11939D"/>
      </a:dk2>
      <a:lt2>
        <a:srgbClr val="FFFFFF"/>
      </a:lt2>
      <a:accent1>
        <a:srgbClr val="66CAD9"/>
      </a:accent1>
      <a:accent2>
        <a:srgbClr val="91C84C"/>
      </a:accent2>
      <a:accent3>
        <a:srgbClr val="5A2469"/>
      </a:accent3>
      <a:accent4>
        <a:srgbClr val="BBE4EB"/>
      </a:accent4>
      <a:accent5>
        <a:srgbClr val="BCDB92"/>
      </a:accent5>
      <a:accent6>
        <a:srgbClr val="A86490"/>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3200" b="1" dirty="0" smtClean="0">
            <a:solidFill>
              <a:srgbClr val="003366"/>
            </a:solidFill>
          </a:defRPr>
        </a:defPPr>
      </a:lstStyle>
    </a:txDef>
  </a:objectDefaults>
  <a:extraClrSchemeLst/>
</a:theme>
</file>

<file path=ppt/theme/theme3.xml><?xml version="1.0" encoding="utf-8"?>
<a:theme xmlns:a="http://schemas.openxmlformats.org/drawingml/2006/main" name="1_Office Theme">
  <a:themeElements>
    <a:clrScheme name="NDIS QaSC">
      <a:dk1>
        <a:sysClr val="windowText" lastClr="000000"/>
      </a:dk1>
      <a:lt1>
        <a:sysClr val="window" lastClr="FFFFFF"/>
      </a:lt1>
      <a:dk2>
        <a:srgbClr val="5F2E74"/>
      </a:dk2>
      <a:lt2>
        <a:srgbClr val="DDDDDD"/>
      </a:lt2>
      <a:accent1>
        <a:srgbClr val="5F2E74"/>
      </a:accent1>
      <a:accent2>
        <a:srgbClr val="962C8B"/>
      </a:accent2>
      <a:accent3>
        <a:srgbClr val="BA2E96"/>
      </a:accent3>
      <a:accent4>
        <a:srgbClr val="539250"/>
      </a:accent4>
      <a:accent5>
        <a:srgbClr val="83B14C"/>
      </a:accent5>
      <a:accent6>
        <a:srgbClr val="9DC44D"/>
      </a:accent6>
      <a:hlink>
        <a:srgbClr val="0000FF"/>
      </a:hlink>
      <a:folHlink>
        <a:srgbClr val="BA2E9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909814CDDE08E4D83F1DB25FA0C3F7D" ma:contentTypeVersion="13" ma:contentTypeDescription="Create a new document." ma:contentTypeScope="" ma:versionID="e1a032c50eae94e0d0c9522c713257a5">
  <xsd:schema xmlns:xsd="http://www.w3.org/2001/XMLSchema" xmlns:xs="http://www.w3.org/2001/XMLSchema" xmlns:p="http://schemas.microsoft.com/office/2006/metadata/properties" xmlns:ns2="37f1d8e6-a50f-4ddd-b9ce-54dc192100a2" xmlns:ns3="4154ca3a-a40e-4d02-b5cb-099dfdcb0102" targetNamespace="http://schemas.microsoft.com/office/2006/metadata/properties" ma:root="true" ma:fieldsID="f6f77f53bad8a03c8ad23681a6dd699d" ns2:_="" ns3:_="">
    <xsd:import namespace="37f1d8e6-a50f-4ddd-b9ce-54dc192100a2"/>
    <xsd:import namespace="4154ca3a-a40e-4d02-b5cb-099dfdcb0102"/>
    <xsd:element name="properties">
      <xsd:complexType>
        <xsd:sequence>
          <xsd:element name="documentManagement">
            <xsd:complexType>
              <xsd:all>
                <xsd:element ref="ns2:Links" minOccurs="0"/>
                <xsd:element ref="ns2:SignOff" minOccurs="0"/>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f1d8e6-a50f-4ddd-b9ce-54dc192100a2" elementFormDefault="qualified">
    <xsd:import namespace="http://schemas.microsoft.com/office/2006/documentManagement/types"/>
    <xsd:import namespace="http://schemas.microsoft.com/office/infopath/2007/PartnerControls"/>
    <xsd:element name="Links" ma:index="8" nillable="true" ma:displayName="Links" ma:list="{df46c94b-30de-4bb6-bc6c-7a0caae9d705}" ma:internalName="Links" ma:readOnly="true" ma:showField="From_x0020_Document">
      <xsd:simpleType>
        <xsd:restriction base="dms:Lookup"/>
      </xsd:simpleType>
    </xsd:element>
    <xsd:element name="SignOff" ma:index="9" nillable="true" ma:displayName="Sign Off" ma:internalName="SignOff">
      <xsd:simpleType>
        <xsd:restriction base="dms:Text"/>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54ca3a-a40e-4d02-b5cb-099dfdcb010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ccb516b3-c7f7-4e10-bdd4-c22d4a95fdcc}" ma:internalName="TaxCatchAll" ma:showField="CatchAllData" ma:web="4154ca3a-a40e-4d02-b5cb-099dfdcb01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ignOff xmlns="37f1d8e6-a50f-4ddd-b9ce-54dc192100a2" xsi:nil="true"/>
    <TaxCatchAll xmlns="4154ca3a-a40e-4d02-b5cb-099dfdcb0102" xsi:nil="true"/>
    <lcf76f155ced4ddcb4097134ff3c332f xmlns="37f1d8e6-a50f-4ddd-b9ce-54dc192100a2">
      <Terms xmlns="http://schemas.microsoft.com/office/infopath/2007/PartnerControls"/>
    </lcf76f155ced4ddcb4097134ff3c332f>
    <SharedWithUsers xmlns="4154ca3a-a40e-4d02-b5cb-099dfdcb0102">
      <UserInfo>
        <DisplayName>Maayan Adler (AU)</DisplayName>
        <AccountId>24</AccountId>
        <AccountType/>
      </UserInfo>
      <UserInfo>
        <DisplayName>Ben Neal (AU)</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DCDD0F4-BA4C-4AED-8AC7-DF8E00CB985E}">
  <ds:schemaRefs>
    <ds:schemaRef ds:uri="37f1d8e6-a50f-4ddd-b9ce-54dc192100a2"/>
    <ds:schemaRef ds:uri="4154ca3a-a40e-4d02-b5cb-099dfdcb01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381A9B8-2932-4AAD-A995-D4D94ED34D88}">
  <ds:schemaRefs>
    <ds:schemaRef ds:uri="http://purl.org/dc/dcmitype/"/>
    <ds:schemaRef ds:uri="37f1d8e6-a50f-4ddd-b9ce-54dc192100a2"/>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4154ca3a-a40e-4d02-b5cb-099dfdcb0102"/>
    <ds:schemaRef ds:uri="http://www.w3.org/XML/1998/namespace"/>
  </ds:schemaRefs>
</ds:datastoreItem>
</file>

<file path=customXml/itemProps3.xml><?xml version="1.0" encoding="utf-8"?>
<ds:datastoreItem xmlns:ds="http://schemas.openxmlformats.org/officeDocument/2006/customXml" ds:itemID="{0819BC11-B802-4999-B5EF-CE3A91A712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78</TotalTime>
  <Words>17886</Words>
  <Application>Microsoft Office PowerPoint</Application>
  <PresentationFormat>Widescreen</PresentationFormat>
  <Paragraphs>1212</Paragraphs>
  <Slides>44</Slides>
  <Notes>44</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44</vt:i4>
      </vt:variant>
    </vt:vector>
  </HeadingPairs>
  <TitlesOfParts>
    <vt:vector size="65" baseType="lpstr">
      <vt:lpstr>MS Gothic</vt:lpstr>
      <vt:lpstr>Arial</vt:lpstr>
      <vt:lpstr>Arial,Sans-Serif</vt:lpstr>
      <vt:lpstr>Calibri</vt:lpstr>
      <vt:lpstr>Calibri Light</vt:lpstr>
      <vt:lpstr>Franklin Gothic Heavy</vt:lpstr>
      <vt:lpstr>Franklin Gothic Medium</vt:lpstr>
      <vt:lpstr>Frutiger Next Pro Light</vt:lpstr>
      <vt:lpstr>Georgia</vt:lpstr>
      <vt:lpstr>Helvetica Neue</vt:lpstr>
      <vt:lpstr>Helvetica Neue Light</vt:lpstr>
      <vt:lpstr>メイリオ</vt:lpstr>
      <vt:lpstr>Montserrat Regular</vt:lpstr>
      <vt:lpstr>Open Sans</vt:lpstr>
      <vt:lpstr>Public Sans</vt:lpstr>
      <vt:lpstr>Public Sans Light</vt:lpstr>
      <vt:lpstr>Verdana</vt:lpstr>
      <vt:lpstr>Office Theme</vt:lpstr>
      <vt:lpstr>DVA_JP</vt:lpstr>
      <vt:lpstr>1_Office Theme</vt:lpstr>
      <vt:lpstr>think-cell Slide</vt:lpstr>
      <vt:lpstr>Workforce Plan 2023-2028</vt:lpstr>
      <vt:lpstr>Contents</vt:lpstr>
      <vt:lpstr>1. Executive summary</vt:lpstr>
      <vt:lpstr>The Commission’s workforce is its single greatest asset and central to achieving better outcomes for people with disability</vt:lpstr>
      <vt:lpstr>Developing a Workforce Plan helps create the path to an engaged, skilled and sustainable workforce</vt:lpstr>
      <vt:lpstr>This Workforce Plan contains interconnected pillars, designed to create a more engaged, skilled and sustainable workforce</vt:lpstr>
      <vt:lpstr>There are some opportunities that can be pursued early that will contribute to the Commission’s longer term success</vt:lpstr>
      <vt:lpstr>2. About this Plan </vt:lpstr>
      <vt:lpstr>Developing a Workforce Plan creates the path to a more engaged, skilled and sustainable workforce</vt:lpstr>
      <vt:lpstr>This Plan builds on the existing strengths of our workforce and the work already underway across the Commission </vt:lpstr>
      <vt:lpstr>3. Current State View  </vt:lpstr>
      <vt:lpstr>The Commission’s context is changing which has implications for current and future workforce decisions</vt:lpstr>
      <vt:lpstr>Skills and capabilities specifically required by the Commission     are likely to remain in high demand  </vt:lpstr>
      <vt:lpstr>4. Future State View </vt:lpstr>
      <vt:lpstr>Our Workforce Plan contains interconnected pillars, designed to create a more engaged, skilled and sustainable workforce</vt:lpstr>
      <vt:lpstr>Pillar: Workforce Sustainability </vt:lpstr>
      <vt:lpstr>Pillar: Capability </vt:lpstr>
      <vt:lpstr>Pillar: Growth</vt:lpstr>
      <vt:lpstr>Pillar: Performance </vt:lpstr>
      <vt:lpstr>Pillar: Diversity, Inclusion and Wellbeing </vt:lpstr>
      <vt:lpstr>5. Delivering the Plan   </vt:lpstr>
      <vt:lpstr>PowerPoint Presentation</vt:lpstr>
      <vt:lpstr>Opportunities for investment were identified through consultation and inform the Workforce Plan (1/2) </vt:lpstr>
      <vt:lpstr>PowerPoint Presentation</vt:lpstr>
      <vt:lpstr>Identified quick wins</vt:lpstr>
      <vt:lpstr>PowerPoint Presentation</vt:lpstr>
      <vt:lpstr>Opportunities and recommendations</vt:lpstr>
      <vt:lpstr>Pillar: Workforce Sustainability </vt:lpstr>
      <vt:lpstr>Pillar: Capability </vt:lpstr>
      <vt:lpstr>As the Commission continues scaling it also needs to leverage diverse sourcing strategies to deliver on its role and purpose</vt:lpstr>
      <vt:lpstr>PowerPoint Presentation</vt:lpstr>
      <vt:lpstr>PowerPoint Presentation</vt:lpstr>
      <vt:lpstr>Pillar: Diversity, Inclusion and Wellbeing </vt:lpstr>
      <vt:lpstr>Appendix</vt:lpstr>
      <vt:lpstr>PowerPoint Presentation</vt:lpstr>
      <vt:lpstr>PowerPoint Presentation</vt:lpstr>
      <vt:lpstr>PowerPoint Presentation</vt:lpstr>
      <vt:lpstr>Appendix C: Opportunities Opportunity spotlight: ‘One Commission’ New Starter Induction Program (WS1)</vt:lpstr>
      <vt:lpstr>Opportunity spotlight: ‘One Commission’ New Starter Induction Program (WS1)</vt:lpstr>
      <vt:lpstr>Opportunity spotlight: Broaden our target market for recruitment (WS3)</vt:lpstr>
      <vt:lpstr>Opportunity spotlight:  ‘One Commission’ Core Capabilities Program (C1)</vt:lpstr>
      <vt:lpstr>Opportunity spotlight: Continue building diverse talent pipelines (DIW3)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 PowerPoint Presentation</dc:title>
  <dc:creator>"Jess Lees (AU)" &lt;jess.lees@pwc.com&gt;</dc:creator>
  <cp:keywords>[SEC=UNOFFICIAL]</cp:keywords>
  <cp:lastModifiedBy>MARTIN, Jessica</cp:lastModifiedBy>
  <cp:revision>46</cp:revision>
  <cp:lastPrinted>2022-10-12T22:41:43Z</cp:lastPrinted>
  <dcterms:created xsi:type="dcterms:W3CDTF">2017-10-04T04:23:03Z</dcterms:created>
  <dcterms:modified xsi:type="dcterms:W3CDTF">2023-02-13T04:13:3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09814CDDE08E4D83F1DB25FA0C3F7D</vt:lpwstr>
  </property>
  <property fmtid="{D5CDD505-2E9C-101B-9397-08002B2CF9AE}" pid="3" name="_dlc_DocIdItemGuid">
    <vt:lpwstr>4e912c2f-66bf-480f-a5dd-b1022827209d</vt:lpwstr>
  </property>
  <property fmtid="{D5CDD505-2E9C-101B-9397-08002B2CF9AE}" pid="4" name="MediaServiceImageTags">
    <vt:lpwstr/>
  </property>
  <property fmtid="{D5CDD505-2E9C-101B-9397-08002B2CF9AE}" pid="5" name="PM_ProtectiveMarkingImage_Header">
    <vt:lpwstr>C:\Program Files (x86)\Common Files\janusNET Shared\janusSEAL\Images\DocumentSlashBlue.png</vt:lpwstr>
  </property>
  <property fmtid="{D5CDD505-2E9C-101B-9397-08002B2CF9AE}" pid="6" name="PM_Caveats_Count">
    <vt:lpwstr>0</vt:lpwstr>
  </property>
  <property fmtid="{D5CDD505-2E9C-101B-9397-08002B2CF9AE}" pid="7" name="PM_DisplayValueSecClassificationWithQualifier">
    <vt:lpwstr>UNOFFICIAL</vt:lpwstr>
  </property>
  <property fmtid="{D5CDD505-2E9C-101B-9397-08002B2CF9AE}" pid="8" name="PM_Qualifier">
    <vt:lpwstr/>
  </property>
  <property fmtid="{D5CDD505-2E9C-101B-9397-08002B2CF9AE}" pid="9" name="PM_SecurityClassification">
    <vt:lpwstr>UNOFFICIAL</vt:lpwstr>
  </property>
  <property fmtid="{D5CDD505-2E9C-101B-9397-08002B2CF9AE}" pid="10" name="PM_InsertionValue">
    <vt:lpwstr>UNOFFICIAL</vt:lpwstr>
  </property>
  <property fmtid="{D5CDD505-2E9C-101B-9397-08002B2CF9AE}" pid="11" name="PM_Originating_FileId">
    <vt:lpwstr>A99C76556D63468C88A3486E899F86E0</vt:lpwstr>
  </property>
  <property fmtid="{D5CDD505-2E9C-101B-9397-08002B2CF9AE}" pid="12" name="PM_ProtectiveMarkingValue_Footer">
    <vt:lpwstr>UNOFFICIAL</vt:lpwstr>
  </property>
  <property fmtid="{D5CDD505-2E9C-101B-9397-08002B2CF9AE}" pid="13" name="PM_Originator_Hash_SHA1">
    <vt:lpwstr>38F9BF24E34B9020E28CEEAE4D48B506C0CA5314</vt:lpwstr>
  </property>
  <property fmtid="{D5CDD505-2E9C-101B-9397-08002B2CF9AE}" pid="14" name="PM_OriginationTimeStamp">
    <vt:lpwstr>2023-02-13T04:13:19Z</vt:lpwstr>
  </property>
  <property fmtid="{D5CDD505-2E9C-101B-9397-08002B2CF9AE}" pid="15" name="PM_ProtectiveMarkingValue_Header">
    <vt:lpwstr>UNOFFICIAL</vt:lpwstr>
  </property>
  <property fmtid="{D5CDD505-2E9C-101B-9397-08002B2CF9AE}" pid="16" name="PM_ProtectiveMarkingImage_Footer">
    <vt:lpwstr>C:\Program Files (x86)\Common Files\janusNET Shared\janusSEAL\Images\DocumentSlashBlue.png</vt:lpwstr>
  </property>
  <property fmtid="{D5CDD505-2E9C-101B-9397-08002B2CF9AE}" pid="17" name="PM_Namespace">
    <vt:lpwstr>gov.au</vt:lpwstr>
  </property>
  <property fmtid="{D5CDD505-2E9C-101B-9397-08002B2CF9AE}" pid="18" name="PM_Version">
    <vt:lpwstr>2018.4</vt:lpwstr>
  </property>
  <property fmtid="{D5CDD505-2E9C-101B-9397-08002B2CF9AE}" pid="19" name="PM_Note">
    <vt:lpwstr/>
  </property>
  <property fmtid="{D5CDD505-2E9C-101B-9397-08002B2CF9AE}" pid="20" name="PM_Markers">
    <vt:lpwstr/>
  </property>
  <property fmtid="{D5CDD505-2E9C-101B-9397-08002B2CF9AE}" pid="21" name="PM_Display">
    <vt:lpwstr>UNOFFICIAL</vt:lpwstr>
  </property>
  <property fmtid="{D5CDD505-2E9C-101B-9397-08002B2CF9AE}" pid="22" name="PM_Hash_Version">
    <vt:lpwstr>2018.0</vt:lpwstr>
  </property>
  <property fmtid="{D5CDD505-2E9C-101B-9397-08002B2CF9AE}" pid="23" name="PM_Hash_Salt_Prev">
    <vt:lpwstr>64D5291AEEEE6438CF4B84CAE3EDF0AE</vt:lpwstr>
  </property>
  <property fmtid="{D5CDD505-2E9C-101B-9397-08002B2CF9AE}" pid="24" name="PM_Hash_Salt">
    <vt:lpwstr>42454DF3F54C984703FC4DEB3D656952</vt:lpwstr>
  </property>
  <property fmtid="{D5CDD505-2E9C-101B-9397-08002B2CF9AE}" pid="25" name="PM_Hash_SHA1">
    <vt:lpwstr>78591D96339882802EA54730E8326B42FBA2D70E</vt:lpwstr>
  </property>
  <property fmtid="{D5CDD505-2E9C-101B-9397-08002B2CF9AE}" pid="26" name="PM_OriginatorUserAccountName_SHA256">
    <vt:lpwstr>3DA78915B1F95C35574819ADC34E0E42975CBC4ACA644FA473261B0E401EB5BC</vt:lpwstr>
  </property>
  <property fmtid="{D5CDD505-2E9C-101B-9397-08002B2CF9AE}" pid="27" name="PM_OriginatorDomainName_SHA256">
    <vt:lpwstr>CE53151D70EF3143B9B6CA1DC053F41E858E2C804CF2EE5AE813E5CCE407743B</vt:lpwstr>
  </property>
  <property fmtid="{D5CDD505-2E9C-101B-9397-08002B2CF9AE}" pid="28" name="PM_PrintOutPlacement_PPT">
    <vt:lpwstr/>
  </property>
  <property fmtid="{D5CDD505-2E9C-101B-9397-08002B2CF9AE}" pid="29" name="PM_SecurityClassification_Prev">
    <vt:lpwstr>UNOFFICIAL</vt:lpwstr>
  </property>
  <property fmtid="{D5CDD505-2E9C-101B-9397-08002B2CF9AE}" pid="30" name="PM_Qualifier_Prev">
    <vt:lpwstr/>
  </property>
</Properties>
</file>